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1.xml" ContentType="application/vnd.openxmlformats-officedocument.presentationml.tags+xml"/>
  <Override PartName="/ppt/notesSlides/notesSlide5.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drawings/drawing1.xml" ContentType="application/vnd.openxmlformats-officedocument.drawingml.chartshapes+xml"/>
  <Override PartName="/ppt/notesSlides/notesSlide6.xml" ContentType="application/vnd.openxmlformats-officedocument.presentationml.notesSlide+xml"/>
  <Override PartName="/ppt/notesSlides/notesSlide7.xml" ContentType="application/vnd.openxmlformats-officedocument.presentationml.notesSlide+xml"/>
  <Override PartName="/ppt/comments/modernComment_1A169_5FF56BAD.xml" ContentType="application/vnd.ms-powerpoint.comment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omments/modernComment_86A1334_7C76443F.xml" ContentType="application/vnd.ms-powerpoint.comment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701" r:id="rId5"/>
  </p:sldMasterIdLst>
  <p:notesMasterIdLst>
    <p:notesMasterId r:id="rId19"/>
  </p:notesMasterIdLst>
  <p:sldIdLst>
    <p:sldId id="141169469" r:id="rId6"/>
    <p:sldId id="106848" r:id="rId7"/>
    <p:sldId id="344" r:id="rId8"/>
    <p:sldId id="141169470" r:id="rId9"/>
    <p:sldId id="2147471513" r:id="rId10"/>
    <p:sldId id="106860" r:id="rId11"/>
    <p:sldId id="106857" r:id="rId12"/>
    <p:sldId id="141169463" r:id="rId13"/>
    <p:sldId id="141169464" r:id="rId14"/>
    <p:sldId id="141169465" r:id="rId15"/>
    <p:sldId id="141169460" r:id="rId16"/>
    <p:sldId id="141169459" r:id="rId17"/>
    <p:sldId id="11844" r:id="rId1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463" userDrawn="1">
          <p15:clr>
            <a:srgbClr val="A4A3A4"/>
          </p15:clr>
        </p15:guide>
        <p15:guide id="2" pos="384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E95F617-544E-F264-2ED0-A14461564AB2}" name="Christopher Griffiths" initials="CG" userId="Christopher Griffiths"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artin Beecroft" initials="MB" lastIdx="4" clrIdx="0">
    <p:extLst>
      <p:ext uri="{19B8F6BF-5375-455C-9EA6-DF929625EA0E}">
        <p15:presenceInfo xmlns:p15="http://schemas.microsoft.com/office/powerpoint/2012/main" userId="S::martin@bkgr.se::ba706552-e779-4d24-9165-02bcd101441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7F7F7"/>
    <a:srgbClr val="ECECE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B91341E-F61D-1C56-ACF9-3C62581FDD98}" v="3" dt="2023-10-17T08:17:51.570"/>
    <p1510:client id="{A4736BB9-5222-4EF3-AA21-0608A56FF1EC}" v="8" dt="2023-10-17T08:33:19.040"/>
  </p1510:revLst>
</p1510:revInfo>
</file>

<file path=ppt/tableStyles.xml><?xml version="1.0" encoding="utf-8"?>
<a:tblStyleLst xmlns:a="http://schemas.openxmlformats.org/drawingml/2006/main" def="{3B4B98B0-60AC-42C2-AFA5-B58CD77FA1E5}">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54" d="100"/>
          <a:sy n="154" d="100"/>
        </p:scale>
        <p:origin x="2766" y="132"/>
      </p:cViewPr>
      <p:guideLst>
        <p:guide orient="horz" pos="2463"/>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viewProps" Target="viewProps.xml"/><Relationship Id="rId27"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onzalez, Pablo" userId="668985b0-316c-4575-ba7d-7f1ef1b2a0d3" providerId="ADAL" clId="{A4736BB9-5222-4EF3-AA21-0608A56FF1EC}"/>
    <pc:docChg chg="undo custSel addSld delSld modSld">
      <pc:chgData name="Gonzalez, Pablo" userId="668985b0-316c-4575-ba7d-7f1ef1b2a0d3" providerId="ADAL" clId="{A4736BB9-5222-4EF3-AA21-0608A56FF1EC}" dt="2023-10-17T08:33:51.025" v="26" actId="478"/>
      <pc:docMkLst>
        <pc:docMk/>
      </pc:docMkLst>
      <pc:sldChg chg="add del modNotesTx">
        <pc:chgData name="Gonzalez, Pablo" userId="668985b0-316c-4575-ba7d-7f1ef1b2a0d3" providerId="ADAL" clId="{A4736BB9-5222-4EF3-AA21-0608A56FF1EC}" dt="2023-10-17T08:29:16.035" v="15" actId="47"/>
        <pc:sldMkLst>
          <pc:docMk/>
          <pc:sldMk cId="316545283" sldId="106849"/>
        </pc:sldMkLst>
      </pc:sldChg>
      <pc:sldChg chg="del">
        <pc:chgData name="Gonzalez, Pablo" userId="668985b0-316c-4575-ba7d-7f1ef1b2a0d3" providerId="ADAL" clId="{A4736BB9-5222-4EF3-AA21-0608A56FF1EC}" dt="2023-10-17T08:29:02.368" v="13" actId="47"/>
        <pc:sldMkLst>
          <pc:docMk/>
          <pc:sldMk cId="565787617" sldId="106970"/>
        </pc:sldMkLst>
      </pc:sldChg>
      <pc:sldChg chg="del">
        <pc:chgData name="Gonzalez, Pablo" userId="668985b0-316c-4575-ba7d-7f1ef1b2a0d3" providerId="ADAL" clId="{A4736BB9-5222-4EF3-AA21-0608A56FF1EC}" dt="2023-10-17T08:33:42.516" v="25" actId="47"/>
        <pc:sldMkLst>
          <pc:docMk/>
          <pc:sldMk cId="3043116376" sldId="141169468"/>
        </pc:sldMkLst>
      </pc:sldChg>
      <pc:sldChg chg="addSp delSp add mod modNotesTx">
        <pc:chgData name="Gonzalez, Pablo" userId="668985b0-316c-4575-ba7d-7f1ef1b2a0d3" providerId="ADAL" clId="{A4736BB9-5222-4EF3-AA21-0608A56FF1EC}" dt="2023-10-17T08:32:25.994" v="19" actId="22"/>
        <pc:sldMkLst>
          <pc:docMk/>
          <pc:sldMk cId="2043958385" sldId="141169470"/>
        </pc:sldMkLst>
        <pc:spChg chg="add del">
          <ac:chgData name="Gonzalez, Pablo" userId="668985b0-316c-4575-ba7d-7f1ef1b2a0d3" providerId="ADAL" clId="{A4736BB9-5222-4EF3-AA21-0608A56FF1EC}" dt="2023-10-17T08:32:22.154" v="17" actId="22"/>
          <ac:spMkLst>
            <pc:docMk/>
            <pc:sldMk cId="2043958385" sldId="141169470"/>
            <ac:spMk id="10" creationId="{8BBE6935-F142-8161-BAA9-E39D3E9FBC56}"/>
          </ac:spMkLst>
        </pc:spChg>
        <pc:spChg chg="add del">
          <ac:chgData name="Gonzalez, Pablo" userId="668985b0-316c-4575-ba7d-7f1ef1b2a0d3" providerId="ADAL" clId="{A4736BB9-5222-4EF3-AA21-0608A56FF1EC}" dt="2023-10-17T08:32:25.994" v="19" actId="22"/>
          <ac:spMkLst>
            <pc:docMk/>
            <pc:sldMk cId="2043958385" sldId="141169470"/>
            <ac:spMk id="12" creationId="{5FF123B6-D7DA-DEE3-8226-B5AAE3232E47}"/>
          </ac:spMkLst>
        </pc:spChg>
      </pc:sldChg>
      <pc:sldChg chg="addSp delSp modSp add mod modNotesTx">
        <pc:chgData name="Gonzalez, Pablo" userId="668985b0-316c-4575-ba7d-7f1ef1b2a0d3" providerId="ADAL" clId="{A4736BB9-5222-4EF3-AA21-0608A56FF1EC}" dt="2023-10-17T08:33:51.025" v="26" actId="478"/>
        <pc:sldMkLst>
          <pc:docMk/>
          <pc:sldMk cId="1930364690" sldId="2147471513"/>
        </pc:sldMkLst>
        <pc:spChg chg="del">
          <ac:chgData name="Gonzalez, Pablo" userId="668985b0-316c-4575-ba7d-7f1ef1b2a0d3" providerId="ADAL" clId="{A4736BB9-5222-4EF3-AA21-0608A56FF1EC}" dt="2023-10-17T08:33:51.025" v="26" actId="478"/>
          <ac:spMkLst>
            <pc:docMk/>
            <pc:sldMk cId="1930364690" sldId="2147471513"/>
            <ac:spMk id="18" creationId="{E9C1EEF8-D508-4822-93DC-6474652523BA}"/>
          </ac:spMkLst>
        </pc:spChg>
        <pc:picChg chg="add mod">
          <ac:chgData name="Gonzalez, Pablo" userId="668985b0-316c-4575-ba7d-7f1ef1b2a0d3" providerId="ADAL" clId="{A4736BB9-5222-4EF3-AA21-0608A56FF1EC}" dt="2023-10-17T08:33:22.144" v="24" actId="1076"/>
          <ac:picMkLst>
            <pc:docMk/>
            <pc:sldMk cId="1930364690" sldId="2147471513"/>
            <ac:picMk id="6" creationId="{0C92B7A4-0C53-9584-BE87-CC4980EFB899}"/>
          </ac:picMkLst>
        </pc:picChg>
      </pc:sldChg>
    </pc:docChg>
  </pc:docChgLst>
  <pc:docChgLst>
    <pc:chgData name="Lekanger, Randi Andersen" userId="5237dbb6-94e3-4ff5-bab9-13b6c74fa03e" providerId="ADAL" clId="{FD2B0EBE-9600-479B-B5E4-82BDAA42B85C}"/>
    <pc:docChg chg="custSel delSld modSld">
      <pc:chgData name="Lekanger, Randi Andersen" userId="5237dbb6-94e3-4ff5-bab9-13b6c74fa03e" providerId="ADAL" clId="{FD2B0EBE-9600-479B-B5E4-82BDAA42B85C}" dt="2022-09-09T10:31:59.389" v="186"/>
      <pc:docMkLst>
        <pc:docMk/>
      </pc:docMkLst>
      <pc:sldChg chg="del">
        <pc:chgData name="Lekanger, Randi Andersen" userId="5237dbb6-94e3-4ff5-bab9-13b6c74fa03e" providerId="ADAL" clId="{FD2B0EBE-9600-479B-B5E4-82BDAA42B85C}" dt="2022-09-09T09:56:54.363" v="1" actId="47"/>
        <pc:sldMkLst>
          <pc:docMk/>
          <pc:sldMk cId="2639977068" sldId="346"/>
        </pc:sldMkLst>
      </pc:sldChg>
      <pc:sldChg chg="del">
        <pc:chgData name="Lekanger, Randi Andersen" userId="5237dbb6-94e3-4ff5-bab9-13b6c74fa03e" providerId="ADAL" clId="{FD2B0EBE-9600-479B-B5E4-82BDAA42B85C}" dt="2022-09-09T09:56:54.933" v="2" actId="47"/>
        <pc:sldMkLst>
          <pc:docMk/>
          <pc:sldMk cId="2817203454" sldId="349"/>
        </pc:sldMkLst>
      </pc:sldChg>
      <pc:sldChg chg="modNotesTx">
        <pc:chgData name="Lekanger, Randi Andersen" userId="5237dbb6-94e3-4ff5-bab9-13b6c74fa03e" providerId="ADAL" clId="{FD2B0EBE-9600-479B-B5E4-82BDAA42B85C}" dt="2022-09-09T09:59:40.133" v="179" actId="20577"/>
        <pc:sldMkLst>
          <pc:docMk/>
          <pc:sldMk cId="3562026540" sldId="106848"/>
        </pc:sldMkLst>
      </pc:sldChg>
      <pc:sldChg chg="modNotesTx">
        <pc:chgData name="Lekanger, Randi Andersen" userId="5237dbb6-94e3-4ff5-bab9-13b6c74fa03e" providerId="ADAL" clId="{FD2B0EBE-9600-479B-B5E4-82BDAA42B85C}" dt="2022-09-09T10:02:37.581" v="181"/>
        <pc:sldMkLst>
          <pc:docMk/>
          <pc:sldMk cId="1609919405" sldId="106857"/>
        </pc:sldMkLst>
      </pc:sldChg>
      <pc:sldChg chg="modNotesTx">
        <pc:chgData name="Lekanger, Randi Andersen" userId="5237dbb6-94e3-4ff5-bab9-13b6c74fa03e" providerId="ADAL" clId="{FD2B0EBE-9600-479B-B5E4-82BDAA42B85C}" dt="2022-09-09T09:59:53.830" v="180"/>
        <pc:sldMkLst>
          <pc:docMk/>
          <pc:sldMk cId="1444046627" sldId="106860"/>
        </pc:sldMkLst>
      </pc:sldChg>
      <pc:sldChg chg="modNotesTx">
        <pc:chgData name="Lekanger, Randi Andersen" userId="5237dbb6-94e3-4ff5-bab9-13b6c74fa03e" providerId="ADAL" clId="{FD2B0EBE-9600-479B-B5E4-82BDAA42B85C}" dt="2022-09-09T10:31:59.389" v="186"/>
        <pc:sldMkLst>
          <pc:docMk/>
          <pc:sldMk cId="3422277922" sldId="141169459"/>
        </pc:sldMkLst>
      </pc:sldChg>
      <pc:sldChg chg="modNotesTx">
        <pc:chgData name="Lekanger, Randi Andersen" userId="5237dbb6-94e3-4ff5-bab9-13b6c74fa03e" providerId="ADAL" clId="{FD2B0EBE-9600-479B-B5E4-82BDAA42B85C}" dt="2022-09-09T10:31:33.622" v="185"/>
        <pc:sldMkLst>
          <pc:docMk/>
          <pc:sldMk cId="2088125503" sldId="141169460"/>
        </pc:sldMkLst>
      </pc:sldChg>
      <pc:sldChg chg="modNotesTx">
        <pc:chgData name="Lekanger, Randi Andersen" userId="5237dbb6-94e3-4ff5-bab9-13b6c74fa03e" providerId="ADAL" clId="{FD2B0EBE-9600-479B-B5E4-82BDAA42B85C}" dt="2022-09-09T10:03:00.748" v="182"/>
        <pc:sldMkLst>
          <pc:docMk/>
          <pc:sldMk cId="3074373291" sldId="141169463"/>
        </pc:sldMkLst>
      </pc:sldChg>
      <pc:sldChg chg="modNotesTx">
        <pc:chgData name="Lekanger, Randi Andersen" userId="5237dbb6-94e3-4ff5-bab9-13b6c74fa03e" providerId="ADAL" clId="{FD2B0EBE-9600-479B-B5E4-82BDAA42B85C}" dt="2022-09-09T10:30:25.519" v="183"/>
        <pc:sldMkLst>
          <pc:docMk/>
          <pc:sldMk cId="2108704874" sldId="141169464"/>
        </pc:sldMkLst>
      </pc:sldChg>
      <pc:sldChg chg="modNotesTx">
        <pc:chgData name="Lekanger, Randi Andersen" userId="5237dbb6-94e3-4ff5-bab9-13b6c74fa03e" providerId="ADAL" clId="{FD2B0EBE-9600-479B-B5E4-82BDAA42B85C}" dt="2022-09-09T10:31:01.811" v="184"/>
        <pc:sldMkLst>
          <pc:docMk/>
          <pc:sldMk cId="4070369097" sldId="141169465"/>
        </pc:sldMkLst>
      </pc:sldChg>
      <pc:sldChg chg="del">
        <pc:chgData name="Lekanger, Randi Andersen" userId="5237dbb6-94e3-4ff5-bab9-13b6c74fa03e" providerId="ADAL" clId="{FD2B0EBE-9600-479B-B5E4-82BDAA42B85C}" dt="2022-09-09T09:56:53.617" v="0" actId="47"/>
        <pc:sldMkLst>
          <pc:docMk/>
          <pc:sldMk cId="1659398552" sldId="141169466"/>
        </pc:sldMkLst>
      </pc:sldChg>
      <pc:sldChg chg="modNotesTx">
        <pc:chgData name="Lekanger, Randi Andersen" userId="5237dbb6-94e3-4ff5-bab9-13b6c74fa03e" providerId="ADAL" clId="{FD2B0EBE-9600-479B-B5E4-82BDAA42B85C}" dt="2022-09-09T09:58:25.077" v="3"/>
        <pc:sldMkLst>
          <pc:docMk/>
          <pc:sldMk cId="974714242" sldId="141169469"/>
        </pc:sldMkLst>
      </pc:sldChg>
      <pc:sldMasterChg chg="delSldLayout">
        <pc:chgData name="Lekanger, Randi Andersen" userId="5237dbb6-94e3-4ff5-bab9-13b6c74fa03e" providerId="ADAL" clId="{FD2B0EBE-9600-479B-B5E4-82BDAA42B85C}" dt="2022-09-09T09:56:54.933" v="2" actId="47"/>
        <pc:sldMasterMkLst>
          <pc:docMk/>
          <pc:sldMasterMk cId="2733114217" sldId="2147483648"/>
        </pc:sldMasterMkLst>
        <pc:sldLayoutChg chg="del">
          <pc:chgData name="Lekanger, Randi Andersen" userId="5237dbb6-94e3-4ff5-bab9-13b6c74fa03e" providerId="ADAL" clId="{FD2B0EBE-9600-479B-B5E4-82BDAA42B85C}" dt="2022-09-09T09:56:54.933" v="2" actId="47"/>
          <pc:sldLayoutMkLst>
            <pc:docMk/>
            <pc:sldMasterMk cId="2733114217" sldId="2147483648"/>
            <pc:sldLayoutMk cId="3513619400" sldId="2147483736"/>
          </pc:sldLayoutMkLst>
        </pc:sldLayoutChg>
        <pc:sldLayoutChg chg="del">
          <pc:chgData name="Lekanger, Randi Andersen" userId="5237dbb6-94e3-4ff5-bab9-13b6c74fa03e" providerId="ADAL" clId="{FD2B0EBE-9600-479B-B5E4-82BDAA42B85C}" dt="2022-09-09T09:56:54.363" v="1" actId="47"/>
          <pc:sldLayoutMkLst>
            <pc:docMk/>
            <pc:sldMasterMk cId="2733114217" sldId="2147483648"/>
            <pc:sldLayoutMk cId="664073838" sldId="2147483737"/>
          </pc:sldLayoutMkLst>
        </pc:sldLayoutChg>
      </pc:sldMasterChg>
    </pc:docChg>
  </pc:docChgLst>
  <pc:docChgLst>
    <pc:chgData name="Gonzalez, Pablo" userId="S::pablo.gonzalez@skanska.no::668985b0-316c-4575-ba7d-7f1ef1b2a0d3" providerId="AD" clId="Web-{0B91341E-F61D-1C56-ACF9-3C62581FDD98}"/>
    <pc:docChg chg="modSld">
      <pc:chgData name="Gonzalez, Pablo" userId="S::pablo.gonzalez@skanska.no::668985b0-316c-4575-ba7d-7f1ef1b2a0d3" providerId="AD" clId="Web-{0B91341E-F61D-1C56-ACF9-3C62581FDD98}" dt="2023-10-17T08:17:51.570" v="1"/>
      <pc:docMkLst>
        <pc:docMk/>
      </pc:docMkLst>
      <pc:sldChg chg="addSp delSp modSp">
        <pc:chgData name="Gonzalez, Pablo" userId="S::pablo.gonzalez@skanska.no::668985b0-316c-4575-ba7d-7f1ef1b2a0d3" providerId="AD" clId="Web-{0B91341E-F61D-1C56-ACF9-3C62581FDD98}" dt="2023-10-17T08:17:51.570" v="1"/>
        <pc:sldMkLst>
          <pc:docMk/>
          <pc:sldMk cId="2277971938" sldId="344"/>
        </pc:sldMkLst>
        <pc:picChg chg="add del mod">
          <ac:chgData name="Gonzalez, Pablo" userId="S::pablo.gonzalez@skanska.no::668985b0-316c-4575-ba7d-7f1ef1b2a0d3" providerId="AD" clId="Web-{0B91341E-F61D-1C56-ACF9-3C62581FDD98}" dt="2023-10-17T08:17:51.570" v="1"/>
          <ac:picMkLst>
            <pc:docMk/>
            <pc:sldMk cId="2277971938" sldId="344"/>
            <ac:picMk id="3" creationId="{4C6BD11D-65BA-0223-4834-19F033F62A1E}"/>
          </ac:picMkLst>
        </pc:picChg>
      </pc:sldChg>
    </pc:docChg>
  </pc:docChgLst>
  <pc:docChgLst>
    <pc:chgData name="Lekanger, Randi Andersen" userId="5237dbb6-94e3-4ff5-bab9-13b6c74fa03e" providerId="ADAL" clId="{59AFB4F8-BA81-42DC-87DF-D43BF8077B09}"/>
    <pc:docChg chg="custSel modSld">
      <pc:chgData name="Lekanger, Randi Andersen" userId="5237dbb6-94e3-4ff5-bab9-13b6c74fa03e" providerId="ADAL" clId="{59AFB4F8-BA81-42DC-87DF-D43BF8077B09}" dt="2022-10-14T08:55:30.670" v="11" actId="20577"/>
      <pc:docMkLst>
        <pc:docMk/>
      </pc:docMkLst>
      <pc:sldChg chg="addSp delSp modSp mod modNotesTx">
        <pc:chgData name="Lekanger, Randi Andersen" userId="5237dbb6-94e3-4ff5-bab9-13b6c74fa03e" providerId="ADAL" clId="{59AFB4F8-BA81-42DC-87DF-D43BF8077B09}" dt="2022-10-14T08:55:30.670" v="11" actId="20577"/>
        <pc:sldMkLst>
          <pc:docMk/>
          <pc:sldMk cId="565787617" sldId="106970"/>
        </pc:sldMkLst>
        <pc:spChg chg="add del mod">
          <ac:chgData name="Lekanger, Randi Andersen" userId="5237dbb6-94e3-4ff5-bab9-13b6c74fa03e" providerId="ADAL" clId="{59AFB4F8-BA81-42DC-87DF-D43BF8077B09}" dt="2022-10-14T08:55:02.231" v="5" actId="478"/>
          <ac:spMkLst>
            <pc:docMk/>
            <pc:sldMk cId="565787617" sldId="106970"/>
            <ac:spMk id="4" creationId="{2DDA6E02-95ED-5D8B-087D-09CDDE0ED36D}"/>
          </ac:spMkLst>
        </pc:spChg>
        <pc:spChg chg="mod">
          <ac:chgData name="Lekanger, Randi Andersen" userId="5237dbb6-94e3-4ff5-bab9-13b6c74fa03e" providerId="ADAL" clId="{59AFB4F8-BA81-42DC-87DF-D43BF8077B09}" dt="2022-10-14T08:55:07.386" v="7" actId="1076"/>
          <ac:spMkLst>
            <pc:docMk/>
            <pc:sldMk cId="565787617" sldId="106970"/>
            <ac:spMk id="6" creationId="{8EA6B972-98BC-DA1F-FCF8-D3118F5DF848}"/>
          </ac:spMkLst>
        </pc:spChg>
        <pc:graphicFrameChg chg="add del mod">
          <ac:chgData name="Lekanger, Randi Andersen" userId="5237dbb6-94e3-4ff5-bab9-13b6c74fa03e" providerId="ADAL" clId="{59AFB4F8-BA81-42DC-87DF-D43BF8077B09}" dt="2022-10-14T08:54:49.510" v="2"/>
          <ac:graphicFrameMkLst>
            <pc:docMk/>
            <pc:sldMk cId="565787617" sldId="106970"/>
            <ac:graphicFrameMk id="5" creationId="{F405B3CD-2BBE-DC8B-8A1A-CFF712BCB271}"/>
          </ac:graphicFrameMkLst>
        </pc:graphicFrameChg>
        <pc:graphicFrameChg chg="add mod">
          <ac:chgData name="Lekanger, Randi Andersen" userId="5237dbb6-94e3-4ff5-bab9-13b6c74fa03e" providerId="ADAL" clId="{59AFB4F8-BA81-42DC-87DF-D43BF8077B09}" dt="2022-10-14T08:55:05.865" v="6" actId="14100"/>
          <ac:graphicFrameMkLst>
            <pc:docMk/>
            <pc:sldMk cId="565787617" sldId="106970"/>
            <ac:graphicFrameMk id="7" creationId="{E3A0D8DE-7199-D207-5888-85A7242DEF81}"/>
          </ac:graphicFrameMkLst>
        </pc:graphicFrameChg>
        <pc:picChg chg="del">
          <ac:chgData name="Lekanger, Randi Andersen" userId="5237dbb6-94e3-4ff5-bab9-13b6c74fa03e" providerId="ADAL" clId="{59AFB4F8-BA81-42DC-87DF-D43BF8077B09}" dt="2022-10-14T08:54:42.843" v="0" actId="478"/>
          <ac:picMkLst>
            <pc:docMk/>
            <pc:sldMk cId="565787617" sldId="106970"/>
            <ac:picMk id="9" creationId="{5596F250-D28C-327C-DC7A-AA8F120EB8F2}"/>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https://skanska.sharepoint.com/sites/NO-se062002-adm/Shared%20Documents/General/01.%20Kurs,%20presentasjoner,%20foredrag/Skanskas%20klimaveikart%20-%20illustrasjoner/Kopi%20av%20Sope%201%20%202%20Skanska%20Norway%20report.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C:\Users\gonzalezp\Downloads\Climate%20dashboard%20Norway.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C:\Users\gonzalezp\Downloads\Climate%20dashboard%20Norway.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23509172164290273"/>
          <c:y val="1.737591789790321E-3"/>
          <c:w val="0.52501156274384619"/>
          <c:h val="0.81848712731133333"/>
        </c:manualLayout>
      </c:layout>
      <c:pieChart>
        <c:varyColors val="1"/>
        <c:dLbls>
          <c:dLblPos val="inEnd"/>
          <c:showLegendKey val="0"/>
          <c:showVal val="0"/>
          <c:showCatName val="0"/>
          <c:showSerName val="0"/>
          <c:showPercent val="1"/>
          <c:showBubbleSize val="0"/>
          <c:showLeaderLines val="0"/>
        </c:dLbls>
        <c:firstSliceAng val="0"/>
      </c:pieChart>
      <c:spPr>
        <a:noFill/>
        <a:ln>
          <a:noFill/>
        </a:ln>
        <a:effectLst/>
      </c:spPr>
    </c:plotArea>
    <c:legend>
      <c:legendPos val="t"/>
      <c:layout>
        <c:manualLayout>
          <c:xMode val="edge"/>
          <c:yMode val="edge"/>
          <c:x val="1.4055686713337609E-2"/>
          <c:y val="0.91821840676707123"/>
          <c:w val="0.8999999054172283"/>
          <c:h val="7.6643958830988818E-2"/>
        </c:manualLayout>
      </c:layout>
      <c:overlay val="0"/>
      <c:spPr>
        <a:noFill/>
        <a:ln>
          <a:noFill/>
        </a:ln>
        <a:effectLst/>
      </c:spPr>
      <c:txPr>
        <a:bodyPr rot="0" spcFirstLastPara="1" vertOverflow="ellipsis" vert="horz" wrap="square" anchor="ctr" anchorCtr="1"/>
        <a:lstStyle/>
        <a:p>
          <a:pPr>
            <a:defRPr sz="1600" b="0" i="0" u="none" strike="noStrike" kern="1200" baseline="0">
              <a:solidFill>
                <a:srgbClr val="002060"/>
              </a:solidFill>
              <a:latin typeface="Shape Sans" panose="00000500000000000000" pitchFamily="50" charset="0"/>
              <a:ea typeface="+mn-ea"/>
              <a:cs typeface="+mn-cs"/>
            </a:defRPr>
          </a:pPr>
          <a:endParaRPr lang="nb-NO"/>
        </a:p>
      </c:txPr>
    </c:legend>
    <c:plotVisOnly val="1"/>
    <c:dispBlanksAs val="gap"/>
    <c:showDLblsOverMax val="0"/>
  </c:chart>
  <c:spPr>
    <a:noFill/>
    <a:ln>
      <a:noFill/>
    </a:ln>
    <a:effectLst/>
  </c:spPr>
  <c:txPr>
    <a:bodyPr/>
    <a:lstStyle/>
    <a:p>
      <a:pPr>
        <a:defRPr/>
      </a:pPr>
      <a:endParaRPr lang="nb-NO"/>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103306893473644"/>
          <c:y val="6.9684998969792702E-2"/>
          <c:w val="0.45793386213052711"/>
          <c:h val="0.72672616282123281"/>
        </c:manualLayout>
      </c:layout>
      <c:pieChart>
        <c:varyColors val="1"/>
        <c:dLbls>
          <c:showLegendKey val="0"/>
          <c:showVal val="0"/>
          <c:showCatName val="0"/>
          <c:showSerName val="0"/>
          <c:showPercent val="0"/>
          <c:showBubbleSize val="0"/>
          <c:showLeaderLines val="0"/>
        </c:dLbls>
        <c:firstSliceAng val="0"/>
      </c:pieChart>
      <c:spPr>
        <a:noFill/>
        <a:ln>
          <a:noFill/>
        </a:ln>
        <a:effectLst/>
      </c:spPr>
    </c:plotArea>
    <c:legend>
      <c:legendPos val="b"/>
      <c:layout>
        <c:manualLayout>
          <c:xMode val="edge"/>
          <c:yMode val="edge"/>
          <c:x val="0.28645355022636521"/>
          <c:y val="0.8176887599702628"/>
          <c:w val="0.4279890764758702"/>
          <c:h val="0.17008746661926369"/>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nb-NO"/>
        </a:p>
      </c:txPr>
    </c:legend>
    <c:plotVisOnly val="1"/>
    <c:dispBlanksAs val="gap"/>
    <c:showDLblsOverMax val="0"/>
  </c:chart>
  <c:spPr>
    <a:noFill/>
    <a:ln>
      <a:noFill/>
    </a:ln>
    <a:effectLst/>
  </c:spPr>
  <c:txPr>
    <a:bodyPr/>
    <a:lstStyle/>
    <a:p>
      <a:pPr>
        <a:defRPr/>
      </a:pPr>
      <a:endParaRPr lang="nb-NO"/>
    </a:p>
  </c:txPr>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dPt>
            <c:idx val="0"/>
            <c:bubble3D val="0"/>
            <c:spPr>
              <a:solidFill>
                <a:schemeClr val="accent2"/>
              </a:solidFill>
              <a:ln w="19050">
                <a:solidFill>
                  <a:schemeClr val="lt1"/>
                </a:solidFill>
              </a:ln>
              <a:effectLst/>
            </c:spPr>
            <c:extLst>
              <c:ext xmlns:c16="http://schemas.microsoft.com/office/drawing/2014/chart" uri="{C3380CC4-5D6E-409C-BE32-E72D297353CC}">
                <c16:uniqueId val="{00000001-37B5-4BCE-ADFA-966C9852AAB1}"/>
              </c:ext>
            </c:extLst>
          </c:dPt>
          <c:dPt>
            <c:idx val="1"/>
            <c:bubble3D val="0"/>
            <c:spPr>
              <a:solidFill>
                <a:schemeClr val="accent4">
                  <a:lumMod val="60000"/>
                  <a:lumOff val="40000"/>
                </a:schemeClr>
              </a:solidFill>
              <a:ln w="19050">
                <a:solidFill>
                  <a:schemeClr val="lt1"/>
                </a:solidFill>
              </a:ln>
              <a:effectLst/>
            </c:spPr>
            <c:extLst>
              <c:ext xmlns:c16="http://schemas.microsoft.com/office/drawing/2014/chart" uri="{C3380CC4-5D6E-409C-BE32-E72D297353CC}">
                <c16:uniqueId val="{00000003-37B5-4BCE-ADFA-966C9852AAB1}"/>
              </c:ext>
            </c:extLst>
          </c:dPt>
          <c:dPt>
            <c:idx val="2"/>
            <c:bubble3D val="0"/>
            <c:spPr>
              <a:solidFill>
                <a:srgbClr val="92D050"/>
              </a:solidFill>
              <a:ln w="19050">
                <a:solidFill>
                  <a:schemeClr val="lt1"/>
                </a:solidFill>
              </a:ln>
              <a:effectLst/>
            </c:spPr>
            <c:extLst>
              <c:ext xmlns:c16="http://schemas.microsoft.com/office/drawing/2014/chart" uri="{C3380CC4-5D6E-409C-BE32-E72D297353CC}">
                <c16:uniqueId val="{00000005-37B5-4BCE-ADFA-966C9852AAB1}"/>
              </c:ext>
            </c:extLst>
          </c:dPt>
          <c:dLbls>
            <c:dLbl>
              <c:idx val="1"/>
              <c:layout>
                <c:manualLayout>
                  <c:x val="-0.20678332374332506"/>
                  <c:y val="1.609545198596703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7B5-4BCE-ADFA-966C9852AAB1}"/>
                </c:ext>
              </c:extLst>
            </c:dLbl>
            <c:spPr>
              <a:noFill/>
              <a:ln>
                <a:noFill/>
              </a:ln>
              <a:effectLst/>
            </c:spPr>
            <c:txPr>
              <a:bodyPr rot="0" spcFirstLastPara="1" vertOverflow="ellipsis" vert="horz" wrap="square" lIns="38100" tIns="19050" rIns="38100" bIns="19050" anchor="ctr" anchorCtr="0">
                <a:spAutoFit/>
              </a:bodyPr>
              <a:lstStyle/>
              <a:p>
                <a:pPr algn="ctr">
                  <a:defRPr lang="en-US" sz="2000" b="1" i="0" u="none" strike="noStrike" kern="1200" baseline="0">
                    <a:solidFill>
                      <a:schemeClr val="lt1"/>
                    </a:solidFill>
                    <a:latin typeface="Shape Sans" panose="00000500000000000000" pitchFamily="50" charset="0"/>
                    <a:ea typeface="+mn-ea"/>
                    <a:cs typeface="+mn-cs"/>
                  </a:defRPr>
                </a:pPr>
                <a:endParaRPr lang="nb-NO"/>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Norway - Climate Dashboard'!$A$2:$A$4</c:f>
              <c:strCache>
                <c:ptCount val="3"/>
                <c:pt idx="0">
                  <c:v>Scope 1 (drivstoff)</c:v>
                </c:pt>
                <c:pt idx="1">
                  <c:v>Scope 2 (bruk av strøm)</c:v>
                </c:pt>
                <c:pt idx="2">
                  <c:v>Scope 3 (materialer)</c:v>
                </c:pt>
              </c:strCache>
            </c:strRef>
          </c:cat>
          <c:val>
            <c:numRef>
              <c:f>'Norway - Climate Dashboard'!$C$2:$C$4</c:f>
              <c:numCache>
                <c:formatCode>0.0\ %</c:formatCode>
                <c:ptCount val="3"/>
                <c:pt idx="0">
                  <c:v>0.2963495691467003</c:v>
                </c:pt>
                <c:pt idx="1">
                  <c:v>3.8619167717528374E-3</c:v>
                </c:pt>
                <c:pt idx="2">
                  <c:v>0.69978851408154685</c:v>
                </c:pt>
              </c:numCache>
            </c:numRef>
          </c:val>
          <c:extLst>
            <c:ext xmlns:c16="http://schemas.microsoft.com/office/drawing/2014/chart" uri="{C3380CC4-5D6E-409C-BE32-E72D297353CC}">
              <c16:uniqueId val="{00000006-37B5-4BCE-ADFA-966C9852AAB1}"/>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lang="en-US" sz="1600" b="0" i="0" u="none" strike="noStrike" kern="1200" baseline="0">
              <a:solidFill>
                <a:srgbClr val="002060"/>
              </a:solidFill>
              <a:latin typeface="Shape Sans" panose="00000500000000000000" pitchFamily="50" charset="0"/>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E310-4B7D-B647-CFC34646D289}"/>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E310-4B7D-B647-CFC34646D289}"/>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E310-4B7D-B647-CFC34646D289}"/>
              </c:ext>
            </c:extLst>
          </c:dPt>
          <c:dLbls>
            <c:spPr>
              <a:noFill/>
              <a:ln>
                <a:noFill/>
              </a:ln>
              <a:effectLst/>
            </c:spPr>
            <c:txPr>
              <a:bodyPr rot="0" spcFirstLastPara="1" vertOverflow="ellipsis" vert="horz" wrap="square" lIns="38100" tIns="19050" rIns="38100" bIns="19050" anchor="ctr" anchorCtr="0">
                <a:spAutoFit/>
              </a:bodyPr>
              <a:lstStyle/>
              <a:p>
                <a:pPr algn="ctr">
                  <a:defRPr lang="en-US" sz="2000" b="1" i="0" u="none" strike="noStrike" kern="1200" baseline="0">
                    <a:solidFill>
                      <a:schemeClr val="lt1"/>
                    </a:solidFill>
                    <a:latin typeface="Shape Sans" panose="00000500000000000000" pitchFamily="50" charset="0"/>
                    <a:ea typeface="+mn-ea"/>
                    <a:cs typeface="+mn-cs"/>
                  </a:defRPr>
                </a:pPr>
                <a:endParaRPr lang="nb-NO"/>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Norway - Climate Dashboard'!$B$37:$B$39</c:f>
              <c:strCache>
                <c:ptCount val="3"/>
                <c:pt idx="0">
                  <c:v>Stål</c:v>
                </c:pt>
                <c:pt idx="1">
                  <c:v>Betong</c:v>
                </c:pt>
                <c:pt idx="2">
                  <c:v>Øvrige materialer</c:v>
                </c:pt>
              </c:strCache>
            </c:strRef>
          </c:cat>
          <c:val>
            <c:numRef>
              <c:f>'Norway - Climate Dashboard'!$C$37:$C$39</c:f>
              <c:numCache>
                <c:formatCode>0%</c:formatCode>
                <c:ptCount val="3"/>
                <c:pt idx="0">
                  <c:v>0.19428740368100461</c:v>
                </c:pt>
                <c:pt idx="1">
                  <c:v>0.66793199245403434</c:v>
                </c:pt>
                <c:pt idx="2">
                  <c:v>0.13778060386496113</c:v>
                </c:pt>
              </c:numCache>
            </c:numRef>
          </c:val>
          <c:extLst>
            <c:ext xmlns:c16="http://schemas.microsoft.com/office/drawing/2014/chart" uri="{C3380CC4-5D6E-409C-BE32-E72D297353CC}">
              <c16:uniqueId val="{00000006-E310-4B7D-B647-CFC34646D289}"/>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lang="en-US" sz="1600" b="0" i="0" u="none" strike="noStrike" kern="1200" baseline="0">
              <a:solidFill>
                <a:srgbClr val="002060"/>
              </a:solidFill>
              <a:latin typeface="Shape Sans" panose="00000500000000000000" pitchFamily="50" charset="0"/>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7373416615605414E-2"/>
          <c:y val="3.992353977154451E-2"/>
          <c:w val="0.82366733477279652"/>
          <c:h val="0.69264427254362226"/>
        </c:manualLayout>
      </c:layout>
      <c:barChart>
        <c:barDir val="col"/>
        <c:grouping val="stacked"/>
        <c:varyColors val="0"/>
        <c:ser>
          <c:idx val="0"/>
          <c:order val="0"/>
          <c:tx>
            <c:strRef>
              <c:f>Sheet1!$B$1</c:f>
              <c:strCache>
                <c:ptCount val="1"/>
                <c:pt idx="0">
                  <c:v>Group Scope 1</c:v>
                </c:pt>
              </c:strCache>
            </c:strRef>
          </c:tx>
          <c:spPr>
            <a:solidFill>
              <a:schemeClr val="accent1"/>
            </a:solidFill>
            <a:ln>
              <a:noFill/>
            </a:ln>
            <a:effectLst/>
          </c:spPr>
          <c:invertIfNegative val="0"/>
          <c:cat>
            <c:numRef>
              <c:f>Sheet1!$A$2:$A$17</c:f>
              <c:numCache>
                <c:formatCode>General</c:formatCode>
                <c:ptCount val="16"/>
                <c:pt idx="0">
                  <c:v>2015</c:v>
                </c:pt>
                <c:pt idx="1">
                  <c:v>2016</c:v>
                </c:pt>
                <c:pt idx="2">
                  <c:v>2017</c:v>
                </c:pt>
                <c:pt idx="3">
                  <c:v>2018</c:v>
                </c:pt>
                <c:pt idx="4">
                  <c:v>2019</c:v>
                </c:pt>
                <c:pt idx="5">
                  <c:v>2020</c:v>
                </c:pt>
                <c:pt idx="6">
                  <c:v>2021</c:v>
                </c:pt>
                <c:pt idx="7">
                  <c:v>2022</c:v>
                </c:pt>
                <c:pt idx="15">
                  <c:v>2030</c:v>
                </c:pt>
              </c:numCache>
            </c:numRef>
          </c:cat>
          <c:val>
            <c:numRef>
              <c:f>Sheet1!$B$2:$B$17</c:f>
              <c:numCache>
                <c:formatCode>_-* #\ ##0_-;\-* #\ ##0_-;_-* "-"??_-;_-@_-</c:formatCode>
                <c:ptCount val="16"/>
                <c:pt idx="0">
                  <c:v>322325</c:v>
                </c:pt>
                <c:pt idx="1">
                  <c:v>312800</c:v>
                </c:pt>
                <c:pt idx="2">
                  <c:v>275537</c:v>
                </c:pt>
                <c:pt idx="3">
                  <c:v>275173</c:v>
                </c:pt>
                <c:pt idx="4">
                  <c:v>212609</c:v>
                </c:pt>
                <c:pt idx="5">
                  <c:v>193020</c:v>
                </c:pt>
                <c:pt idx="6">
                  <c:v>194139</c:v>
                </c:pt>
                <c:pt idx="7">
                  <c:v>161850</c:v>
                </c:pt>
              </c:numCache>
            </c:numRef>
          </c:val>
          <c:extLst>
            <c:ext xmlns:c16="http://schemas.microsoft.com/office/drawing/2014/chart" uri="{C3380CC4-5D6E-409C-BE32-E72D297353CC}">
              <c16:uniqueId val="{00000000-44B1-4CDA-8A37-EF434A330B0F}"/>
            </c:ext>
          </c:extLst>
        </c:ser>
        <c:ser>
          <c:idx val="1"/>
          <c:order val="1"/>
          <c:tx>
            <c:strRef>
              <c:f>Sheet1!$C$1</c:f>
              <c:strCache>
                <c:ptCount val="1"/>
                <c:pt idx="0">
                  <c:v>Group Scope 2</c:v>
                </c:pt>
              </c:strCache>
            </c:strRef>
          </c:tx>
          <c:spPr>
            <a:solidFill>
              <a:schemeClr val="accent2"/>
            </a:solidFill>
            <a:ln>
              <a:noFill/>
            </a:ln>
            <a:effectLst/>
          </c:spPr>
          <c:invertIfNegative val="0"/>
          <c:cat>
            <c:numRef>
              <c:f>Sheet1!$A$2:$A$17</c:f>
              <c:numCache>
                <c:formatCode>General</c:formatCode>
                <c:ptCount val="16"/>
                <c:pt idx="0">
                  <c:v>2015</c:v>
                </c:pt>
                <c:pt idx="1">
                  <c:v>2016</c:v>
                </c:pt>
                <c:pt idx="2">
                  <c:v>2017</c:v>
                </c:pt>
                <c:pt idx="3">
                  <c:v>2018</c:v>
                </c:pt>
                <c:pt idx="4">
                  <c:v>2019</c:v>
                </c:pt>
                <c:pt idx="5">
                  <c:v>2020</c:v>
                </c:pt>
                <c:pt idx="6">
                  <c:v>2021</c:v>
                </c:pt>
                <c:pt idx="7">
                  <c:v>2022</c:v>
                </c:pt>
                <c:pt idx="15">
                  <c:v>2030</c:v>
                </c:pt>
              </c:numCache>
            </c:numRef>
          </c:cat>
          <c:val>
            <c:numRef>
              <c:f>Sheet1!$C$2:$C$17</c:f>
              <c:numCache>
                <c:formatCode>_-* #\ ##0_-;\-* #\ ##0_-;_-* "-"??_-;_-@_-</c:formatCode>
                <c:ptCount val="16"/>
                <c:pt idx="0">
                  <c:v>80334</c:v>
                </c:pt>
                <c:pt idx="1">
                  <c:v>73300</c:v>
                </c:pt>
                <c:pt idx="2">
                  <c:v>71389</c:v>
                </c:pt>
                <c:pt idx="3">
                  <c:v>57187</c:v>
                </c:pt>
                <c:pt idx="4">
                  <c:v>78069</c:v>
                </c:pt>
                <c:pt idx="5">
                  <c:v>71575</c:v>
                </c:pt>
                <c:pt idx="6">
                  <c:v>21609</c:v>
                </c:pt>
                <c:pt idx="7">
                  <c:v>17580</c:v>
                </c:pt>
              </c:numCache>
            </c:numRef>
          </c:val>
          <c:extLst>
            <c:ext xmlns:c16="http://schemas.microsoft.com/office/drawing/2014/chart" uri="{C3380CC4-5D6E-409C-BE32-E72D297353CC}">
              <c16:uniqueId val="{00000001-44B1-4CDA-8A37-EF434A330B0F}"/>
            </c:ext>
          </c:extLst>
        </c:ser>
        <c:dLbls>
          <c:showLegendKey val="0"/>
          <c:showVal val="0"/>
          <c:showCatName val="0"/>
          <c:showSerName val="0"/>
          <c:showPercent val="0"/>
          <c:showBubbleSize val="0"/>
        </c:dLbls>
        <c:gapWidth val="55"/>
        <c:overlap val="100"/>
        <c:axId val="790671832"/>
        <c:axId val="790677080"/>
      </c:barChart>
      <c:lineChart>
        <c:grouping val="standard"/>
        <c:varyColors val="0"/>
        <c:ser>
          <c:idx val="3"/>
          <c:order val="3"/>
          <c:tx>
            <c:strRef>
              <c:f>Sheet1!$E$1</c:f>
              <c:strCache>
                <c:ptCount val="1"/>
                <c:pt idx="0">
                  <c:v>70% target line</c:v>
                </c:pt>
              </c:strCache>
            </c:strRef>
          </c:tx>
          <c:spPr>
            <a:ln w="28575" cap="rnd">
              <a:solidFill>
                <a:schemeClr val="accent3"/>
              </a:solidFill>
              <a:round/>
            </a:ln>
            <a:effectLst/>
          </c:spPr>
          <c:marker>
            <c:symbol val="none"/>
          </c:marker>
          <c:cat>
            <c:numRef>
              <c:f>Sheet1!$A$2:$A$17</c:f>
              <c:numCache>
                <c:formatCode>General</c:formatCode>
                <c:ptCount val="16"/>
                <c:pt idx="0">
                  <c:v>2015</c:v>
                </c:pt>
                <c:pt idx="1">
                  <c:v>2016</c:v>
                </c:pt>
                <c:pt idx="2">
                  <c:v>2017</c:v>
                </c:pt>
                <c:pt idx="3">
                  <c:v>2018</c:v>
                </c:pt>
                <c:pt idx="4">
                  <c:v>2019</c:v>
                </c:pt>
                <c:pt idx="5">
                  <c:v>2020</c:v>
                </c:pt>
                <c:pt idx="6">
                  <c:v>2021</c:v>
                </c:pt>
                <c:pt idx="7">
                  <c:v>2022</c:v>
                </c:pt>
                <c:pt idx="15">
                  <c:v>2030</c:v>
                </c:pt>
              </c:numCache>
            </c:numRef>
          </c:cat>
          <c:val>
            <c:numRef>
              <c:f>Sheet1!$E$2:$E$17</c:f>
              <c:numCache>
                <c:formatCode>_-* #\ ##0_-;\-* #\ ##0_-;_-* "-"??_-;_-@_-</c:formatCode>
                <c:ptCount val="16"/>
                <c:pt idx="0">
                  <c:v>120798</c:v>
                </c:pt>
                <c:pt idx="1">
                  <c:v>120798</c:v>
                </c:pt>
                <c:pt idx="2">
                  <c:v>120798</c:v>
                </c:pt>
                <c:pt idx="3">
                  <c:v>120798</c:v>
                </c:pt>
                <c:pt idx="4">
                  <c:v>120798</c:v>
                </c:pt>
                <c:pt idx="5">
                  <c:v>120798</c:v>
                </c:pt>
                <c:pt idx="6">
                  <c:v>120798</c:v>
                </c:pt>
                <c:pt idx="7">
                  <c:v>120798</c:v>
                </c:pt>
                <c:pt idx="8">
                  <c:v>120798</c:v>
                </c:pt>
                <c:pt idx="9">
                  <c:v>120798</c:v>
                </c:pt>
                <c:pt idx="10">
                  <c:v>120798</c:v>
                </c:pt>
                <c:pt idx="11">
                  <c:v>120798</c:v>
                </c:pt>
                <c:pt idx="12">
                  <c:v>120798</c:v>
                </c:pt>
                <c:pt idx="13">
                  <c:v>120798</c:v>
                </c:pt>
                <c:pt idx="14">
                  <c:v>120798</c:v>
                </c:pt>
                <c:pt idx="15">
                  <c:v>120798</c:v>
                </c:pt>
              </c:numCache>
            </c:numRef>
          </c:val>
          <c:smooth val="0"/>
          <c:extLst>
            <c:ext xmlns:c16="http://schemas.microsoft.com/office/drawing/2014/chart" uri="{C3380CC4-5D6E-409C-BE32-E72D297353CC}">
              <c16:uniqueId val="{00000002-44B1-4CDA-8A37-EF434A330B0F}"/>
            </c:ext>
          </c:extLst>
        </c:ser>
        <c:ser>
          <c:idx val="4"/>
          <c:order val="4"/>
          <c:tx>
            <c:strRef>
              <c:f>Sheet1!$F$1</c:f>
              <c:strCache>
                <c:ptCount val="1"/>
                <c:pt idx="0">
                  <c:v>Targeted Emission Reduction</c:v>
                </c:pt>
              </c:strCache>
            </c:strRef>
          </c:tx>
          <c:spPr>
            <a:ln w="28575" cap="rnd">
              <a:solidFill>
                <a:schemeClr val="tx2"/>
              </a:solidFill>
              <a:prstDash val="dash"/>
              <a:round/>
            </a:ln>
            <a:effectLst/>
          </c:spPr>
          <c:marker>
            <c:symbol val="none"/>
          </c:marker>
          <c:cat>
            <c:numRef>
              <c:f>Sheet1!$A$2:$A$17</c:f>
              <c:numCache>
                <c:formatCode>General</c:formatCode>
                <c:ptCount val="16"/>
                <c:pt idx="0">
                  <c:v>2015</c:v>
                </c:pt>
                <c:pt idx="1">
                  <c:v>2016</c:v>
                </c:pt>
                <c:pt idx="2">
                  <c:v>2017</c:v>
                </c:pt>
                <c:pt idx="3">
                  <c:v>2018</c:v>
                </c:pt>
                <c:pt idx="4">
                  <c:v>2019</c:v>
                </c:pt>
                <c:pt idx="5">
                  <c:v>2020</c:v>
                </c:pt>
                <c:pt idx="6">
                  <c:v>2021</c:v>
                </c:pt>
                <c:pt idx="7">
                  <c:v>2022</c:v>
                </c:pt>
                <c:pt idx="15">
                  <c:v>2030</c:v>
                </c:pt>
              </c:numCache>
            </c:numRef>
          </c:cat>
          <c:val>
            <c:numRef>
              <c:f>Sheet1!$F$2:$F$17</c:f>
              <c:numCache>
                <c:formatCode>_-* #\ ##0_-;\-* #\ ##0_-;_-* "-"??_-;_-@_-</c:formatCode>
                <c:ptCount val="16"/>
                <c:pt idx="0">
                  <c:v>402659</c:v>
                </c:pt>
                <c:pt idx="1">
                  <c:v>383868.24666666664</c:v>
                </c:pt>
                <c:pt idx="2">
                  <c:v>365077.49333333329</c:v>
                </c:pt>
                <c:pt idx="3">
                  <c:v>346286.73999999993</c:v>
                </c:pt>
                <c:pt idx="4">
                  <c:v>327495.98666666658</c:v>
                </c:pt>
                <c:pt idx="5">
                  <c:v>308705.23333333322</c:v>
                </c:pt>
                <c:pt idx="6">
                  <c:v>289914.47999999986</c:v>
                </c:pt>
                <c:pt idx="7">
                  <c:v>271123.72666666651</c:v>
                </c:pt>
                <c:pt idx="8">
                  <c:v>252332.97333333318</c:v>
                </c:pt>
                <c:pt idx="9">
                  <c:v>233542.21999999986</c:v>
                </c:pt>
                <c:pt idx="10">
                  <c:v>214751.46666666653</c:v>
                </c:pt>
                <c:pt idx="11">
                  <c:v>195960.7133333332</c:v>
                </c:pt>
                <c:pt idx="12">
                  <c:v>177169.95999999988</c:v>
                </c:pt>
                <c:pt idx="13">
                  <c:v>158379.20666666655</c:v>
                </c:pt>
                <c:pt idx="14">
                  <c:v>139588.45333333322</c:v>
                </c:pt>
                <c:pt idx="15">
                  <c:v>120797.7</c:v>
                </c:pt>
              </c:numCache>
            </c:numRef>
          </c:val>
          <c:smooth val="0"/>
          <c:extLst>
            <c:ext xmlns:c16="http://schemas.microsoft.com/office/drawing/2014/chart" uri="{C3380CC4-5D6E-409C-BE32-E72D297353CC}">
              <c16:uniqueId val="{00000003-44B1-4CDA-8A37-EF434A330B0F}"/>
            </c:ext>
          </c:extLst>
        </c:ser>
        <c:dLbls>
          <c:showLegendKey val="0"/>
          <c:showVal val="0"/>
          <c:showCatName val="0"/>
          <c:showSerName val="0"/>
          <c:showPercent val="0"/>
          <c:showBubbleSize val="0"/>
        </c:dLbls>
        <c:marker val="1"/>
        <c:smooth val="0"/>
        <c:axId val="790671832"/>
        <c:axId val="790677080"/>
      </c:lineChart>
      <c:lineChart>
        <c:grouping val="standard"/>
        <c:varyColors val="0"/>
        <c:ser>
          <c:idx val="2"/>
          <c:order val="2"/>
          <c:tx>
            <c:strRef>
              <c:f>Sheet1!$D$1</c:f>
              <c:strCache>
                <c:ptCount val="1"/>
                <c:pt idx="0">
                  <c:v>Intensity (total emissions/MSEK revenue)</c:v>
                </c:pt>
              </c:strCache>
            </c:strRef>
          </c:tx>
          <c:spPr>
            <a:ln w="28575" cap="rnd">
              <a:solidFill>
                <a:schemeClr val="accent4">
                  <a:lumMod val="60000"/>
                  <a:lumOff val="40000"/>
                </a:schemeClr>
              </a:solidFill>
              <a:round/>
            </a:ln>
            <a:effectLst/>
          </c:spPr>
          <c:marker>
            <c:symbol val="none"/>
          </c:marker>
          <c:cat>
            <c:numRef>
              <c:f>Sheet1!$A$2:$A$17</c:f>
              <c:numCache>
                <c:formatCode>General</c:formatCode>
                <c:ptCount val="16"/>
                <c:pt idx="0">
                  <c:v>2015</c:v>
                </c:pt>
                <c:pt idx="1">
                  <c:v>2016</c:v>
                </c:pt>
                <c:pt idx="2">
                  <c:v>2017</c:v>
                </c:pt>
                <c:pt idx="3">
                  <c:v>2018</c:v>
                </c:pt>
                <c:pt idx="4">
                  <c:v>2019</c:v>
                </c:pt>
                <c:pt idx="5">
                  <c:v>2020</c:v>
                </c:pt>
                <c:pt idx="6">
                  <c:v>2021</c:v>
                </c:pt>
                <c:pt idx="7">
                  <c:v>2022</c:v>
                </c:pt>
                <c:pt idx="15">
                  <c:v>2030</c:v>
                </c:pt>
              </c:numCache>
            </c:numRef>
          </c:cat>
          <c:val>
            <c:numRef>
              <c:f>Sheet1!$D$2:$D$17</c:f>
              <c:numCache>
                <c:formatCode>_(* #,##0.00_);_(* \(#,##0.00\);_(* "-"??_);_(@_)</c:formatCode>
                <c:ptCount val="16"/>
                <c:pt idx="0">
                  <c:v>2.6</c:v>
                </c:pt>
                <c:pt idx="1">
                  <c:v>2.5499999999999998</c:v>
                </c:pt>
                <c:pt idx="2">
                  <c:v>2.16</c:v>
                </c:pt>
                <c:pt idx="3">
                  <c:v>1.95</c:v>
                </c:pt>
                <c:pt idx="4">
                  <c:v>1.64</c:v>
                </c:pt>
                <c:pt idx="5">
                  <c:v>1.67</c:v>
                </c:pt>
                <c:pt idx="6">
                  <c:v>1.46</c:v>
                </c:pt>
                <c:pt idx="7">
                  <c:v>1.1103204168265244</c:v>
                </c:pt>
              </c:numCache>
            </c:numRef>
          </c:val>
          <c:smooth val="0"/>
          <c:extLst>
            <c:ext xmlns:c16="http://schemas.microsoft.com/office/drawing/2014/chart" uri="{C3380CC4-5D6E-409C-BE32-E72D297353CC}">
              <c16:uniqueId val="{00000004-44B1-4CDA-8A37-EF434A330B0F}"/>
            </c:ext>
          </c:extLst>
        </c:ser>
        <c:dLbls>
          <c:showLegendKey val="0"/>
          <c:showVal val="0"/>
          <c:showCatName val="0"/>
          <c:showSerName val="0"/>
          <c:showPercent val="0"/>
          <c:showBubbleSize val="0"/>
        </c:dLbls>
        <c:marker val="1"/>
        <c:smooth val="0"/>
        <c:axId val="790682000"/>
        <c:axId val="790681672"/>
      </c:lineChart>
      <c:catAx>
        <c:axId val="7906718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Shape Sans" panose="00000500000000000000" pitchFamily="50" charset="0"/>
                <a:ea typeface="+mn-ea"/>
                <a:cs typeface="+mn-cs"/>
              </a:defRPr>
            </a:pPr>
            <a:endParaRPr lang="nb-NO"/>
          </a:p>
        </c:txPr>
        <c:crossAx val="790677080"/>
        <c:crosses val="autoZero"/>
        <c:auto val="1"/>
        <c:lblAlgn val="ctr"/>
        <c:lblOffset val="100"/>
        <c:noMultiLvlLbl val="0"/>
      </c:catAx>
      <c:valAx>
        <c:axId val="790677080"/>
        <c:scaling>
          <c:orientation val="minMax"/>
          <c:max val="45000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800" b="0" i="0" u="none" strike="noStrike" kern="1200" baseline="0">
                    <a:solidFill>
                      <a:schemeClr val="tx2"/>
                    </a:solidFill>
                    <a:latin typeface="Shape Sans" panose="00000500000000000000" pitchFamily="50" charset="0"/>
                    <a:ea typeface="+mn-ea"/>
                    <a:cs typeface="+mn-cs"/>
                  </a:defRPr>
                </a:pPr>
                <a:r>
                  <a:rPr lang="en-US" sz="800" err="1">
                    <a:solidFill>
                      <a:schemeClr val="tx2"/>
                    </a:solidFill>
                    <a:latin typeface="Shape Sans" panose="00000500000000000000" pitchFamily="50" charset="0"/>
                  </a:rPr>
                  <a:t>Tonnes</a:t>
                </a:r>
                <a:r>
                  <a:rPr lang="en-US" sz="800">
                    <a:solidFill>
                      <a:schemeClr val="tx2"/>
                    </a:solidFill>
                    <a:latin typeface="Shape Sans" panose="00000500000000000000" pitchFamily="50" charset="0"/>
                  </a:rPr>
                  <a:t> CO</a:t>
                </a:r>
                <a:r>
                  <a:rPr lang="en-US" sz="800" baseline="-25000">
                    <a:solidFill>
                      <a:schemeClr val="tx2"/>
                    </a:solidFill>
                    <a:latin typeface="Shape Sans" panose="00000500000000000000" pitchFamily="50" charset="0"/>
                  </a:rPr>
                  <a:t>2</a:t>
                </a:r>
                <a:r>
                  <a:rPr lang="en-US" sz="800">
                    <a:solidFill>
                      <a:schemeClr val="tx2"/>
                    </a:solidFill>
                    <a:latin typeface="Shape Sans" panose="00000500000000000000" pitchFamily="50" charset="0"/>
                  </a:rPr>
                  <a:t>e (thousands)</a:t>
                </a:r>
              </a:p>
            </c:rich>
          </c:tx>
          <c:overlay val="0"/>
          <c:spPr>
            <a:noFill/>
            <a:ln>
              <a:noFill/>
            </a:ln>
            <a:effectLst/>
          </c:spPr>
          <c:txPr>
            <a:bodyPr rot="-5400000" spcFirstLastPara="1" vertOverflow="ellipsis" vert="horz" wrap="square" anchor="ctr" anchorCtr="1"/>
            <a:lstStyle/>
            <a:p>
              <a:pPr>
                <a:defRPr sz="800" b="0" i="0" u="none" strike="noStrike" kern="1200" baseline="0">
                  <a:solidFill>
                    <a:schemeClr val="tx2"/>
                  </a:solidFill>
                  <a:latin typeface="Shape Sans" panose="00000500000000000000" pitchFamily="50" charset="0"/>
                  <a:ea typeface="+mn-ea"/>
                  <a:cs typeface="+mn-cs"/>
                </a:defRPr>
              </a:pPr>
              <a:endParaRPr lang="nb-NO"/>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Shape Sans" panose="00000500000000000000" pitchFamily="50" charset="0"/>
                <a:ea typeface="+mn-ea"/>
                <a:cs typeface="+mn-cs"/>
              </a:defRPr>
            </a:pPr>
            <a:endParaRPr lang="nb-NO"/>
          </a:p>
        </c:txPr>
        <c:crossAx val="790671832"/>
        <c:crosses val="autoZero"/>
        <c:crossBetween val="between"/>
        <c:dispUnits>
          <c:builtInUnit val="thousands"/>
        </c:dispUnits>
      </c:valAx>
      <c:valAx>
        <c:axId val="790681672"/>
        <c:scaling>
          <c:orientation val="minMax"/>
        </c:scaling>
        <c:delete val="0"/>
        <c:axPos val="r"/>
        <c:title>
          <c:tx>
            <c:rich>
              <a:bodyPr rot="-5400000" spcFirstLastPara="1" vertOverflow="ellipsis" vert="horz" wrap="square" anchor="ctr" anchorCtr="1"/>
              <a:lstStyle/>
              <a:p>
                <a:pPr>
                  <a:defRPr sz="800" b="0" i="0" u="none" strike="noStrike" kern="1200" baseline="0">
                    <a:solidFill>
                      <a:schemeClr val="tx2"/>
                    </a:solidFill>
                    <a:latin typeface="Shape Sans" panose="00000500000000000000" pitchFamily="50" charset="0"/>
                    <a:ea typeface="+mn-ea"/>
                    <a:cs typeface="+mn-cs"/>
                  </a:defRPr>
                </a:pPr>
                <a:r>
                  <a:rPr lang="en-US" sz="800">
                    <a:solidFill>
                      <a:schemeClr val="tx2"/>
                    </a:solidFill>
                    <a:latin typeface="Shape Sans" panose="00000500000000000000" pitchFamily="50" charset="0"/>
                  </a:rPr>
                  <a:t>Intensity (total emissions/MSEK revenue)</a:t>
                </a:r>
              </a:p>
            </c:rich>
          </c:tx>
          <c:overlay val="0"/>
          <c:spPr>
            <a:noFill/>
            <a:ln>
              <a:noFill/>
            </a:ln>
            <a:effectLst/>
          </c:spPr>
          <c:txPr>
            <a:bodyPr rot="-5400000" spcFirstLastPara="1" vertOverflow="ellipsis" vert="horz" wrap="square" anchor="ctr" anchorCtr="1"/>
            <a:lstStyle/>
            <a:p>
              <a:pPr>
                <a:defRPr sz="800" b="0" i="0" u="none" strike="noStrike" kern="1200" baseline="0">
                  <a:solidFill>
                    <a:schemeClr val="tx2"/>
                  </a:solidFill>
                  <a:latin typeface="Shape Sans" panose="00000500000000000000" pitchFamily="50" charset="0"/>
                  <a:ea typeface="+mn-ea"/>
                  <a:cs typeface="+mn-cs"/>
                </a:defRPr>
              </a:pPr>
              <a:endParaRPr lang="nb-NO"/>
            </a:p>
          </c:txPr>
        </c:title>
        <c:numFmt formatCode="#,##0.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Shape Sans" panose="00000500000000000000" pitchFamily="50" charset="0"/>
                <a:ea typeface="+mn-ea"/>
                <a:cs typeface="+mn-cs"/>
              </a:defRPr>
            </a:pPr>
            <a:endParaRPr lang="nb-NO"/>
          </a:p>
        </c:txPr>
        <c:crossAx val="790682000"/>
        <c:crosses val="max"/>
        <c:crossBetween val="between"/>
        <c:majorUnit val="1"/>
      </c:valAx>
      <c:catAx>
        <c:axId val="790682000"/>
        <c:scaling>
          <c:orientation val="minMax"/>
        </c:scaling>
        <c:delete val="1"/>
        <c:axPos val="b"/>
        <c:numFmt formatCode="General" sourceLinked="1"/>
        <c:majorTickMark val="out"/>
        <c:minorTickMark val="none"/>
        <c:tickLblPos val="nextTo"/>
        <c:crossAx val="790681672"/>
        <c:crosses val="autoZero"/>
        <c:auto val="1"/>
        <c:lblAlgn val="ctr"/>
        <c:lblOffset val="100"/>
        <c:noMultiLvlLbl val="0"/>
      </c:catAx>
      <c:spPr>
        <a:noFill/>
        <a:ln>
          <a:noFill/>
        </a:ln>
        <a:effectLst/>
      </c:spPr>
    </c:plotArea>
    <c:legend>
      <c:legendPos val="b"/>
      <c:layout>
        <c:manualLayout>
          <c:xMode val="edge"/>
          <c:yMode val="edge"/>
          <c:x val="6.6129689493537092E-2"/>
          <c:y val="0.84087286156504015"/>
          <c:w val="0.75292009375916247"/>
          <c:h val="0.1591271384349599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Shape Sans" panose="00000500000000000000" pitchFamily="50" charset="0"/>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withinLinear" id="19">
  <a:schemeClr val="accent6"/>
</cs:colorStyle>
</file>

<file path=ppt/charts/colors2.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1"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scene3d>
        <a:camera prst="orthographicFront"/>
        <a:lightRig rig="brightRoom" dir="t"/>
      </a:scene3d>
      <a:sp3d prstMaterial="flat">
        <a:bevelT w="50800" h="101600" prst="angle"/>
        <a:contourClr>
          <a:srgbClr val="000000"/>
        </a:contourClr>
      </a:sp3d>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1" i="0" kern="1200" cap="all" spc="5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modernComment_1A169_5FF56BAD.xml><?xml version="1.0" encoding="utf-8"?>
<p188:cmLst xmlns:a="http://schemas.openxmlformats.org/drawingml/2006/main" xmlns:r="http://schemas.openxmlformats.org/officeDocument/2006/relationships" xmlns:p188="http://schemas.microsoft.com/office/powerpoint/2018/8/main">
  <p188:cm id="{0D75690B-5565-4E41-AEC9-AFC30CA918AE}" authorId="{4E95F617-544E-F264-2ED0-A14461564AB2}" created="2022-08-19T11:30:50.891">
    <ac:deMkLst xmlns:ac="http://schemas.microsoft.com/office/drawing/2013/main/command">
      <pc:docMk xmlns:pc="http://schemas.microsoft.com/office/powerpoint/2013/main/command"/>
      <pc:sldMk xmlns:pc="http://schemas.microsoft.com/office/powerpoint/2013/main/command" cId="1609919405" sldId="106857"/>
      <ac:spMk id="3" creationId="{2A9B0AAF-7B18-AD91-DA4E-3C3905E6BC7B}"/>
    </ac:deMkLst>
    <p188:txBody>
      <a:bodyPr/>
      <a:lstStyle/>
      <a:p>
        <a:r>
          <a:rPr lang="nb-NO"/>
          <a:t>Aktiv overskrift</a:t>
        </a:r>
      </a:p>
    </p188:txBody>
  </p188:cm>
</p188:cmLst>
</file>

<file path=ppt/comments/modernComment_86A1334_7C76443F.xml><?xml version="1.0" encoding="utf-8"?>
<p188:cmLst xmlns:a="http://schemas.openxmlformats.org/drawingml/2006/main" xmlns:r="http://schemas.openxmlformats.org/officeDocument/2006/relationships" xmlns:p188="http://schemas.microsoft.com/office/powerpoint/2018/8/main">
  <p188:cm id="{976865B7-3A84-4576-A5FA-DD3FCDB23077}" authorId="{4E95F617-544E-F264-2ED0-A14461564AB2}" created="2022-08-19T11:30:50.891">
    <ac:deMkLst xmlns:ac="http://schemas.microsoft.com/office/drawing/2013/main/command">
      <pc:docMk xmlns:pc="http://schemas.microsoft.com/office/powerpoint/2013/main/command"/>
      <pc:sldMk xmlns:pc="http://schemas.microsoft.com/office/powerpoint/2013/main/command" cId="2088125503" sldId="141169460"/>
      <ac:spMk id="3" creationId="{2A9B0AAF-7B18-AD91-DA4E-3C3905E6BC7B}"/>
    </ac:deMkLst>
    <p188:txBody>
      <a:bodyPr/>
      <a:lstStyle/>
      <a:p>
        <a:r>
          <a:rPr lang="nb-NO"/>
          <a:t>Aktiv overskrift</a:t>
        </a:r>
      </a:p>
    </p188:txBody>
  </p188:cm>
</p188:cmLst>
</file>

<file path=ppt/drawings/drawing1.xml><?xml version="1.0" encoding="utf-8"?>
<c:userShapes xmlns:c="http://schemas.openxmlformats.org/drawingml/2006/chart">
  <cdr:relSizeAnchor xmlns:cdr="http://schemas.openxmlformats.org/drawingml/2006/chartDrawing">
    <cdr:from>
      <cdr:x>0.42765</cdr:x>
      <cdr:y>0.47912</cdr:y>
    </cdr:from>
    <cdr:to>
      <cdr:x>0.50207</cdr:x>
      <cdr:y>0.51976</cdr:y>
    </cdr:to>
    <cdr:sp macro="" textlink="">
      <cdr:nvSpPr>
        <cdr:cNvPr id="2" name="TextBox 33">
          <a:extLst xmlns:a="http://schemas.openxmlformats.org/drawingml/2006/main">
            <a:ext uri="{FF2B5EF4-FFF2-40B4-BE49-F238E27FC236}">
              <a16:creationId xmlns:a16="http://schemas.microsoft.com/office/drawing/2014/main" id="{F38D205C-D972-74DB-AE42-FA38FF8874D3}"/>
            </a:ext>
          </a:extLst>
        </cdr:cNvPr>
        <cdr:cNvSpPr txBox="1"/>
      </cdr:nvSpPr>
      <cdr:spPr>
        <a:xfrm xmlns:a="http://schemas.openxmlformats.org/drawingml/2006/main">
          <a:off x="2402274" y="1269819"/>
          <a:ext cx="418045" cy="107722"/>
        </a:xfrm>
        <a:prstGeom xmlns:a="http://schemas.openxmlformats.org/drawingml/2006/main" prst="rect">
          <a:avLst/>
        </a:prstGeom>
        <a:noFill xmlns:a="http://schemas.openxmlformats.org/drawingml/2006/main"/>
      </cdr:spPr>
      <cdr:txBody>
        <a:bodyPr xmlns:a="http://schemas.openxmlformats.org/drawingml/2006/main" wrap="square" lIns="0" tIns="0" rIns="0" bIns="0" rtlCol="0">
          <a:spAutoFit/>
        </a:bodyPr>
        <a:lstStyle xmlns:a="http://schemas.openxmlformats.org/drawingml/2006/main">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xmlns:a="http://schemas.openxmlformats.org/drawingml/2006/main">
          <a:pPr algn="ctr" defTabSz="685800">
            <a:buClrTx/>
            <a:defRPr/>
          </a:pPr>
          <a:r>
            <a:rPr lang="sv-SE" sz="700" kern="1200" dirty="0">
              <a:solidFill>
                <a:srgbClr val="FFFFFF"/>
              </a:solidFill>
              <a:latin typeface="Shape Sans" panose="00000500000000000000" pitchFamily="50" charset="0"/>
              <a:ea typeface="+mn-ea"/>
              <a:cs typeface="+mn-cs"/>
            </a:rPr>
            <a:t>1.1</a:t>
          </a:r>
          <a:endParaRPr lang="en-US" sz="800" kern="1200" dirty="0">
            <a:solidFill>
              <a:srgbClr val="FFFFFF"/>
            </a:solidFill>
            <a:latin typeface="Shape Sans" panose="00000500000000000000" pitchFamily="50" charset="0"/>
            <a:ea typeface="+mn-ea"/>
            <a:cs typeface="+mn-cs"/>
          </a:endParaRPr>
        </a:p>
      </cdr:txBody>
    </cdr:sp>
  </cdr:relSizeAnchor>
  <cdr:relSizeAnchor xmlns:cdr="http://schemas.openxmlformats.org/drawingml/2006/chartDrawing">
    <cdr:from>
      <cdr:x>0.37469</cdr:x>
      <cdr:y>0.43023</cdr:y>
    </cdr:from>
    <cdr:to>
      <cdr:x>0.44911</cdr:x>
      <cdr:y>0.47088</cdr:y>
    </cdr:to>
    <cdr:sp macro="" textlink="">
      <cdr:nvSpPr>
        <cdr:cNvPr id="3" name="TextBox 33">
          <a:extLst xmlns:a="http://schemas.openxmlformats.org/drawingml/2006/main">
            <a:ext uri="{FF2B5EF4-FFF2-40B4-BE49-F238E27FC236}">
              <a16:creationId xmlns:a16="http://schemas.microsoft.com/office/drawing/2014/main" id="{3EB3B5AE-971F-B64B-5FD7-E71448635DAA}"/>
            </a:ext>
          </a:extLst>
        </cdr:cNvPr>
        <cdr:cNvSpPr txBox="1"/>
      </cdr:nvSpPr>
      <cdr:spPr>
        <a:xfrm xmlns:a="http://schemas.openxmlformats.org/drawingml/2006/main">
          <a:off x="2104746" y="1140247"/>
          <a:ext cx="418045" cy="107722"/>
        </a:xfrm>
        <a:prstGeom xmlns:a="http://schemas.openxmlformats.org/drawingml/2006/main" prst="rect">
          <a:avLst/>
        </a:prstGeom>
        <a:noFill xmlns:a="http://schemas.openxmlformats.org/drawingml/2006/main"/>
      </cdr:spPr>
      <cdr:txBody>
        <a:bodyPr xmlns:a="http://schemas.openxmlformats.org/drawingml/2006/main" wrap="square" lIns="0" tIns="0" rIns="0" bIns="0"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defTabSz="685800">
            <a:buClrTx/>
            <a:defRPr/>
          </a:pPr>
          <a:r>
            <a:rPr lang="sv-SE" sz="700" kern="1200" dirty="0">
              <a:solidFill>
                <a:srgbClr val="FFFFFF"/>
              </a:solidFill>
              <a:latin typeface="Shape Sans" panose="00000500000000000000" pitchFamily="50" charset="0"/>
              <a:ea typeface="+mn-ea"/>
              <a:cs typeface="+mn-cs"/>
            </a:rPr>
            <a:t>1.5</a:t>
          </a:r>
          <a:endParaRPr lang="en-US" sz="800" kern="1200" dirty="0">
            <a:solidFill>
              <a:srgbClr val="FFFFFF"/>
            </a:solidFill>
            <a:latin typeface="Shape Sans" panose="00000500000000000000" pitchFamily="50" charset="0"/>
            <a:ea typeface="+mn-ea"/>
            <a:cs typeface="+mn-cs"/>
          </a:endParaRPr>
        </a:p>
      </cdr:txBody>
    </cdr:sp>
  </cdr:relSizeAnchor>
  <cdr:relSizeAnchor xmlns:cdr="http://schemas.openxmlformats.org/drawingml/2006/chartDrawing">
    <cdr:from>
      <cdr:x>0.32264</cdr:x>
      <cdr:y>0.36323</cdr:y>
    </cdr:from>
    <cdr:to>
      <cdr:x>0.39706</cdr:x>
      <cdr:y>0.40387</cdr:y>
    </cdr:to>
    <cdr:sp macro="" textlink="">
      <cdr:nvSpPr>
        <cdr:cNvPr id="4" name="TextBox 33">
          <a:extLst xmlns:a="http://schemas.openxmlformats.org/drawingml/2006/main">
            <a:ext uri="{FF2B5EF4-FFF2-40B4-BE49-F238E27FC236}">
              <a16:creationId xmlns:a16="http://schemas.microsoft.com/office/drawing/2014/main" id="{132DD0CA-EDEF-41BA-0CA3-F5C3B9A1B8C3}"/>
            </a:ext>
          </a:extLst>
        </cdr:cNvPr>
        <cdr:cNvSpPr txBox="1"/>
      </cdr:nvSpPr>
      <cdr:spPr>
        <a:xfrm xmlns:a="http://schemas.openxmlformats.org/drawingml/2006/main">
          <a:off x="1812375" y="962669"/>
          <a:ext cx="418045" cy="107722"/>
        </a:xfrm>
        <a:prstGeom xmlns:a="http://schemas.openxmlformats.org/drawingml/2006/main" prst="rect">
          <a:avLst/>
        </a:prstGeom>
        <a:noFill xmlns:a="http://schemas.openxmlformats.org/drawingml/2006/main"/>
      </cdr:spPr>
      <cdr:txBody>
        <a:bodyPr xmlns:a="http://schemas.openxmlformats.org/drawingml/2006/main" wrap="square" lIns="0" tIns="0" rIns="0" bIns="0"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defTabSz="685800">
            <a:buClrTx/>
            <a:defRPr/>
          </a:pPr>
          <a:r>
            <a:rPr lang="sv-SE" sz="700" kern="1200" dirty="0">
              <a:solidFill>
                <a:srgbClr val="FFFFFF"/>
              </a:solidFill>
              <a:latin typeface="Shape Sans" panose="00000500000000000000" pitchFamily="50" charset="0"/>
              <a:ea typeface="+mn-ea"/>
              <a:cs typeface="+mn-cs"/>
            </a:rPr>
            <a:t>1.7</a:t>
          </a:r>
          <a:endParaRPr lang="en-US" sz="800" kern="1200" dirty="0">
            <a:solidFill>
              <a:srgbClr val="FFFFFF"/>
            </a:solidFill>
            <a:latin typeface="Shape Sans" panose="00000500000000000000" pitchFamily="50" charset="0"/>
            <a:ea typeface="+mn-ea"/>
            <a:cs typeface="+mn-cs"/>
          </a:endParaRPr>
        </a:p>
      </cdr:txBody>
    </cdr:sp>
  </cdr:relSizeAnchor>
  <cdr:relSizeAnchor xmlns:cdr="http://schemas.openxmlformats.org/drawingml/2006/chartDrawing">
    <cdr:from>
      <cdr:x>0.27348</cdr:x>
      <cdr:y>0.36506</cdr:y>
    </cdr:from>
    <cdr:to>
      <cdr:x>0.3479</cdr:x>
      <cdr:y>0.40571</cdr:y>
    </cdr:to>
    <cdr:sp macro="" textlink="">
      <cdr:nvSpPr>
        <cdr:cNvPr id="5" name="TextBox 33">
          <a:extLst xmlns:a="http://schemas.openxmlformats.org/drawingml/2006/main">
            <a:ext uri="{FF2B5EF4-FFF2-40B4-BE49-F238E27FC236}">
              <a16:creationId xmlns:a16="http://schemas.microsoft.com/office/drawing/2014/main" id="{483FC9BB-ACD4-F784-78CA-EA215A3C04F0}"/>
            </a:ext>
          </a:extLst>
        </cdr:cNvPr>
        <cdr:cNvSpPr txBox="1"/>
      </cdr:nvSpPr>
      <cdr:spPr>
        <a:xfrm xmlns:a="http://schemas.openxmlformats.org/drawingml/2006/main">
          <a:off x="1536226" y="967533"/>
          <a:ext cx="418045" cy="107722"/>
        </a:xfrm>
        <a:prstGeom xmlns:a="http://schemas.openxmlformats.org/drawingml/2006/main" prst="rect">
          <a:avLst/>
        </a:prstGeom>
        <a:noFill xmlns:a="http://schemas.openxmlformats.org/drawingml/2006/main"/>
      </cdr:spPr>
      <cdr:txBody>
        <a:bodyPr xmlns:a="http://schemas.openxmlformats.org/drawingml/2006/main" wrap="square" lIns="0" tIns="0" rIns="0" bIns="0"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defTabSz="685800">
            <a:buClrTx/>
            <a:defRPr/>
          </a:pPr>
          <a:r>
            <a:rPr lang="sv-SE" sz="700" kern="1200" dirty="0">
              <a:solidFill>
                <a:srgbClr val="FFFFFF"/>
              </a:solidFill>
              <a:latin typeface="Shape Sans" panose="00000500000000000000" pitchFamily="50" charset="0"/>
              <a:ea typeface="+mn-ea"/>
              <a:cs typeface="+mn-cs"/>
            </a:rPr>
            <a:t>1.6</a:t>
          </a:r>
          <a:endParaRPr lang="en-US" sz="800" kern="1200" dirty="0">
            <a:solidFill>
              <a:srgbClr val="FFFFFF"/>
            </a:solidFill>
            <a:latin typeface="Shape Sans" panose="00000500000000000000" pitchFamily="50" charset="0"/>
            <a:ea typeface="+mn-ea"/>
            <a:cs typeface="+mn-cs"/>
          </a:endParaRPr>
        </a:p>
      </cdr:txBody>
    </cdr:sp>
  </cdr:relSizeAnchor>
  <cdr:relSizeAnchor xmlns:cdr="http://schemas.openxmlformats.org/drawingml/2006/chartDrawing">
    <cdr:from>
      <cdr:x>0.22163</cdr:x>
      <cdr:y>0.30119</cdr:y>
    </cdr:from>
    <cdr:to>
      <cdr:x>0.29605</cdr:x>
      <cdr:y>0.34184</cdr:y>
    </cdr:to>
    <cdr:sp macro="" textlink="">
      <cdr:nvSpPr>
        <cdr:cNvPr id="6" name="TextBox 33">
          <a:extLst xmlns:a="http://schemas.openxmlformats.org/drawingml/2006/main">
            <a:ext uri="{FF2B5EF4-FFF2-40B4-BE49-F238E27FC236}">
              <a16:creationId xmlns:a16="http://schemas.microsoft.com/office/drawing/2014/main" id="{B0A5B0DA-A0E7-E4B0-1B5D-4108C39F0C68}"/>
            </a:ext>
          </a:extLst>
        </cdr:cNvPr>
        <cdr:cNvSpPr txBox="1"/>
      </cdr:nvSpPr>
      <cdr:spPr>
        <a:xfrm xmlns:a="http://schemas.openxmlformats.org/drawingml/2006/main">
          <a:off x="1244956" y="798255"/>
          <a:ext cx="418045" cy="107722"/>
        </a:xfrm>
        <a:prstGeom xmlns:a="http://schemas.openxmlformats.org/drawingml/2006/main" prst="rect">
          <a:avLst/>
        </a:prstGeom>
        <a:noFill xmlns:a="http://schemas.openxmlformats.org/drawingml/2006/main"/>
      </cdr:spPr>
      <cdr:txBody>
        <a:bodyPr xmlns:a="http://schemas.openxmlformats.org/drawingml/2006/main" wrap="square" lIns="0" tIns="0" rIns="0" bIns="0"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defTabSz="685800">
            <a:buClrTx/>
            <a:defRPr/>
          </a:pPr>
          <a:r>
            <a:rPr lang="sv-SE" sz="700" kern="1200" dirty="0">
              <a:solidFill>
                <a:srgbClr val="FFFFFF"/>
              </a:solidFill>
              <a:latin typeface="Shape Sans" panose="00000500000000000000" pitchFamily="50" charset="0"/>
            </a:rPr>
            <a:t>2.0</a:t>
          </a:r>
          <a:endParaRPr lang="en-US" sz="800" kern="1200" dirty="0">
            <a:solidFill>
              <a:srgbClr val="FFFFFF"/>
            </a:solidFill>
            <a:latin typeface="Shape Sans" panose="00000500000000000000" pitchFamily="50" charset="0"/>
            <a:ea typeface="+mn-ea"/>
            <a:cs typeface="+mn-cs"/>
          </a:endParaRPr>
        </a:p>
      </cdr:txBody>
    </cdr:sp>
  </cdr:relSizeAnchor>
  <cdr:relSizeAnchor xmlns:cdr="http://schemas.openxmlformats.org/drawingml/2006/chartDrawing">
    <cdr:from>
      <cdr:x>0.1706</cdr:x>
      <cdr:y>0.25244</cdr:y>
    </cdr:from>
    <cdr:to>
      <cdr:x>0.24502</cdr:x>
      <cdr:y>0.29309</cdr:y>
    </cdr:to>
    <cdr:sp macro="" textlink="">
      <cdr:nvSpPr>
        <cdr:cNvPr id="7" name="TextBox 33">
          <a:extLst xmlns:a="http://schemas.openxmlformats.org/drawingml/2006/main">
            <a:ext uri="{FF2B5EF4-FFF2-40B4-BE49-F238E27FC236}">
              <a16:creationId xmlns:a16="http://schemas.microsoft.com/office/drawing/2014/main" id="{0C8FF2E0-9223-3E1B-FA40-696BF539315B}"/>
            </a:ext>
          </a:extLst>
        </cdr:cNvPr>
        <cdr:cNvSpPr txBox="1"/>
      </cdr:nvSpPr>
      <cdr:spPr>
        <a:xfrm xmlns:a="http://schemas.openxmlformats.org/drawingml/2006/main">
          <a:off x="958320" y="669054"/>
          <a:ext cx="418045" cy="107722"/>
        </a:xfrm>
        <a:prstGeom xmlns:a="http://schemas.openxmlformats.org/drawingml/2006/main" prst="rect">
          <a:avLst/>
        </a:prstGeom>
        <a:noFill xmlns:a="http://schemas.openxmlformats.org/drawingml/2006/main"/>
      </cdr:spPr>
      <cdr:txBody>
        <a:bodyPr xmlns:a="http://schemas.openxmlformats.org/drawingml/2006/main" wrap="square" lIns="0" tIns="0" rIns="0" bIns="0"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defTabSz="685800">
            <a:buClrTx/>
            <a:defRPr/>
          </a:pPr>
          <a:r>
            <a:rPr lang="sv-SE" sz="700" kern="1200" dirty="0">
              <a:solidFill>
                <a:srgbClr val="FFFFFF"/>
              </a:solidFill>
              <a:latin typeface="Shape Sans" panose="00000500000000000000" pitchFamily="50" charset="0"/>
              <a:ea typeface="+mn-ea"/>
              <a:cs typeface="+mn-cs"/>
            </a:rPr>
            <a:t>2.2</a:t>
          </a:r>
          <a:endParaRPr lang="en-US" sz="800" kern="1200" dirty="0">
            <a:solidFill>
              <a:srgbClr val="FFFFFF"/>
            </a:solidFill>
            <a:latin typeface="Shape Sans" panose="00000500000000000000" pitchFamily="50" charset="0"/>
            <a:ea typeface="+mn-ea"/>
            <a:cs typeface="+mn-cs"/>
          </a:endParaRPr>
        </a:p>
      </cdr:txBody>
    </cdr:sp>
  </cdr:relSizeAnchor>
  <cdr:relSizeAnchor xmlns:cdr="http://schemas.openxmlformats.org/drawingml/2006/chartDrawing">
    <cdr:from>
      <cdr:x>0.11858</cdr:x>
      <cdr:y>0.17618</cdr:y>
    </cdr:from>
    <cdr:to>
      <cdr:x>0.193</cdr:x>
      <cdr:y>0.21682</cdr:y>
    </cdr:to>
    <cdr:sp macro="" textlink="">
      <cdr:nvSpPr>
        <cdr:cNvPr id="8" name="TextBox 33">
          <a:extLst xmlns:a="http://schemas.openxmlformats.org/drawingml/2006/main">
            <a:ext uri="{FF2B5EF4-FFF2-40B4-BE49-F238E27FC236}">
              <a16:creationId xmlns:a16="http://schemas.microsoft.com/office/drawing/2014/main" id="{0C10C85C-262F-49E2-9C50-4FD99BF77689}"/>
            </a:ext>
          </a:extLst>
        </cdr:cNvPr>
        <cdr:cNvSpPr txBox="1"/>
      </cdr:nvSpPr>
      <cdr:spPr>
        <a:xfrm xmlns:a="http://schemas.openxmlformats.org/drawingml/2006/main">
          <a:off x="666092" y="466920"/>
          <a:ext cx="418045" cy="107722"/>
        </a:xfrm>
        <a:prstGeom xmlns:a="http://schemas.openxmlformats.org/drawingml/2006/main" prst="rect">
          <a:avLst/>
        </a:prstGeom>
        <a:noFill xmlns:a="http://schemas.openxmlformats.org/drawingml/2006/main"/>
      </cdr:spPr>
      <cdr:txBody>
        <a:bodyPr xmlns:a="http://schemas.openxmlformats.org/drawingml/2006/main" wrap="square" lIns="0" tIns="0" rIns="0" bIns="0"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defTabSz="685800">
            <a:buClrTx/>
            <a:defRPr/>
          </a:pPr>
          <a:r>
            <a:rPr lang="sv-SE" sz="700" kern="1200" dirty="0">
              <a:solidFill>
                <a:srgbClr val="FFFFFF"/>
              </a:solidFill>
              <a:latin typeface="Shape Sans" panose="00000500000000000000" pitchFamily="50" charset="0"/>
              <a:ea typeface="+mn-ea"/>
              <a:cs typeface="+mn-cs"/>
            </a:rPr>
            <a:t>2.6</a:t>
          </a:r>
          <a:endParaRPr lang="en-US" sz="800" kern="1200" dirty="0">
            <a:solidFill>
              <a:srgbClr val="FFFFFF"/>
            </a:solidFill>
            <a:latin typeface="Shape Sans" panose="00000500000000000000" pitchFamily="50" charset="0"/>
            <a:ea typeface="+mn-ea"/>
            <a:cs typeface="+mn-cs"/>
          </a:endParaRPr>
        </a:p>
      </cdr:txBody>
    </cdr:sp>
  </cdr:relSizeAnchor>
  <cdr:relSizeAnchor xmlns:cdr="http://schemas.openxmlformats.org/drawingml/2006/chartDrawing">
    <cdr:from>
      <cdr:x>0.06727</cdr:x>
      <cdr:y>0.146</cdr:y>
    </cdr:from>
    <cdr:to>
      <cdr:x>0.14169</cdr:x>
      <cdr:y>0.18664</cdr:y>
    </cdr:to>
    <cdr:sp macro="" textlink="">
      <cdr:nvSpPr>
        <cdr:cNvPr id="9" name="TextBox 33">
          <a:extLst xmlns:a="http://schemas.openxmlformats.org/drawingml/2006/main">
            <a:ext uri="{FF2B5EF4-FFF2-40B4-BE49-F238E27FC236}">
              <a16:creationId xmlns:a16="http://schemas.microsoft.com/office/drawing/2014/main" id="{F9086CCF-96D9-B8F6-ADDA-85AC213A4B26}"/>
            </a:ext>
          </a:extLst>
        </cdr:cNvPr>
        <cdr:cNvSpPr txBox="1"/>
      </cdr:nvSpPr>
      <cdr:spPr>
        <a:xfrm xmlns:a="http://schemas.openxmlformats.org/drawingml/2006/main">
          <a:off x="377901" y="386934"/>
          <a:ext cx="418045" cy="107722"/>
        </a:xfrm>
        <a:prstGeom xmlns:a="http://schemas.openxmlformats.org/drawingml/2006/main" prst="rect">
          <a:avLst/>
        </a:prstGeom>
        <a:noFill xmlns:a="http://schemas.openxmlformats.org/drawingml/2006/main"/>
      </cdr:spPr>
      <cdr:txBody>
        <a:bodyPr xmlns:a="http://schemas.openxmlformats.org/drawingml/2006/main" wrap="square" lIns="0" tIns="0" rIns="0" bIns="0"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defTabSz="685800">
            <a:buClrTx/>
            <a:defRPr/>
          </a:pPr>
          <a:r>
            <a:rPr lang="sv-SE" sz="700" kern="1200" dirty="0">
              <a:solidFill>
                <a:srgbClr val="FFFFFF"/>
              </a:solidFill>
              <a:latin typeface="Shape Sans" panose="00000500000000000000" pitchFamily="50" charset="0"/>
              <a:ea typeface="+mn-ea"/>
              <a:cs typeface="+mn-cs"/>
            </a:rPr>
            <a:t>2.6</a:t>
          </a:r>
          <a:endParaRPr lang="en-US" sz="700" kern="1200" dirty="0">
            <a:solidFill>
              <a:srgbClr val="FFFFFF"/>
            </a:solidFill>
            <a:latin typeface="Shape Sans" panose="00000500000000000000" pitchFamily="50" charset="0"/>
            <a:ea typeface="+mn-ea"/>
            <a:cs typeface="+mn-cs"/>
          </a:endParaRP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Platshållare fö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9F4DD9B-5673-8E45-B84C-719C1DAD04B6}" type="datetimeFigureOut">
              <a:rPr lang="en-GB" smtClean="0"/>
              <a:t>17/10/2023</a:t>
            </a:fld>
            <a:endParaRPr lang="en-GB"/>
          </a:p>
        </p:txBody>
      </p:sp>
      <p:sp>
        <p:nvSpPr>
          <p:cNvPr id="4" name="Platshållare för bildobjekt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Platshållare för anteckninga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6" name="Platshållare för sidfo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Platshållare för bild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9BE0236-4FFA-374A-8090-2822EB2D3FED}" type="slidenum">
              <a:rPr lang="en-GB" smtClean="0"/>
              <a:t>‹#›</a:t>
            </a:fld>
            <a:endParaRPr lang="en-GB"/>
          </a:p>
        </p:txBody>
      </p:sp>
    </p:spTree>
    <p:extLst>
      <p:ext uri="{BB962C8B-B14F-4D97-AF65-F5344CB8AC3E}">
        <p14:creationId xmlns:p14="http://schemas.microsoft.com/office/powerpoint/2010/main" val="34229797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sz="1800" i="1">
                <a:effectLst/>
                <a:latin typeface="Arial" panose="020B0604020202020204" pitchFamily="34" charset="0"/>
                <a:ea typeface="Arial" panose="020B0604020202020204" pitchFamily="34" charset="0"/>
                <a:cs typeface="Times New Roman" panose="02020603050405020304" pitchFamily="18" charset="0"/>
              </a:rPr>
              <a:t>Vi bygger for et bedre samfunn. Dette er dypt forankret i Skanskas satsning både i Norge og internasjonalt. Dette forplikter oss til å bidra og drive utviklingen fremover for økte miljøkvaliteter og bærekraft i det bygde miljø, i tett samarbeid med kunder og samarbeidspartnere. Vår evne til å realisere prosjekter som bidrar på den viktige grønne reisen har gjort at vi i Skanska har posisjonert oss som en grønn utvikler og entreprenør og det skaper konkurransekraft for oss. </a:t>
            </a:r>
            <a:endParaRPr lang="nb-NO" sz="1800">
              <a:effectLst/>
              <a:latin typeface="Arial" panose="020B0604020202020204" pitchFamily="34" charset="0"/>
              <a:ea typeface="Arial" panose="020B0604020202020204" pitchFamily="34" charset="0"/>
              <a:cs typeface="Times New Roman" panose="02020603050405020304" pitchFamily="18" charset="0"/>
            </a:endParaRPr>
          </a:p>
          <a:p>
            <a:r>
              <a:rPr lang="nb-NO" sz="1800" i="1">
                <a:effectLst/>
                <a:latin typeface="Arial" panose="020B0604020202020204" pitchFamily="34" charset="0"/>
                <a:ea typeface="Arial" panose="020B0604020202020204" pitchFamily="34" charset="0"/>
                <a:cs typeface="Times New Roman" panose="02020603050405020304" pitchFamily="18" charset="0"/>
              </a:rPr>
              <a:t> </a:t>
            </a:r>
            <a:endParaRPr lang="nb-NO" sz="1800">
              <a:effectLst/>
              <a:latin typeface="Arial" panose="020B0604020202020204" pitchFamily="34" charset="0"/>
              <a:ea typeface="Arial" panose="020B0604020202020204" pitchFamily="34" charset="0"/>
              <a:cs typeface="Times New Roman" panose="02020603050405020304" pitchFamily="18" charset="0"/>
            </a:endParaRPr>
          </a:p>
          <a:p>
            <a:r>
              <a:rPr lang="nb-NO" sz="1800" i="1">
                <a:effectLst/>
                <a:latin typeface="Arial" panose="020B0604020202020204" pitchFamily="34" charset="0"/>
                <a:ea typeface="Arial" panose="020B0604020202020204" pitchFamily="34" charset="0"/>
                <a:cs typeface="Times New Roman" panose="02020603050405020304" pitchFamily="18" charset="0"/>
              </a:rPr>
              <a:t>Klimaendringene utgjør BAE-næringens største utfordring, som den gjør for alle deler av samfunnet. I tillegg ser vi at kampen om ressursene tiltar. Prisene på strøm, diesel og andre viktige innsatsfaktorer og råvarer, skyter i været, og gjør prosjektene dyrere. </a:t>
            </a:r>
            <a:endParaRPr lang="nb-NO" sz="1800">
              <a:effectLst/>
              <a:latin typeface="Arial" panose="020B0604020202020204" pitchFamily="34" charset="0"/>
              <a:ea typeface="Arial" panose="020B0604020202020204" pitchFamily="34" charset="0"/>
              <a:cs typeface="Times New Roman" panose="02020603050405020304" pitchFamily="18" charset="0"/>
            </a:endParaRPr>
          </a:p>
          <a:p>
            <a:r>
              <a:rPr lang="nb-NO" sz="1800" i="1">
                <a:effectLst/>
                <a:latin typeface="Arial" panose="020B0604020202020204" pitchFamily="34" charset="0"/>
                <a:ea typeface="Arial" panose="020B0604020202020204" pitchFamily="34" charset="0"/>
                <a:cs typeface="Times New Roman" panose="02020603050405020304" pitchFamily="18" charset="0"/>
              </a:rPr>
              <a:t> </a:t>
            </a:r>
            <a:endParaRPr lang="nb-NO" sz="1800">
              <a:effectLst/>
              <a:latin typeface="Arial" panose="020B0604020202020204" pitchFamily="34" charset="0"/>
              <a:ea typeface="Arial" panose="020B0604020202020204" pitchFamily="34" charset="0"/>
              <a:cs typeface="Times New Roman" panose="02020603050405020304" pitchFamily="18" charset="0"/>
            </a:endParaRPr>
          </a:p>
          <a:p>
            <a:r>
              <a:rPr lang="nb-NO" sz="1800" i="1">
                <a:effectLst/>
                <a:latin typeface="Arial" panose="020B0604020202020204" pitchFamily="34" charset="0"/>
                <a:ea typeface="Arial" panose="020B0604020202020204" pitchFamily="34" charset="0"/>
                <a:cs typeface="Times New Roman" panose="02020603050405020304" pitchFamily="18" charset="0"/>
              </a:rPr>
              <a:t>Klimaendringene fører med seg økende krav til omstilling og innovasjon og vi i Skanska har rustet oss for å være en del av løsningen på disse samfunnsutfordringene. Vi har </a:t>
            </a:r>
            <a:r>
              <a:rPr lang="nb-NO" sz="1800" i="1" err="1">
                <a:effectLst/>
                <a:latin typeface="Arial" panose="020B0604020202020204" pitchFamily="34" charset="0"/>
                <a:ea typeface="Arial" panose="020B0604020202020204" pitchFamily="34" charset="0"/>
                <a:cs typeface="Times New Roman" panose="02020603050405020304" pitchFamily="18" charset="0"/>
              </a:rPr>
              <a:t>har</a:t>
            </a:r>
            <a:r>
              <a:rPr lang="nb-NO" sz="1800" i="1">
                <a:effectLst/>
                <a:latin typeface="Arial" panose="020B0604020202020204" pitchFamily="34" charset="0"/>
                <a:ea typeface="Arial" panose="020B0604020202020204" pitchFamily="34" charset="0"/>
                <a:cs typeface="Times New Roman" panose="02020603050405020304" pitchFamily="18" charset="0"/>
              </a:rPr>
              <a:t> vilje, evne og ressurser til endring og nyskapning. </a:t>
            </a:r>
            <a:endParaRPr lang="nb-NO" sz="1800">
              <a:effectLst/>
              <a:latin typeface="Arial" panose="020B0604020202020204" pitchFamily="34" charset="0"/>
              <a:ea typeface="Arial" panose="020B0604020202020204" pitchFamily="34" charset="0"/>
              <a:cs typeface="Times New Roman" panose="02020603050405020304" pitchFamily="18" charset="0"/>
            </a:endParaRPr>
          </a:p>
          <a:p>
            <a:r>
              <a:rPr lang="nb-NO" sz="1800" i="1">
                <a:effectLst/>
                <a:latin typeface="Arial" panose="020B0604020202020204" pitchFamily="34" charset="0"/>
                <a:ea typeface="Arial" panose="020B0604020202020204" pitchFamily="34" charset="0"/>
                <a:cs typeface="Times New Roman" panose="02020603050405020304" pitchFamily="18" charset="0"/>
              </a:rPr>
              <a:t> </a:t>
            </a:r>
            <a:endParaRPr lang="nb-NO" sz="1800">
              <a:effectLst/>
              <a:latin typeface="Arial" panose="020B0604020202020204" pitchFamily="34" charset="0"/>
              <a:ea typeface="Arial" panose="020B0604020202020204" pitchFamily="34" charset="0"/>
              <a:cs typeface="Times New Roman" panose="02020603050405020304" pitchFamily="18" charset="0"/>
            </a:endParaRPr>
          </a:p>
          <a:p>
            <a:endParaRPr lang="nb-NO"/>
          </a:p>
        </p:txBody>
      </p:sp>
      <p:sp>
        <p:nvSpPr>
          <p:cNvPr id="4" name="Slide Number Placeholder 3"/>
          <p:cNvSpPr>
            <a:spLocks noGrp="1"/>
          </p:cNvSpPr>
          <p:nvPr>
            <p:ph type="sldNum" sz="quarter" idx="5"/>
          </p:nvPr>
        </p:nvSpPr>
        <p:spPr/>
        <p:txBody>
          <a:bodyPr/>
          <a:lstStyle/>
          <a:p>
            <a:fld id="{F9BE0236-4FFA-374A-8090-2822EB2D3FED}" type="slidenum">
              <a:rPr lang="en-GB" smtClean="0"/>
              <a:t>1</a:t>
            </a:fld>
            <a:endParaRPr lang="en-GB"/>
          </a:p>
        </p:txBody>
      </p:sp>
    </p:spTree>
    <p:extLst>
      <p:ext uri="{BB962C8B-B14F-4D97-AF65-F5344CB8AC3E}">
        <p14:creationId xmlns:p14="http://schemas.microsoft.com/office/powerpoint/2010/main" val="26369922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sz="1800" i="1">
                <a:effectLst/>
                <a:latin typeface="Arial" panose="020B0604020202020204" pitchFamily="34" charset="0"/>
                <a:ea typeface="Arial" panose="020B0604020202020204" pitchFamily="34" charset="0"/>
                <a:cs typeface="Times New Roman" panose="02020603050405020304" pitchFamily="18" charset="0"/>
              </a:rPr>
              <a:t>Vi vet at materialbruken i våre prosjekter bidrar til et betydelig klimagassutslipp knyttet til produksjon og transport av byggematerialer. I tillegg representerer materialene også et stort forbruk av begrensede naturressurser. De indirekte utslippene fra materialbruk i våe prosjekter utgjør ca. 70 % av våre utslipp.  Vårt mål er derfor å begrense bruken av materialressurser, samt å benytte materialer med minst mulig klimafotavtrykk.</a:t>
            </a:r>
            <a:endParaRPr lang="nb-NO" sz="1800">
              <a:effectLst/>
              <a:latin typeface="Arial" panose="020B0604020202020204" pitchFamily="34" charset="0"/>
              <a:ea typeface="Arial" panose="020B0604020202020204" pitchFamily="34" charset="0"/>
              <a:cs typeface="Times New Roman" panose="02020603050405020304" pitchFamily="18" charset="0"/>
            </a:endParaRPr>
          </a:p>
          <a:p>
            <a:r>
              <a:rPr lang="nb-NO" sz="1800" i="1">
                <a:effectLst/>
                <a:latin typeface="Arial" panose="020B0604020202020204" pitchFamily="34" charset="0"/>
                <a:ea typeface="Arial" panose="020B0604020202020204" pitchFamily="34" charset="0"/>
                <a:cs typeface="Times New Roman" panose="02020603050405020304" pitchFamily="18" charset="0"/>
              </a:rPr>
              <a:t> </a:t>
            </a:r>
            <a:endParaRPr lang="nb-NO" sz="1800">
              <a:effectLst/>
              <a:latin typeface="Arial" panose="020B0604020202020204" pitchFamily="34" charset="0"/>
              <a:ea typeface="Arial" panose="020B0604020202020204" pitchFamily="34" charset="0"/>
              <a:cs typeface="Times New Roman" panose="02020603050405020304" pitchFamily="18" charset="0"/>
            </a:endParaRPr>
          </a:p>
          <a:p>
            <a:r>
              <a:rPr lang="nb-NO" sz="1800" i="1">
                <a:effectLst/>
                <a:latin typeface="Arial" panose="020B0604020202020204" pitchFamily="34" charset="0"/>
                <a:ea typeface="Arial" panose="020B0604020202020204" pitchFamily="34" charset="0"/>
                <a:cs typeface="Times New Roman" panose="02020603050405020304" pitchFamily="18" charset="0"/>
              </a:rPr>
              <a:t>Stål og betong er de største utslippskildene, men vi måler også utslippene fra andre materialer som isolasjon, trevirke og gips.  Betongmiljøet i Skanska har i mange år jobbet tett med leverandører, forskningsinstitutter og akademia for å utvikle lavkarbonbetong. Skanska har vært aktiv i utarbeidelse av standard for lavkarbonbetong, og i dag benytter anleggsprosjektene lavkarbonbetong i ca. 80 % av konstruksjonsbetongen, i bygg er tallet ca. 50 %. Organisasjonen har også i dag pågående flere initiativ for å teste ut nye type lavkarbonmaterialer, </a:t>
            </a:r>
            <a:r>
              <a:rPr lang="nb-NO" sz="1800" i="1" err="1">
                <a:effectLst/>
                <a:latin typeface="Arial" panose="020B0604020202020204" pitchFamily="34" charset="0"/>
                <a:ea typeface="Arial" panose="020B0604020202020204" pitchFamily="34" charset="0"/>
                <a:cs typeface="Times New Roman" panose="02020603050405020304" pitchFamily="18" charset="0"/>
              </a:rPr>
              <a:t>f.eks</a:t>
            </a:r>
            <a:r>
              <a:rPr lang="nb-NO" sz="1800" i="1">
                <a:effectLst/>
                <a:latin typeface="Arial" panose="020B0604020202020204" pitchFamily="34" charset="0"/>
                <a:ea typeface="Arial" panose="020B0604020202020204" pitchFamily="34" charset="0"/>
                <a:cs typeface="Times New Roman" panose="02020603050405020304" pitchFamily="18" charset="0"/>
              </a:rPr>
              <a:t> lavtemperaturasfalt og </a:t>
            </a:r>
            <a:r>
              <a:rPr lang="nb-NO" sz="1800" i="1" err="1">
                <a:effectLst/>
                <a:latin typeface="Arial" panose="020B0604020202020204" pitchFamily="34" charset="0"/>
                <a:ea typeface="Arial" panose="020B0604020202020204" pitchFamily="34" charset="0"/>
                <a:cs typeface="Times New Roman" panose="02020603050405020304" pitchFamily="18" charset="0"/>
              </a:rPr>
              <a:t>Foamrox</a:t>
            </a:r>
            <a:r>
              <a:rPr lang="nb-NO" sz="1800" i="1">
                <a:effectLst/>
                <a:latin typeface="Arial" panose="020B0604020202020204" pitchFamily="34" charset="0"/>
                <a:ea typeface="Arial" panose="020B0604020202020204" pitchFamily="34" charset="0"/>
                <a:cs typeface="Times New Roman" panose="02020603050405020304" pitchFamily="18" charset="0"/>
              </a:rPr>
              <a:t>.</a:t>
            </a:r>
            <a:endParaRPr lang="nb-NO" sz="1800">
              <a:effectLst/>
              <a:latin typeface="Arial" panose="020B0604020202020204" pitchFamily="34" charset="0"/>
              <a:ea typeface="Arial" panose="020B0604020202020204" pitchFamily="34" charset="0"/>
              <a:cs typeface="Times New Roman" panose="02020603050405020304" pitchFamily="18" charset="0"/>
            </a:endParaRPr>
          </a:p>
          <a:p>
            <a:endParaRPr lang="nb-NO"/>
          </a:p>
        </p:txBody>
      </p:sp>
      <p:sp>
        <p:nvSpPr>
          <p:cNvPr id="4" name="Slide Number Placeholder 3"/>
          <p:cNvSpPr>
            <a:spLocks noGrp="1"/>
          </p:cNvSpPr>
          <p:nvPr>
            <p:ph type="sldNum" sz="quarter" idx="5"/>
          </p:nvPr>
        </p:nvSpPr>
        <p:spPr/>
        <p:txBody>
          <a:bodyPr/>
          <a:lstStyle/>
          <a:p>
            <a:fld id="{F9BE0236-4FFA-374A-8090-2822EB2D3FED}" type="slidenum">
              <a:rPr lang="en-GB" smtClean="0"/>
              <a:t>10</a:t>
            </a:fld>
            <a:endParaRPr lang="en-GB"/>
          </a:p>
        </p:txBody>
      </p:sp>
    </p:spTree>
    <p:extLst>
      <p:ext uri="{BB962C8B-B14F-4D97-AF65-F5344CB8AC3E}">
        <p14:creationId xmlns:p14="http://schemas.microsoft.com/office/powerpoint/2010/main" val="6674270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sz="1800" i="1">
                <a:effectLst/>
                <a:latin typeface="Arial" panose="020B0604020202020204" pitchFamily="34" charset="0"/>
                <a:ea typeface="Arial" panose="020B0604020202020204" pitchFamily="34" charset="0"/>
                <a:cs typeface="Times New Roman" panose="02020603050405020304" pitchFamily="18" charset="0"/>
              </a:rPr>
              <a:t>Ubebygde arealer kan inneholde store lagre av karbon. Utbygging kan derfor medføre betydelige klimagassutslipp og redusere potensielt framtidig opptak av karbon på arealet. Størst utslipp er knyttet til utbygging på myr samt på høybonitet skog.. Disse utslippene blir i økende grad inkludert i klimabudsjetter og -regnskap for </a:t>
            </a:r>
            <a:r>
              <a:rPr lang="nb-NO" sz="1800" i="1" err="1">
                <a:effectLst/>
                <a:latin typeface="Arial" panose="020B0604020202020204" pitchFamily="34" charset="0"/>
                <a:ea typeface="Arial" panose="020B0604020202020204" pitchFamily="34" charset="0"/>
                <a:cs typeface="Times New Roman" panose="02020603050405020304" pitchFamily="18" charset="0"/>
              </a:rPr>
              <a:t>bl.a</a:t>
            </a:r>
            <a:r>
              <a:rPr lang="nb-NO" sz="1800" i="1">
                <a:effectLst/>
                <a:latin typeface="Arial" panose="020B0604020202020204" pitchFamily="34" charset="0"/>
                <a:ea typeface="Arial" panose="020B0604020202020204" pitchFamily="34" charset="0"/>
                <a:cs typeface="Times New Roman" panose="02020603050405020304" pitchFamily="18" charset="0"/>
              </a:rPr>
              <a:t> veibygging. Arealbruksendringer står for ca. 12 prosent av de globale klimagassutslippene.</a:t>
            </a:r>
            <a:endParaRPr lang="nb-NO" sz="1800">
              <a:effectLst/>
              <a:latin typeface="Arial" panose="020B0604020202020204" pitchFamily="34" charset="0"/>
              <a:ea typeface="Arial" panose="020B0604020202020204" pitchFamily="34" charset="0"/>
              <a:cs typeface="Times New Roman" panose="02020603050405020304" pitchFamily="18" charset="0"/>
            </a:endParaRPr>
          </a:p>
          <a:p>
            <a:r>
              <a:rPr lang="nb-NO" sz="1800" i="1">
                <a:effectLst/>
                <a:latin typeface="Arial" panose="020B0604020202020204" pitchFamily="34" charset="0"/>
                <a:ea typeface="Arial" panose="020B0604020202020204" pitchFamily="34" charset="0"/>
                <a:cs typeface="Times New Roman" panose="02020603050405020304" pitchFamily="18" charset="0"/>
              </a:rPr>
              <a:t>I 2019 kom de første føringene knyttet til temaet, nasjonale forventninger til regional og kommunal planlegging- «ved reduksjon av klimagassutslipp skal dette inkludere arealbruksendringer. Så vi forventer at vi vil møte flere og større krav til dette fremover.</a:t>
            </a:r>
            <a:endParaRPr lang="nb-NO" sz="1800">
              <a:effectLst/>
              <a:latin typeface="Arial" panose="020B0604020202020204" pitchFamily="34" charset="0"/>
              <a:ea typeface="Arial" panose="020B0604020202020204" pitchFamily="34" charset="0"/>
              <a:cs typeface="Times New Roman" panose="02020603050405020304" pitchFamily="18" charset="0"/>
            </a:endParaRPr>
          </a:p>
          <a:p>
            <a:endParaRPr lang="nb-NO"/>
          </a:p>
        </p:txBody>
      </p:sp>
      <p:sp>
        <p:nvSpPr>
          <p:cNvPr id="4" name="Slide Number Placeholder 3"/>
          <p:cNvSpPr>
            <a:spLocks noGrp="1"/>
          </p:cNvSpPr>
          <p:nvPr>
            <p:ph type="sldNum" sz="quarter" idx="5"/>
          </p:nvPr>
        </p:nvSpPr>
        <p:spPr/>
        <p:txBody>
          <a:bodyPr/>
          <a:lstStyle/>
          <a:p>
            <a:fld id="{F9BE0236-4FFA-374A-8090-2822EB2D3FED}" type="slidenum">
              <a:rPr lang="en-GB" smtClean="0"/>
              <a:t>11</a:t>
            </a:fld>
            <a:endParaRPr lang="en-GB"/>
          </a:p>
        </p:txBody>
      </p:sp>
    </p:spTree>
    <p:extLst>
      <p:ext uri="{BB962C8B-B14F-4D97-AF65-F5344CB8AC3E}">
        <p14:creationId xmlns:p14="http://schemas.microsoft.com/office/powerpoint/2010/main" val="73069246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sz="1800" i="1">
                <a:effectLst/>
                <a:latin typeface="Arial" panose="020B0604020202020204" pitchFamily="34" charset="0"/>
                <a:ea typeface="Arial" panose="020B0604020202020204" pitchFamily="34" charset="0"/>
                <a:cs typeface="Times New Roman" panose="02020603050405020304" pitchFamily="18" charset="0"/>
              </a:rPr>
              <a:t>I tillegg til egen innsats ser vi at skal vi lykkes vil strategiske partnerskap og samarbeid bli avgjørende.  Sammen med partnere skal vi finne nye innovative løsninger, materialer, metoder og prosesser for å ytterligere ta reduksjoner, samtidig som vi skaper verdi for våre kunder, samarbeidspartnere, samfunnet og Skanska. Noe av det viktigste for fremtidens </a:t>
            </a:r>
            <a:r>
              <a:rPr lang="nb-NO" sz="1800" i="1" err="1">
                <a:effectLst/>
                <a:latin typeface="Arial" panose="020B0604020202020204" pitchFamily="34" charset="0"/>
                <a:ea typeface="Arial" panose="020B0604020202020204" pitchFamily="34" charset="0"/>
                <a:cs typeface="Times New Roman" panose="02020603050405020304" pitchFamily="18" charset="0"/>
              </a:rPr>
              <a:t>bærekraftsløsninger</a:t>
            </a:r>
            <a:r>
              <a:rPr lang="nb-NO" sz="1800" i="1">
                <a:effectLst/>
                <a:latin typeface="Arial" panose="020B0604020202020204" pitchFamily="34" charset="0"/>
                <a:ea typeface="Arial" panose="020B0604020202020204" pitchFamily="34" charset="0"/>
                <a:cs typeface="Times New Roman" panose="02020603050405020304" pitchFamily="18" charset="0"/>
              </a:rPr>
              <a:t> handler om innovasjon, forskning og utvikling. </a:t>
            </a: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BE14F53-2F23-4441-9A96-FD14D0840CC2}" type="slidenum">
              <a:rPr kumimoji="0" lang="en-GB" sz="21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21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5271091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i="1">
                <a:latin typeface="Shape Sans" panose="00000500000000000000" pitchFamily="50" charset="0"/>
              </a:rPr>
              <a:t>I dag har Skanska en imponerende innovasjon, forskning -og utviklingsportefølje. I dag har vi løsninger, metoder og prosesser som tar oss et godt stykke på vei mot et klimanøytralt Skanska, men vi har ikke alle løsningene. Økt innovasjonstakt og samarbeid i verdikjeden blir avgjørende for at vi skal lykkes. </a:t>
            </a:r>
            <a:r>
              <a:rPr lang="nb-NO"/>
              <a:t> </a:t>
            </a:r>
          </a:p>
        </p:txBody>
      </p:sp>
      <p:sp>
        <p:nvSpPr>
          <p:cNvPr id="4" name="Slide Number Placeholder 3"/>
          <p:cNvSpPr>
            <a:spLocks noGrp="1"/>
          </p:cNvSpPr>
          <p:nvPr>
            <p:ph type="sldNum" sz="quarter" idx="5"/>
          </p:nvPr>
        </p:nvSpPr>
        <p:spPr/>
        <p:txBody>
          <a:bodyPr/>
          <a:lstStyle/>
          <a:p>
            <a:fld id="{F9BE0236-4FFA-374A-8090-2822EB2D3FED}" type="slidenum">
              <a:rPr lang="en-GB" smtClean="0"/>
              <a:t>13</a:t>
            </a:fld>
            <a:endParaRPr lang="en-GB"/>
          </a:p>
        </p:txBody>
      </p:sp>
    </p:spTree>
    <p:extLst>
      <p:ext uri="{BB962C8B-B14F-4D97-AF65-F5344CB8AC3E}">
        <p14:creationId xmlns:p14="http://schemas.microsoft.com/office/powerpoint/2010/main" val="18714030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i="1">
                <a:effectLst/>
                <a:latin typeface="Arial" panose="020B0604020202020204" pitchFamily="34" charset="0"/>
                <a:ea typeface="Arial" panose="020B0604020202020204" pitchFamily="34" charset="0"/>
                <a:cs typeface="Times New Roman" panose="02020603050405020304" pitchFamily="18" charset="0"/>
              </a:rPr>
              <a:t>Vår klimaambisjon – vi reduserer våre utslipp med 70 % innen 2030 og skal være klimanøytral i 2045. En slik målsetning blir bare et ønske hvis det ikke fins en god plan. En god plan har vi her i Skanska – vi kaller det klimaveikartet. Klimaveikartet har vært et viktig underlag for planene som er lagt i de ulike forretningsområdene i forbindelse med strategiarbeidet vårt, og klimaveikartet er et viktig underlag når vi utarbeider opplæringsmateriell og videreutvikler beste praksis i SGVD, det er også et viktig underlag når vi prioriterer hvilke innovasjon, utvikling og forskningsprosjekter vi skal initiere eller involvere oss i.</a:t>
            </a:r>
            <a:endParaRPr lang="nb-NO" sz="1200">
              <a:effectLst/>
              <a:latin typeface="Arial" panose="020B0604020202020204" pitchFamily="34" charset="0"/>
              <a:ea typeface="Arial" panose="020B0604020202020204" pitchFamily="34" charset="0"/>
              <a:cs typeface="Times New Roman" panose="02020603050405020304" pitchFamily="18" charset="0"/>
            </a:endParaRPr>
          </a:p>
          <a:p>
            <a:endParaRPr lang="nb-NO"/>
          </a:p>
        </p:txBody>
      </p:sp>
      <p:sp>
        <p:nvSpPr>
          <p:cNvPr id="4" name="Slide Number Placeholder 3"/>
          <p:cNvSpPr>
            <a:spLocks noGrp="1"/>
          </p:cNvSpPr>
          <p:nvPr>
            <p:ph type="sldNum" sz="quarter" idx="5"/>
          </p:nvPr>
        </p:nvSpPr>
        <p:spPr/>
        <p:txBody>
          <a:bodyPr/>
          <a:lstStyle/>
          <a:p>
            <a:fld id="{F9BE0236-4FFA-374A-8090-2822EB2D3FED}" type="slidenum">
              <a:rPr lang="en-GB" smtClean="0"/>
              <a:t>2</a:t>
            </a:fld>
            <a:endParaRPr lang="en-GB"/>
          </a:p>
        </p:txBody>
      </p:sp>
    </p:spTree>
    <p:extLst>
      <p:ext uri="{BB962C8B-B14F-4D97-AF65-F5344CB8AC3E}">
        <p14:creationId xmlns:p14="http://schemas.microsoft.com/office/powerpoint/2010/main" val="5207335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i="1"/>
              <a:t>Skanska måler sine klimagassutslipp i henhold til GHG (green house gas) protokollen. Det er en internasjonal standard bedrifter bruker for å beregning av klimagassutslipp. Målingene deles inn i tre ulike «</a:t>
            </a:r>
            <a:r>
              <a:rPr lang="nb-NO" i="1" err="1"/>
              <a:t>scope</a:t>
            </a:r>
            <a:r>
              <a:rPr lang="nb-NO" i="1"/>
              <a:t>» som beskriver hvilke utslipp som omfattes og hvor i verdikjeden utslippene skjer.</a:t>
            </a:r>
          </a:p>
        </p:txBody>
      </p:sp>
      <p:sp>
        <p:nvSpPr>
          <p:cNvPr id="4" name="Slide Number Placeholder 3"/>
          <p:cNvSpPr>
            <a:spLocks noGrp="1"/>
          </p:cNvSpPr>
          <p:nvPr>
            <p:ph type="sldNum" sz="quarter" idx="5"/>
          </p:nvPr>
        </p:nvSpPr>
        <p:spPr/>
        <p:txBody>
          <a:bodyPr/>
          <a:lstStyle/>
          <a:p>
            <a:fld id="{F9BE0236-4FFA-374A-8090-2822EB2D3FED}" type="slidenum">
              <a:rPr lang="en-GB" smtClean="0"/>
              <a:t>3</a:t>
            </a:fld>
            <a:endParaRPr lang="en-GB"/>
          </a:p>
        </p:txBody>
      </p:sp>
    </p:spTree>
    <p:extLst>
      <p:ext uri="{BB962C8B-B14F-4D97-AF65-F5344CB8AC3E}">
        <p14:creationId xmlns:p14="http://schemas.microsoft.com/office/powerpoint/2010/main" val="39273442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i="1" dirty="0"/>
              <a:t>I 2022 var ca. 30 % av utslippene fra Scope 1 (hovedsakelig fra våre maskiner og biler), ca. 0,4 % fra Scope 2 (energibruk i gjennomføring av våre prosjekter) og ca. 70 % fra Scope 3 (materialer vi tar inn i våre prosjekter, størst utslipp fra betong og stål).</a:t>
            </a:r>
          </a:p>
          <a:p>
            <a:pPr marL="0" marR="0" lvl="0" indent="0" algn="l" defTabSz="914400" rtl="0" eaLnBrk="1" fontAlgn="auto" latinLnBrk="0" hangingPunct="1">
              <a:lnSpc>
                <a:spcPct val="100000"/>
              </a:lnSpc>
              <a:spcBef>
                <a:spcPts val="0"/>
              </a:spcBef>
              <a:spcAft>
                <a:spcPts val="0"/>
              </a:spcAft>
              <a:buClrTx/>
              <a:buSzTx/>
              <a:buFontTx/>
              <a:buNone/>
              <a:tabLst/>
              <a:defRPr/>
            </a:pPr>
            <a:endParaRPr lang="nb-NO" dirty="0"/>
          </a:p>
          <a:p>
            <a:endParaRPr lang="nb-NO" dirty="0"/>
          </a:p>
        </p:txBody>
      </p:sp>
      <p:sp>
        <p:nvSpPr>
          <p:cNvPr id="4" name="Plassholder for lysbildenummer 3"/>
          <p:cNvSpPr>
            <a:spLocks noGrp="1"/>
          </p:cNvSpPr>
          <p:nvPr>
            <p:ph type="sldNum" sz="quarter" idx="5"/>
          </p:nvPr>
        </p:nvSpPr>
        <p:spPr/>
        <p:txBody>
          <a:bodyPr/>
          <a:lstStyle/>
          <a:p>
            <a:fld id="{F9BE0236-4FFA-374A-8090-2822EB2D3FED}" type="slidenum">
              <a:rPr lang="en-GB" smtClean="0"/>
              <a:t>4</a:t>
            </a:fld>
            <a:endParaRPr lang="en-GB"/>
          </a:p>
        </p:txBody>
      </p:sp>
    </p:spTree>
    <p:extLst>
      <p:ext uri="{BB962C8B-B14F-4D97-AF65-F5344CB8AC3E}">
        <p14:creationId xmlns:p14="http://schemas.microsoft.com/office/powerpoint/2010/main" val="24626586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i="1" dirty="0">
                <a:latin typeface="Arial" panose="020B0604020202020204" pitchFamily="34" charset="0"/>
                <a:cs typeface="Arial" panose="020B0604020202020204" pitchFamily="34" charset="0"/>
              </a:rPr>
              <a:t>Vår referanseår er satt til 2015. Siden 2015 har Skanska Globalt redusert sine utslipp med 57%. Vår målsetning for 2030 er «Science </a:t>
            </a:r>
            <a:r>
              <a:rPr lang="nb-NO" i="1" dirty="0" err="1">
                <a:latin typeface="Arial" panose="020B0604020202020204" pitchFamily="34" charset="0"/>
                <a:cs typeface="Arial" panose="020B0604020202020204" pitchFamily="34" charset="0"/>
              </a:rPr>
              <a:t>Based</a:t>
            </a:r>
            <a:r>
              <a:rPr lang="nb-NO" i="1" dirty="0">
                <a:latin typeface="Arial" panose="020B0604020202020204" pitchFamily="34" charset="0"/>
                <a:cs typeface="Arial" panose="020B0604020202020204" pitchFamily="34" charset="0"/>
              </a:rPr>
              <a:t> Target» godkjent. </a:t>
            </a:r>
            <a:r>
              <a:rPr lang="nb-NO" b="0" i="1" dirty="0">
                <a:solidFill>
                  <a:srgbClr val="000000"/>
                </a:solidFill>
                <a:effectLst/>
                <a:latin typeface="Arial" panose="020B0604020202020204" pitchFamily="34" charset="0"/>
                <a:cs typeface="Arial" panose="020B0604020202020204" pitchFamily="34" charset="0"/>
              </a:rPr>
              <a:t>Anerkjennelsen ble gjort av </a:t>
            </a:r>
            <a:r>
              <a:rPr lang="nb-NO" b="0" i="1" dirty="0" err="1">
                <a:solidFill>
                  <a:srgbClr val="000000"/>
                </a:solidFill>
                <a:effectLst/>
                <a:latin typeface="Arial" panose="020B0604020202020204" pitchFamily="34" charset="0"/>
                <a:cs typeface="Arial" panose="020B0604020202020204" pitchFamily="34" charset="0"/>
              </a:rPr>
              <a:t>Scienced-Based</a:t>
            </a:r>
            <a:r>
              <a:rPr lang="nb-NO" b="0" i="1" dirty="0">
                <a:solidFill>
                  <a:srgbClr val="000000"/>
                </a:solidFill>
                <a:effectLst/>
                <a:latin typeface="Arial" panose="020B0604020202020204" pitchFamily="34" charset="0"/>
                <a:cs typeface="Arial" panose="020B0604020202020204" pitchFamily="34" charset="0"/>
              </a:rPr>
              <a:t> Target Initiative, et samarbeid mellom CDP, FNs Global Compact, World Resources </a:t>
            </a:r>
            <a:r>
              <a:rPr lang="nb-NO" b="0" i="1" dirty="0" err="1">
                <a:solidFill>
                  <a:srgbClr val="000000"/>
                </a:solidFill>
                <a:effectLst/>
                <a:latin typeface="Arial" panose="020B0604020202020204" pitchFamily="34" charset="0"/>
                <a:cs typeface="Arial" panose="020B0604020202020204" pitchFamily="34" charset="0"/>
              </a:rPr>
              <a:t>Institute</a:t>
            </a:r>
            <a:r>
              <a:rPr lang="nb-NO" b="0" i="1" dirty="0">
                <a:solidFill>
                  <a:srgbClr val="000000"/>
                </a:solidFill>
                <a:effectLst/>
                <a:latin typeface="Arial" panose="020B0604020202020204" pitchFamily="34" charset="0"/>
                <a:cs typeface="Arial" panose="020B0604020202020204" pitchFamily="34" charset="0"/>
              </a:rPr>
              <a:t> og World </a:t>
            </a:r>
            <a:r>
              <a:rPr lang="nb-NO" b="0" i="1" dirty="0" err="1">
                <a:solidFill>
                  <a:srgbClr val="000000"/>
                </a:solidFill>
                <a:effectLst/>
                <a:latin typeface="Arial" panose="020B0604020202020204" pitchFamily="34" charset="0"/>
                <a:cs typeface="Arial" panose="020B0604020202020204" pitchFamily="34" charset="0"/>
              </a:rPr>
              <a:t>Wide</a:t>
            </a:r>
            <a:r>
              <a:rPr lang="nb-NO" b="0" i="1" dirty="0">
                <a:solidFill>
                  <a:srgbClr val="000000"/>
                </a:solidFill>
                <a:effectLst/>
                <a:latin typeface="Arial" panose="020B0604020202020204" pitchFamily="34" charset="0"/>
                <a:cs typeface="Arial" panose="020B0604020202020204" pitchFamily="34" charset="0"/>
              </a:rPr>
              <a:t> Fund for Nature. Det betyr at selskapets mål både er i tråd med Parisavtalen, som innebærer å kutte karbonutslipp og begrense global oppvarming til 1,5°C, og med den nyeste klimavitenskapen. Prosessen for å bli godkjent av Science-</a:t>
            </a:r>
            <a:r>
              <a:rPr lang="nb-NO" b="0" i="1" dirty="0" err="1">
                <a:solidFill>
                  <a:srgbClr val="000000"/>
                </a:solidFill>
                <a:effectLst/>
                <a:latin typeface="Arial" panose="020B0604020202020204" pitchFamily="34" charset="0"/>
                <a:cs typeface="Arial" panose="020B0604020202020204" pitchFamily="34" charset="0"/>
              </a:rPr>
              <a:t>Based</a:t>
            </a:r>
            <a:r>
              <a:rPr lang="nb-NO" b="0" i="1" dirty="0">
                <a:solidFill>
                  <a:srgbClr val="000000"/>
                </a:solidFill>
                <a:effectLst/>
                <a:latin typeface="Arial" panose="020B0604020202020204" pitchFamily="34" charset="0"/>
                <a:cs typeface="Arial" panose="020B0604020202020204" pitchFamily="34" charset="0"/>
              </a:rPr>
              <a:t> Target Initiative er grundig og omfattende, der målene gjennomgås nøye.</a:t>
            </a:r>
          </a:p>
          <a:p>
            <a:endParaRPr lang="en-US"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F9BE0236-4FFA-374A-8090-2822EB2D3FED}" type="slidenum">
              <a:rPr kumimoji="0" lang="en-US" sz="1400" b="0" i="0" u="none" strike="noStrike" kern="0" cap="none" spc="0" normalizeH="0" baseline="0" noProof="0" smtClean="0">
                <a:ln>
                  <a:noFill/>
                </a:ln>
                <a:solidFill>
                  <a:srgbClr val="000000"/>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5</a:t>
            </a:fld>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3342937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i="1">
                <a:effectLst/>
                <a:latin typeface="Arial" panose="020B0604020202020204" pitchFamily="34" charset="0"/>
                <a:ea typeface="Arial" panose="020B0604020202020204" pitchFamily="34" charset="0"/>
                <a:cs typeface="Times New Roman" panose="02020603050405020304" pitchFamily="18" charset="0"/>
              </a:rPr>
              <a:t>En slik målsetning blir bare et ønske hvis det ikke fins en god plan. En god plan har vi her i Skanska – vi kaller det klimaveikartet. Klimaveikartet har vært et viktig underlag for planene som er lagt i de ulike forretningsområdene i forbindelse med strategiarbeidet vårt, og klimaveikartet er et viktig underlag når vi utarbeider opplæringsmateriell og videreutvikler beste praksis i SGVD, det er også et viktig underlag når vi prioriterer hvilke innovasjon, utvikling og forskningsprosjekter vi skal initiere eller involvere oss i.</a:t>
            </a:r>
            <a:endParaRPr lang="nb-NO" sz="1200">
              <a:effectLst/>
              <a:latin typeface="Arial" panose="020B0604020202020204" pitchFamily="34" charset="0"/>
              <a:ea typeface="Arial" panose="020B0604020202020204" pitchFamily="34" charset="0"/>
              <a:cs typeface="Times New Roman" panose="02020603050405020304" pitchFamily="18" charset="0"/>
            </a:endParaRPr>
          </a:p>
          <a:p>
            <a:endParaRPr lang="nb-NO"/>
          </a:p>
        </p:txBody>
      </p:sp>
      <p:sp>
        <p:nvSpPr>
          <p:cNvPr id="4" name="Slide Number Placeholder 3"/>
          <p:cNvSpPr>
            <a:spLocks noGrp="1"/>
          </p:cNvSpPr>
          <p:nvPr>
            <p:ph type="sldNum" sz="quarter" idx="5"/>
          </p:nvPr>
        </p:nvSpPr>
        <p:spPr/>
        <p:txBody>
          <a:bodyPr/>
          <a:lstStyle/>
          <a:p>
            <a:fld id="{F9BE0236-4FFA-374A-8090-2822EB2D3FED}" type="slidenum">
              <a:rPr lang="en-GB" smtClean="0"/>
              <a:t>6</a:t>
            </a:fld>
            <a:endParaRPr lang="en-GB"/>
          </a:p>
        </p:txBody>
      </p:sp>
    </p:spTree>
    <p:extLst>
      <p:ext uri="{BB962C8B-B14F-4D97-AF65-F5344CB8AC3E}">
        <p14:creationId xmlns:p14="http://schemas.microsoft.com/office/powerpoint/2010/main" val="25306274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sz="1800" i="1">
                <a:effectLst/>
                <a:latin typeface="Arial" panose="020B0604020202020204" pitchFamily="34" charset="0"/>
                <a:ea typeface="Arial" panose="020B0604020202020204" pitchFamily="34" charset="0"/>
                <a:cs typeface="Times New Roman" panose="02020603050405020304" pitchFamily="18" charset="0"/>
              </a:rPr>
              <a:t>Utslippene fra bygge- og anleggsvirksomheten nasjonalt tilsvarer rundt 4-5 prosent av klimagassutslippene fra transportsektoren i Norge. Satsing på utslippsfrie maskiner og transport er derfor et viktig klima- og miljøtiltak for bransjen vår.</a:t>
            </a:r>
            <a:endParaRPr lang="nb-NO" sz="1800">
              <a:effectLst/>
              <a:latin typeface="Arial" panose="020B0604020202020204" pitchFamily="34" charset="0"/>
              <a:ea typeface="Arial" panose="020B0604020202020204" pitchFamily="34" charset="0"/>
              <a:cs typeface="Times New Roman" panose="02020603050405020304" pitchFamily="18" charset="0"/>
            </a:endParaRPr>
          </a:p>
          <a:p>
            <a:r>
              <a:rPr lang="nb-NO" sz="1800">
                <a:effectLst/>
                <a:latin typeface="Arial" panose="020B0604020202020204" pitchFamily="34" charset="0"/>
                <a:ea typeface="Arial" panose="020B0604020202020204" pitchFamily="34" charset="0"/>
                <a:cs typeface="Times New Roman" panose="02020603050405020304" pitchFamily="18" charset="0"/>
              </a:rPr>
              <a:t> </a:t>
            </a:r>
          </a:p>
          <a:p>
            <a:r>
              <a:rPr lang="nb-NO" sz="1800" i="1">
                <a:effectLst/>
                <a:latin typeface="Arial" panose="020B0604020202020204" pitchFamily="34" charset="0"/>
                <a:ea typeface="Arial" panose="020B0604020202020204" pitchFamily="34" charset="0"/>
                <a:cs typeface="Times New Roman" panose="02020603050405020304" pitchFamily="18" charset="0"/>
              </a:rPr>
              <a:t>Elektrifisering av maskinparken, og optimalisering av transport og maskinbruk vil gi en reduksjon i både klimagassutslipp og kostnader.</a:t>
            </a:r>
            <a:endParaRPr lang="nb-NO" sz="1800">
              <a:effectLst/>
              <a:latin typeface="Arial" panose="020B0604020202020204" pitchFamily="34" charset="0"/>
              <a:ea typeface="Arial" panose="020B0604020202020204" pitchFamily="34" charset="0"/>
              <a:cs typeface="Times New Roman" panose="02020603050405020304" pitchFamily="18" charset="0"/>
            </a:endParaRPr>
          </a:p>
          <a:p>
            <a:r>
              <a:rPr lang="nb-NO" sz="1800">
                <a:effectLst/>
                <a:latin typeface="Arial" panose="020B0604020202020204" pitchFamily="34" charset="0"/>
                <a:ea typeface="Arial" panose="020B0604020202020204" pitchFamily="34" charset="0"/>
                <a:cs typeface="Times New Roman" panose="02020603050405020304" pitchFamily="18" charset="0"/>
              </a:rPr>
              <a:t> </a:t>
            </a:r>
          </a:p>
          <a:p>
            <a:r>
              <a:rPr lang="nb-NO" sz="1800" i="1">
                <a:effectLst/>
                <a:latin typeface="Arial" panose="020B0604020202020204" pitchFamily="34" charset="0"/>
                <a:ea typeface="Arial" panose="020B0604020202020204" pitchFamily="34" charset="0"/>
                <a:cs typeface="Times New Roman" panose="02020603050405020304" pitchFamily="18" charset="0"/>
              </a:rPr>
              <a:t>Skanska har gjennomført flere prosjekter med fossilfri byggeplass, både for offentlige og private byggherrer. Vi har pilotert og testet utslippsfrie maskiner, hvor vi blant annet gjennom forsknings- og utviklingsprosjektet Pilot-E, har bidratt til å utvikle en utslippsfri gravemaskin.</a:t>
            </a:r>
            <a:endParaRPr lang="nb-NO" sz="1800">
              <a:effectLst/>
              <a:latin typeface="Arial" panose="020B0604020202020204" pitchFamily="34" charset="0"/>
              <a:ea typeface="Arial" panose="020B0604020202020204" pitchFamily="34" charset="0"/>
              <a:cs typeface="Times New Roman" panose="02020603050405020304" pitchFamily="18" charset="0"/>
            </a:endParaRPr>
          </a:p>
          <a:p>
            <a:r>
              <a:rPr lang="nb-NO" sz="1800">
                <a:effectLst/>
                <a:latin typeface="Arial" panose="020B0604020202020204" pitchFamily="34" charset="0"/>
                <a:ea typeface="Arial" panose="020B0604020202020204" pitchFamily="34" charset="0"/>
                <a:cs typeface="Times New Roman" panose="02020603050405020304" pitchFamily="18" charset="0"/>
              </a:rPr>
              <a:t> </a:t>
            </a:r>
          </a:p>
          <a:p>
            <a:r>
              <a:rPr lang="nb-NO" sz="1800" i="1">
                <a:effectLst/>
                <a:latin typeface="Arial" panose="020B0604020202020204" pitchFamily="34" charset="0"/>
                <a:ea typeface="Arial" panose="020B0604020202020204" pitchFamily="34" charset="0"/>
                <a:cs typeface="Times New Roman" panose="02020603050405020304" pitchFamily="18" charset="0"/>
              </a:rPr>
              <a:t>I dag har vi en voksende utslippsfri maskinpark, ca. 10 % av </a:t>
            </a:r>
            <a:r>
              <a:rPr lang="nb-NO" sz="1800" i="1" err="1">
                <a:effectLst/>
                <a:latin typeface="Arial" panose="020B0604020202020204" pitchFamily="34" charset="0"/>
                <a:ea typeface="Arial" panose="020B0604020202020204" pitchFamily="34" charset="0"/>
                <a:cs typeface="Times New Roman" panose="02020603050405020304" pitchFamily="18" charset="0"/>
              </a:rPr>
              <a:t>selskapsbilene</a:t>
            </a:r>
            <a:r>
              <a:rPr lang="nb-NO" sz="1800" i="1">
                <a:effectLst/>
                <a:latin typeface="Arial" panose="020B0604020202020204" pitchFamily="34" charset="0"/>
                <a:ea typeface="Arial" panose="020B0604020202020204" pitchFamily="34" charset="0"/>
                <a:cs typeface="Times New Roman" panose="02020603050405020304" pitchFamily="18" charset="0"/>
              </a:rPr>
              <a:t>/små maskiner er utslippsfri og vi har noen titalls utslippsfrie anleggsmaskiner. I tillegg er ca. 20  % av drivstoffet vi benytter fossilfri. Det er utfordrende og det koster, men å være i front gjør oss konkurransedyktige. Disse tiltakene gir også utslag på våre klimatall. Signalene er krystallklare, fremtiden er utslippsfri.</a:t>
            </a:r>
            <a:endParaRPr lang="nb-NO" sz="1800">
              <a:effectLst/>
              <a:latin typeface="Arial" panose="020B0604020202020204" pitchFamily="34" charset="0"/>
              <a:ea typeface="Arial" panose="020B0604020202020204" pitchFamily="34" charset="0"/>
              <a:cs typeface="Times New Roman" panose="02020603050405020304" pitchFamily="18" charset="0"/>
            </a:endParaRPr>
          </a:p>
          <a:p>
            <a:endParaRPr lang="nb-NO"/>
          </a:p>
        </p:txBody>
      </p:sp>
      <p:sp>
        <p:nvSpPr>
          <p:cNvPr id="4" name="Slide Number Placeholder 3"/>
          <p:cNvSpPr>
            <a:spLocks noGrp="1"/>
          </p:cNvSpPr>
          <p:nvPr>
            <p:ph type="sldNum" sz="quarter" idx="5"/>
          </p:nvPr>
        </p:nvSpPr>
        <p:spPr/>
        <p:txBody>
          <a:bodyPr/>
          <a:lstStyle/>
          <a:p>
            <a:fld id="{F9BE0236-4FFA-374A-8090-2822EB2D3FED}" type="slidenum">
              <a:rPr lang="en-GB" smtClean="0"/>
              <a:t>7</a:t>
            </a:fld>
            <a:endParaRPr lang="en-GB"/>
          </a:p>
        </p:txBody>
      </p:sp>
    </p:spTree>
    <p:extLst>
      <p:ext uri="{BB962C8B-B14F-4D97-AF65-F5344CB8AC3E}">
        <p14:creationId xmlns:p14="http://schemas.microsoft.com/office/powerpoint/2010/main" val="194578256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sz="1800" i="1">
                <a:effectLst/>
                <a:latin typeface="Arial" panose="020B0604020202020204" pitchFamily="34" charset="0"/>
                <a:ea typeface="Arial" panose="020B0604020202020204" pitchFamily="34" charset="0"/>
                <a:cs typeface="Times New Roman" panose="02020603050405020304" pitchFamily="18" charset="0"/>
              </a:rPr>
              <a:t>Potensialet for å redusere energibruken i bygg er enormt, og energieffektivisering av bygningsmassen i Norge kan føre til en besparelse på 29 </a:t>
            </a:r>
            <a:r>
              <a:rPr lang="nb-NO" sz="1800" i="1" err="1">
                <a:effectLst/>
                <a:latin typeface="Arial" panose="020B0604020202020204" pitchFamily="34" charset="0"/>
                <a:ea typeface="Arial" panose="020B0604020202020204" pitchFamily="34" charset="0"/>
                <a:cs typeface="Times New Roman" panose="02020603050405020304" pitchFamily="18" charset="0"/>
              </a:rPr>
              <a:t>TWh</a:t>
            </a:r>
            <a:r>
              <a:rPr lang="nb-NO" sz="1800" i="1">
                <a:effectLst/>
                <a:latin typeface="Arial" panose="020B0604020202020204" pitchFamily="34" charset="0"/>
                <a:ea typeface="Arial" panose="020B0604020202020204" pitchFamily="34" charset="0"/>
                <a:cs typeface="Times New Roman" panose="02020603050405020304" pitchFamily="18" charset="0"/>
              </a:rPr>
              <a:t> årlig. Det er mer enn halvparten av det som trengs for å elektrifisere industrien og transportsektoren.</a:t>
            </a:r>
            <a:endParaRPr lang="nb-NO" sz="1800">
              <a:effectLst/>
              <a:latin typeface="Arial" panose="020B0604020202020204" pitchFamily="34" charset="0"/>
              <a:ea typeface="Arial" panose="020B0604020202020204" pitchFamily="34" charset="0"/>
              <a:cs typeface="Times New Roman" panose="02020603050405020304" pitchFamily="18" charset="0"/>
            </a:endParaRPr>
          </a:p>
          <a:p>
            <a:r>
              <a:rPr lang="nb-NO" sz="1800" i="1">
                <a:effectLst/>
                <a:latin typeface="Arial" panose="020B0604020202020204" pitchFamily="34" charset="0"/>
                <a:ea typeface="Arial" panose="020B0604020202020204" pitchFamily="34" charset="0"/>
                <a:cs typeface="Times New Roman" panose="02020603050405020304" pitchFamily="18" charset="0"/>
              </a:rPr>
              <a:t> </a:t>
            </a:r>
            <a:endParaRPr lang="nb-NO" sz="1800">
              <a:effectLst/>
              <a:latin typeface="Arial" panose="020B0604020202020204" pitchFamily="34" charset="0"/>
              <a:ea typeface="Arial" panose="020B0604020202020204" pitchFamily="34" charset="0"/>
              <a:cs typeface="Times New Roman" panose="02020603050405020304" pitchFamily="18" charset="0"/>
            </a:endParaRPr>
          </a:p>
          <a:p>
            <a:r>
              <a:rPr lang="nb-NO" sz="1800" i="1">
                <a:effectLst/>
                <a:latin typeface="Arial" panose="020B0604020202020204" pitchFamily="34" charset="0"/>
                <a:ea typeface="Arial" panose="020B0604020202020204" pitchFamily="34" charset="0"/>
                <a:cs typeface="Times New Roman" panose="02020603050405020304" pitchFamily="18" charset="0"/>
              </a:rPr>
              <a:t>Gjennom flere år har vi lagt ned en betydelig innsats for å redusere energibruken i bygg. Vi har levert 7 plusshus, og mellom 40 og 50 bygg med passivhus standard. Og de fremste Powerhusene er brukt som utstillingsprosjekter på </a:t>
            </a:r>
            <a:r>
              <a:rPr lang="nb-NO" sz="1800" i="1" err="1">
                <a:effectLst/>
                <a:latin typeface="Arial" panose="020B0604020202020204" pitchFamily="34" charset="0"/>
                <a:ea typeface="Arial" panose="020B0604020202020204" pitchFamily="34" charset="0"/>
                <a:cs typeface="Times New Roman" panose="02020603050405020304" pitchFamily="18" charset="0"/>
              </a:rPr>
              <a:t>FN’s</a:t>
            </a:r>
            <a:r>
              <a:rPr lang="nb-NO" sz="1800" i="1">
                <a:effectLst/>
                <a:latin typeface="Arial" panose="020B0604020202020204" pitchFamily="34" charset="0"/>
                <a:ea typeface="Arial" panose="020B0604020202020204" pitchFamily="34" charset="0"/>
                <a:cs typeface="Times New Roman" panose="02020603050405020304" pitchFamily="18" charset="0"/>
              </a:rPr>
              <a:t> klimakonferanse i fjor høst.</a:t>
            </a:r>
            <a:endParaRPr lang="nb-NO" sz="1800">
              <a:effectLst/>
              <a:latin typeface="Arial" panose="020B0604020202020204" pitchFamily="34" charset="0"/>
              <a:ea typeface="Arial" panose="020B0604020202020204" pitchFamily="34" charset="0"/>
              <a:cs typeface="Times New Roman" panose="02020603050405020304" pitchFamily="18" charset="0"/>
            </a:endParaRPr>
          </a:p>
          <a:p>
            <a:r>
              <a:rPr lang="nb-NO" sz="1800" i="1">
                <a:effectLst/>
                <a:latin typeface="Arial" panose="020B0604020202020204" pitchFamily="34" charset="0"/>
                <a:ea typeface="Arial" panose="020B0604020202020204" pitchFamily="34" charset="0"/>
                <a:cs typeface="Times New Roman" panose="02020603050405020304" pitchFamily="18" charset="0"/>
              </a:rPr>
              <a:t> </a:t>
            </a:r>
            <a:endParaRPr lang="nb-NO" sz="1800">
              <a:effectLst/>
              <a:latin typeface="Arial" panose="020B0604020202020204" pitchFamily="34" charset="0"/>
              <a:ea typeface="Arial" panose="020B0604020202020204" pitchFamily="34" charset="0"/>
              <a:cs typeface="Times New Roman" panose="02020603050405020304" pitchFamily="18" charset="0"/>
            </a:endParaRPr>
          </a:p>
          <a:p>
            <a:r>
              <a:rPr lang="nb-NO" sz="1800" i="1">
                <a:effectLst/>
                <a:latin typeface="Arial" panose="020B0604020202020204" pitchFamily="34" charset="0"/>
                <a:ea typeface="Arial" panose="020B0604020202020204" pitchFamily="34" charset="0"/>
                <a:cs typeface="Times New Roman" panose="02020603050405020304" pitchFamily="18" charset="0"/>
              </a:rPr>
              <a:t>Selv om vi har gjort store fremskritt, er det fortsatt et stort potensial for ytterligere effektivisering. I tillegg blir energiproduksjonen til plusshusbyggene viktig.</a:t>
            </a:r>
            <a:endParaRPr lang="nb-NO" sz="1800">
              <a:effectLst/>
              <a:latin typeface="Arial" panose="020B0604020202020204" pitchFamily="34" charset="0"/>
              <a:ea typeface="Arial" panose="020B0604020202020204" pitchFamily="34" charset="0"/>
              <a:cs typeface="Times New Roman" panose="02020603050405020304" pitchFamily="18" charset="0"/>
            </a:endParaRPr>
          </a:p>
          <a:p>
            <a:r>
              <a:rPr lang="nb-NO" sz="1800" i="1">
                <a:effectLst/>
                <a:latin typeface="Arial" panose="020B0604020202020204" pitchFamily="34" charset="0"/>
                <a:ea typeface="Arial" panose="020B0604020202020204" pitchFamily="34" charset="0"/>
                <a:cs typeface="Times New Roman" panose="02020603050405020304" pitchFamily="18" charset="0"/>
              </a:rPr>
              <a:t>Vi tror den nye fornybare overskuddsstrømmen vil benyttes direkte av byggene, deles i nabolaget eller eksporteres til strømnettet.</a:t>
            </a:r>
            <a:endParaRPr lang="nb-NO" sz="1800">
              <a:effectLst/>
              <a:latin typeface="Arial" panose="020B0604020202020204" pitchFamily="34" charset="0"/>
              <a:ea typeface="Arial" panose="020B0604020202020204" pitchFamily="34" charset="0"/>
              <a:cs typeface="Times New Roman" panose="02020603050405020304" pitchFamily="18" charset="0"/>
            </a:endParaRPr>
          </a:p>
          <a:p>
            <a:r>
              <a:rPr lang="nb-NO" sz="1800" b="1" i="1">
                <a:effectLst/>
                <a:latin typeface="Arial" panose="020B0604020202020204" pitchFamily="34" charset="0"/>
                <a:ea typeface="Arial" panose="020B0604020202020204" pitchFamily="34" charset="0"/>
                <a:cs typeface="Times New Roman" panose="02020603050405020304" pitchFamily="18" charset="0"/>
              </a:rPr>
              <a:t> </a:t>
            </a:r>
            <a:endParaRPr lang="nb-NO" sz="1800">
              <a:effectLst/>
              <a:latin typeface="Arial" panose="020B0604020202020204" pitchFamily="34" charset="0"/>
              <a:ea typeface="Arial" panose="020B0604020202020204" pitchFamily="34" charset="0"/>
              <a:cs typeface="Times New Roman" panose="02020603050405020304" pitchFamily="18" charset="0"/>
            </a:endParaRPr>
          </a:p>
          <a:p>
            <a:endParaRPr lang="nb-NO"/>
          </a:p>
        </p:txBody>
      </p:sp>
      <p:sp>
        <p:nvSpPr>
          <p:cNvPr id="4" name="Slide Number Placeholder 3"/>
          <p:cNvSpPr>
            <a:spLocks noGrp="1"/>
          </p:cNvSpPr>
          <p:nvPr>
            <p:ph type="sldNum" sz="quarter" idx="5"/>
          </p:nvPr>
        </p:nvSpPr>
        <p:spPr/>
        <p:txBody>
          <a:bodyPr/>
          <a:lstStyle/>
          <a:p>
            <a:fld id="{F9BE0236-4FFA-374A-8090-2822EB2D3FED}" type="slidenum">
              <a:rPr lang="en-GB" smtClean="0"/>
              <a:t>8</a:t>
            </a:fld>
            <a:endParaRPr lang="en-GB"/>
          </a:p>
        </p:txBody>
      </p:sp>
    </p:spTree>
    <p:extLst>
      <p:ext uri="{BB962C8B-B14F-4D97-AF65-F5344CB8AC3E}">
        <p14:creationId xmlns:p14="http://schemas.microsoft.com/office/powerpoint/2010/main" val="30130876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sz="1800" i="1" err="1">
                <a:effectLst/>
                <a:latin typeface="Arial" panose="020B0604020202020204" pitchFamily="34" charset="0"/>
                <a:ea typeface="Arial" panose="020B0604020202020204" pitchFamily="34" charset="0"/>
                <a:cs typeface="Times New Roman" panose="02020603050405020304" pitchFamily="18" charset="0"/>
              </a:rPr>
              <a:t>Byggebransjen</a:t>
            </a:r>
            <a:r>
              <a:rPr lang="nb-NO" sz="1800" i="1">
                <a:effectLst/>
                <a:latin typeface="Arial" panose="020B0604020202020204" pitchFamily="34" charset="0"/>
                <a:ea typeface="Arial" panose="020B0604020202020204" pitchFamily="34" charset="0"/>
                <a:cs typeface="Times New Roman" panose="02020603050405020304" pitchFamily="18" charset="0"/>
              </a:rPr>
              <a:t> står for ca. 25 % av avfallsproduksjon i Norge og er en svært lineær bransje. Det ligger store verdier knyttet til reduserte mengder avfall, ombruk og gjenvinning og en mer kostnadseffektiv håndtering av materialstrømmer, både økonomiske og miljømessige verdier. Vi bruker i hovedsak nye materialressurser fremfor å </a:t>
            </a:r>
            <a:r>
              <a:rPr lang="nb-NO" sz="1800" i="1" err="1">
                <a:effectLst/>
                <a:latin typeface="Arial" panose="020B0604020202020204" pitchFamily="34" charset="0"/>
                <a:ea typeface="Arial" panose="020B0604020202020204" pitchFamily="34" charset="0"/>
                <a:cs typeface="Times New Roman" panose="02020603050405020304" pitchFamily="18" charset="0"/>
              </a:rPr>
              <a:t>ombruke</a:t>
            </a:r>
            <a:r>
              <a:rPr lang="nb-NO" sz="1800" i="1">
                <a:effectLst/>
                <a:latin typeface="Arial" panose="020B0604020202020204" pitchFamily="34" charset="0"/>
                <a:ea typeface="Arial" panose="020B0604020202020204" pitchFamily="34" charset="0"/>
                <a:cs typeface="Times New Roman" panose="02020603050405020304" pitchFamily="18" charset="0"/>
              </a:rPr>
              <a:t>, eller å tilrettelegge for fremtidig ombruk og materialgjenvinning fra våre prosjekter. Ressursknapphet og økende materialvarepriser har gitt oss forsmaken på fremtiden. Sirkulærøkonomi vil være helt avgjørende for å få ned klimagassutslippene og redusere forbruket av begrensede naturressurser.</a:t>
            </a:r>
            <a:endParaRPr lang="nb-NO" sz="1800">
              <a:effectLst/>
              <a:latin typeface="Arial" panose="020B0604020202020204" pitchFamily="34" charset="0"/>
              <a:ea typeface="Arial" panose="020B0604020202020204" pitchFamily="34" charset="0"/>
              <a:cs typeface="Times New Roman" panose="02020603050405020304" pitchFamily="18" charset="0"/>
            </a:endParaRPr>
          </a:p>
          <a:p>
            <a:r>
              <a:rPr lang="nb-NO" sz="1800" i="1">
                <a:effectLst/>
                <a:latin typeface="Arial" panose="020B0604020202020204" pitchFamily="34" charset="0"/>
                <a:ea typeface="Arial" panose="020B0604020202020204" pitchFamily="34" charset="0"/>
                <a:cs typeface="Times New Roman" panose="02020603050405020304" pitchFamily="18" charset="0"/>
              </a:rPr>
              <a:t> </a:t>
            </a:r>
            <a:endParaRPr lang="nb-NO" sz="1800">
              <a:effectLst/>
              <a:latin typeface="Arial" panose="020B0604020202020204" pitchFamily="34" charset="0"/>
              <a:ea typeface="Arial" panose="020B0604020202020204" pitchFamily="34" charset="0"/>
              <a:cs typeface="Times New Roman" panose="02020603050405020304" pitchFamily="18" charset="0"/>
            </a:endParaRPr>
          </a:p>
          <a:p>
            <a:r>
              <a:rPr lang="nb-NO" sz="1800" i="1">
                <a:effectLst/>
                <a:latin typeface="Arial" panose="020B0604020202020204" pitchFamily="34" charset="0"/>
                <a:ea typeface="Arial" panose="020B0604020202020204" pitchFamily="34" charset="0"/>
                <a:cs typeface="Times New Roman" panose="02020603050405020304" pitchFamily="18" charset="0"/>
              </a:rPr>
              <a:t>I dag er vi langt fremme i håndteringen av avfall som vi produserer, vi sortere over 90 % av avfallet vi produserer og ligger på et snitt på ca. 32 kg avfall/kvm bygg mot bransjens  40-60.  Det er fantastiske prestasjoner, en det er fortsatt alt for store mengder. Volumet og kiloene må reduseres og vi må i mye større grad evne ombruk, gjenbruk og planlegge for neste livsløp for byggematerialene og bygget. </a:t>
            </a:r>
            <a:endParaRPr lang="nb-NO" sz="1800">
              <a:effectLst/>
              <a:latin typeface="Arial" panose="020B0604020202020204" pitchFamily="34" charset="0"/>
              <a:ea typeface="Arial" panose="020B0604020202020204" pitchFamily="34" charset="0"/>
              <a:cs typeface="Times New Roman" panose="02020603050405020304" pitchFamily="18" charset="0"/>
            </a:endParaRPr>
          </a:p>
          <a:p>
            <a:endParaRPr lang="nb-NO"/>
          </a:p>
        </p:txBody>
      </p:sp>
      <p:sp>
        <p:nvSpPr>
          <p:cNvPr id="4" name="Slide Number Placeholder 3"/>
          <p:cNvSpPr>
            <a:spLocks noGrp="1"/>
          </p:cNvSpPr>
          <p:nvPr>
            <p:ph type="sldNum" sz="quarter" idx="5"/>
          </p:nvPr>
        </p:nvSpPr>
        <p:spPr/>
        <p:txBody>
          <a:bodyPr/>
          <a:lstStyle/>
          <a:p>
            <a:fld id="{F9BE0236-4FFA-374A-8090-2822EB2D3FED}" type="slidenum">
              <a:rPr lang="en-GB" smtClean="0"/>
              <a:t>9</a:t>
            </a:fld>
            <a:endParaRPr lang="en-GB"/>
          </a:p>
        </p:txBody>
      </p:sp>
    </p:spTree>
    <p:extLst>
      <p:ext uri="{BB962C8B-B14F-4D97-AF65-F5344CB8AC3E}">
        <p14:creationId xmlns:p14="http://schemas.microsoft.com/office/powerpoint/2010/main" val="120615152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Generic Image Start">
    <p:bg>
      <p:bgPr>
        <a:solidFill>
          <a:schemeClr val="bg1"/>
        </a:solidFill>
        <a:effectLst/>
      </p:bgPr>
    </p:bg>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5F25FCAC-9D7B-3242-B85D-0E4AD5A08447}"/>
              </a:ext>
            </a:extLst>
          </p:cNvPr>
          <p:cNvSpPr>
            <a:spLocks noGrp="1"/>
          </p:cNvSpPr>
          <p:nvPr>
            <p:ph type="pic" sz="quarter" idx="13" hasCustomPrompt="1"/>
          </p:nvPr>
        </p:nvSpPr>
        <p:spPr>
          <a:xfrm>
            <a:off x="2" y="2"/>
            <a:ext cx="12191999" cy="6857999"/>
          </a:xfrm>
          <a:custGeom>
            <a:avLst/>
            <a:gdLst>
              <a:gd name="connsiteX0" fmla="*/ 4964326 w 12191999"/>
              <a:gd name="connsiteY0" fmla="*/ 3115140 h 6857999"/>
              <a:gd name="connsiteX1" fmla="*/ 5103655 w 12191999"/>
              <a:gd name="connsiteY1" fmla="*/ 3528679 h 6857999"/>
              <a:gd name="connsiteX2" fmla="*/ 4829444 w 12191999"/>
              <a:gd name="connsiteY2" fmla="*/ 3528679 h 6857999"/>
              <a:gd name="connsiteX3" fmla="*/ 9196063 w 12191999"/>
              <a:gd name="connsiteY3" fmla="*/ 3115140 h 6857999"/>
              <a:gd name="connsiteX4" fmla="*/ 9335392 w 12191999"/>
              <a:gd name="connsiteY4" fmla="*/ 3528679 h 6857999"/>
              <a:gd name="connsiteX5" fmla="*/ 9061181 w 12191999"/>
              <a:gd name="connsiteY5" fmla="*/ 3528679 h 6857999"/>
              <a:gd name="connsiteX6" fmla="*/ 5595751 w 12191999"/>
              <a:gd name="connsiteY6" fmla="*/ 2890584 h 6857999"/>
              <a:gd name="connsiteX7" fmla="*/ 5595751 w 12191999"/>
              <a:gd name="connsiteY7" fmla="*/ 3968157 h 6857999"/>
              <a:gd name="connsiteX8" fmla="*/ 5845505 w 12191999"/>
              <a:gd name="connsiteY8" fmla="*/ 3968157 h 6857999"/>
              <a:gd name="connsiteX9" fmla="*/ 5845505 w 12191999"/>
              <a:gd name="connsiteY9" fmla="*/ 3303382 h 6857999"/>
              <a:gd name="connsiteX10" fmla="*/ 6274608 w 12191999"/>
              <a:gd name="connsiteY10" fmla="*/ 3965934 h 6857999"/>
              <a:gd name="connsiteX11" fmla="*/ 6274608 w 12191999"/>
              <a:gd name="connsiteY11" fmla="*/ 3968157 h 6857999"/>
              <a:gd name="connsiteX12" fmla="*/ 6533255 w 12191999"/>
              <a:gd name="connsiteY12" fmla="*/ 3968157 h 6857999"/>
              <a:gd name="connsiteX13" fmla="*/ 6532514 w 12191999"/>
              <a:gd name="connsiteY13" fmla="*/ 3735449 h 6857999"/>
              <a:gd name="connsiteX14" fmla="*/ 6531032 w 12191999"/>
              <a:gd name="connsiteY14" fmla="*/ 2890584 h 6857999"/>
              <a:gd name="connsiteX15" fmla="*/ 6282760 w 12191999"/>
              <a:gd name="connsiteY15" fmla="*/ 2890584 h 6857999"/>
              <a:gd name="connsiteX16" fmla="*/ 6282760 w 12191999"/>
              <a:gd name="connsiteY16" fmla="*/ 3567958 h 6857999"/>
              <a:gd name="connsiteX17" fmla="*/ 5849952 w 12191999"/>
              <a:gd name="connsiteY17" fmla="*/ 2890584 h 6857999"/>
              <a:gd name="connsiteX18" fmla="*/ 4802022 w 12191999"/>
              <a:gd name="connsiteY18" fmla="*/ 2890584 h 6857999"/>
              <a:gd name="connsiteX19" fmla="*/ 4429245 w 12191999"/>
              <a:gd name="connsiteY19" fmla="*/ 3968157 h 6857999"/>
              <a:gd name="connsiteX20" fmla="*/ 4692339 w 12191999"/>
              <a:gd name="connsiteY20" fmla="*/ 3968157 h 6857999"/>
              <a:gd name="connsiteX21" fmla="*/ 4760520 w 12191999"/>
              <a:gd name="connsiteY21" fmla="*/ 3748048 h 6857999"/>
              <a:gd name="connsiteX22" fmla="*/ 5173319 w 12191999"/>
              <a:gd name="connsiteY22" fmla="*/ 3748048 h 6857999"/>
              <a:gd name="connsiteX23" fmla="*/ 5243725 w 12191999"/>
              <a:gd name="connsiteY23" fmla="*/ 3968157 h 6857999"/>
              <a:gd name="connsiteX24" fmla="*/ 5503113 w 12191999"/>
              <a:gd name="connsiteY24" fmla="*/ 3968157 h 6857999"/>
              <a:gd name="connsiteX25" fmla="*/ 5119218 w 12191999"/>
              <a:gd name="connsiteY25" fmla="*/ 2890584 h 6857999"/>
              <a:gd name="connsiteX26" fmla="*/ 2791392 w 12191999"/>
              <a:gd name="connsiteY26" fmla="*/ 2890584 h 6857999"/>
              <a:gd name="connsiteX27" fmla="*/ 2457151 w 12191999"/>
              <a:gd name="connsiteY27" fmla="*/ 3218154 h 6857999"/>
              <a:gd name="connsiteX28" fmla="*/ 2791392 w 12191999"/>
              <a:gd name="connsiteY28" fmla="*/ 3532385 h 6857999"/>
              <a:gd name="connsiteX29" fmla="*/ 3046334 w 12191999"/>
              <a:gd name="connsiteY29" fmla="*/ 3532385 h 6857999"/>
              <a:gd name="connsiteX30" fmla="*/ 3143419 w 12191999"/>
              <a:gd name="connsiteY30" fmla="*/ 3632434 h 6857999"/>
              <a:gd name="connsiteX31" fmla="*/ 3046334 w 12191999"/>
              <a:gd name="connsiteY31" fmla="*/ 3732484 h 6857999"/>
              <a:gd name="connsiteX32" fmla="*/ 2500136 w 12191999"/>
              <a:gd name="connsiteY32" fmla="*/ 3732484 h 6857999"/>
              <a:gd name="connsiteX33" fmla="*/ 2500136 w 12191999"/>
              <a:gd name="connsiteY33" fmla="*/ 3968157 h 6857999"/>
              <a:gd name="connsiteX34" fmla="*/ 3036699 w 12191999"/>
              <a:gd name="connsiteY34" fmla="*/ 3968157 h 6857999"/>
              <a:gd name="connsiteX35" fmla="*/ 3375386 w 12191999"/>
              <a:gd name="connsiteY35" fmla="*/ 3632434 h 6857999"/>
              <a:gd name="connsiteX36" fmla="*/ 3084871 w 12191999"/>
              <a:gd name="connsiteY36" fmla="*/ 3318204 h 6857999"/>
              <a:gd name="connsiteX37" fmla="*/ 2791392 w 12191999"/>
              <a:gd name="connsiteY37" fmla="*/ 3318204 h 6857999"/>
              <a:gd name="connsiteX38" fmla="*/ 2689860 w 12191999"/>
              <a:gd name="connsiteY38" fmla="*/ 3218154 h 6857999"/>
              <a:gd name="connsiteX39" fmla="*/ 2791392 w 12191999"/>
              <a:gd name="connsiteY39" fmla="*/ 3118105 h 6857999"/>
              <a:gd name="connsiteX40" fmla="*/ 3300534 w 12191999"/>
              <a:gd name="connsiteY40" fmla="*/ 3118105 h 6857999"/>
              <a:gd name="connsiteX41" fmla="*/ 3300534 w 12191999"/>
              <a:gd name="connsiteY41" fmla="*/ 2890584 h 6857999"/>
              <a:gd name="connsiteX42" fmla="*/ 9033760 w 12191999"/>
              <a:gd name="connsiteY42" fmla="*/ 2890583 h 6857999"/>
              <a:gd name="connsiteX43" fmla="*/ 8661723 w 12191999"/>
              <a:gd name="connsiteY43" fmla="*/ 3968157 h 6857999"/>
              <a:gd name="connsiteX44" fmla="*/ 8924817 w 12191999"/>
              <a:gd name="connsiteY44" fmla="*/ 3968157 h 6857999"/>
              <a:gd name="connsiteX45" fmla="*/ 8992999 w 12191999"/>
              <a:gd name="connsiteY45" fmla="*/ 3748048 h 6857999"/>
              <a:gd name="connsiteX46" fmla="*/ 9405797 w 12191999"/>
              <a:gd name="connsiteY46" fmla="*/ 3748048 h 6857999"/>
              <a:gd name="connsiteX47" fmla="*/ 9476203 w 12191999"/>
              <a:gd name="connsiteY47" fmla="*/ 3968157 h 6857999"/>
              <a:gd name="connsiteX48" fmla="*/ 9734850 w 12191999"/>
              <a:gd name="connsiteY48" fmla="*/ 3968157 h 6857999"/>
              <a:gd name="connsiteX49" fmla="*/ 9350955 w 12191999"/>
              <a:gd name="connsiteY49" fmla="*/ 2890583 h 6857999"/>
              <a:gd name="connsiteX50" fmla="*/ 7018682 w 12191999"/>
              <a:gd name="connsiteY50" fmla="*/ 2890583 h 6857999"/>
              <a:gd name="connsiteX51" fmla="*/ 6684441 w 12191999"/>
              <a:gd name="connsiteY51" fmla="*/ 3218154 h 6857999"/>
              <a:gd name="connsiteX52" fmla="*/ 7018682 w 12191999"/>
              <a:gd name="connsiteY52" fmla="*/ 3532385 h 6857999"/>
              <a:gd name="connsiteX53" fmla="*/ 7273623 w 12191999"/>
              <a:gd name="connsiteY53" fmla="*/ 3532385 h 6857999"/>
              <a:gd name="connsiteX54" fmla="*/ 7370709 w 12191999"/>
              <a:gd name="connsiteY54" fmla="*/ 3632434 h 6857999"/>
              <a:gd name="connsiteX55" fmla="*/ 7273623 w 12191999"/>
              <a:gd name="connsiteY55" fmla="*/ 3732484 h 6857999"/>
              <a:gd name="connsiteX56" fmla="*/ 6728167 w 12191999"/>
              <a:gd name="connsiteY56" fmla="*/ 3732484 h 6857999"/>
              <a:gd name="connsiteX57" fmla="*/ 6728167 w 12191999"/>
              <a:gd name="connsiteY57" fmla="*/ 3968157 h 6857999"/>
              <a:gd name="connsiteX58" fmla="*/ 7264730 w 12191999"/>
              <a:gd name="connsiteY58" fmla="*/ 3968157 h 6857999"/>
              <a:gd name="connsiteX59" fmla="*/ 7603417 w 12191999"/>
              <a:gd name="connsiteY59" fmla="*/ 3632434 h 6857999"/>
              <a:gd name="connsiteX60" fmla="*/ 7312161 w 12191999"/>
              <a:gd name="connsiteY60" fmla="*/ 3318204 h 6857999"/>
              <a:gd name="connsiteX61" fmla="*/ 7018682 w 12191999"/>
              <a:gd name="connsiteY61" fmla="*/ 3318204 h 6857999"/>
              <a:gd name="connsiteX62" fmla="*/ 6917150 w 12191999"/>
              <a:gd name="connsiteY62" fmla="*/ 3218154 h 6857999"/>
              <a:gd name="connsiteX63" fmla="*/ 7018682 w 12191999"/>
              <a:gd name="connsiteY63" fmla="*/ 3118104 h 6857999"/>
              <a:gd name="connsiteX64" fmla="*/ 7527824 w 12191999"/>
              <a:gd name="connsiteY64" fmla="*/ 3118104 h 6857999"/>
              <a:gd name="connsiteX65" fmla="*/ 7527824 w 12191999"/>
              <a:gd name="connsiteY65" fmla="*/ 2890583 h 6857999"/>
              <a:gd name="connsiteX66" fmla="*/ 3520644 w 12191999"/>
              <a:gd name="connsiteY66" fmla="*/ 2889843 h 6857999"/>
              <a:gd name="connsiteX67" fmla="*/ 3520644 w 12191999"/>
              <a:gd name="connsiteY67" fmla="*/ 3968157 h 6857999"/>
              <a:gd name="connsiteX68" fmla="*/ 3768916 w 12191999"/>
              <a:gd name="connsiteY68" fmla="*/ 3968157 h 6857999"/>
              <a:gd name="connsiteX69" fmla="*/ 3768916 w 12191999"/>
              <a:gd name="connsiteY69" fmla="*/ 3513116 h 6857999"/>
              <a:gd name="connsiteX70" fmla="*/ 4123167 w 12191999"/>
              <a:gd name="connsiteY70" fmla="*/ 3968157 h 6857999"/>
              <a:gd name="connsiteX71" fmla="*/ 4413681 w 12191999"/>
              <a:gd name="connsiteY71" fmla="*/ 3968157 h 6857999"/>
              <a:gd name="connsiteX72" fmla="*/ 4005330 w 12191999"/>
              <a:gd name="connsiteY72" fmla="*/ 3429370 h 6857999"/>
              <a:gd name="connsiteX73" fmla="*/ 4413681 w 12191999"/>
              <a:gd name="connsiteY73" fmla="*/ 2889843 h 6857999"/>
              <a:gd name="connsiteX74" fmla="*/ 4123167 w 12191999"/>
              <a:gd name="connsiteY74" fmla="*/ 2889843 h 6857999"/>
              <a:gd name="connsiteX75" fmla="*/ 3768916 w 12191999"/>
              <a:gd name="connsiteY75" fmla="*/ 3344884 h 6857999"/>
              <a:gd name="connsiteX76" fmla="*/ 3768916 w 12191999"/>
              <a:gd name="connsiteY76" fmla="*/ 2889843 h 6857999"/>
              <a:gd name="connsiteX77" fmla="*/ 7752381 w 12191999"/>
              <a:gd name="connsiteY77" fmla="*/ 2889842 h 6857999"/>
              <a:gd name="connsiteX78" fmla="*/ 7752381 w 12191999"/>
              <a:gd name="connsiteY78" fmla="*/ 3968157 h 6857999"/>
              <a:gd name="connsiteX79" fmla="*/ 8001394 w 12191999"/>
              <a:gd name="connsiteY79" fmla="*/ 3968157 h 6857999"/>
              <a:gd name="connsiteX80" fmla="*/ 8001394 w 12191999"/>
              <a:gd name="connsiteY80" fmla="*/ 3513116 h 6857999"/>
              <a:gd name="connsiteX81" fmla="*/ 8355645 w 12191999"/>
              <a:gd name="connsiteY81" fmla="*/ 3968157 h 6857999"/>
              <a:gd name="connsiteX82" fmla="*/ 8645419 w 12191999"/>
              <a:gd name="connsiteY82" fmla="*/ 3968157 h 6857999"/>
              <a:gd name="connsiteX83" fmla="*/ 8237809 w 12191999"/>
              <a:gd name="connsiteY83" fmla="*/ 3429370 h 6857999"/>
              <a:gd name="connsiteX84" fmla="*/ 8645419 w 12191999"/>
              <a:gd name="connsiteY84" fmla="*/ 2889842 h 6857999"/>
              <a:gd name="connsiteX85" fmla="*/ 8355645 w 12191999"/>
              <a:gd name="connsiteY85" fmla="*/ 2889842 h 6857999"/>
              <a:gd name="connsiteX86" fmla="*/ 8001394 w 12191999"/>
              <a:gd name="connsiteY86" fmla="*/ 3344884 h 6857999"/>
              <a:gd name="connsiteX87" fmla="*/ 8001394 w 12191999"/>
              <a:gd name="connsiteY87" fmla="*/ 2889842 h 6857999"/>
              <a:gd name="connsiteX88" fmla="*/ 0 w 12191999"/>
              <a:gd name="connsiteY88" fmla="*/ 0 h 6857999"/>
              <a:gd name="connsiteX89" fmla="*/ 12191999 w 12191999"/>
              <a:gd name="connsiteY89" fmla="*/ 0 h 6857999"/>
              <a:gd name="connsiteX90" fmla="*/ 12191999 w 12191999"/>
              <a:gd name="connsiteY90" fmla="*/ 6857999 h 6857999"/>
              <a:gd name="connsiteX91" fmla="*/ 0 w 12191999"/>
              <a:gd name="connsiteY91"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2191999" h="6857999">
                <a:moveTo>
                  <a:pt x="4964326" y="3115140"/>
                </a:moveTo>
                <a:lnTo>
                  <a:pt x="5103655" y="3528679"/>
                </a:lnTo>
                <a:lnTo>
                  <a:pt x="4829444" y="3528679"/>
                </a:lnTo>
                <a:close/>
                <a:moveTo>
                  <a:pt x="9196063" y="3115140"/>
                </a:moveTo>
                <a:lnTo>
                  <a:pt x="9335392" y="3528679"/>
                </a:lnTo>
                <a:lnTo>
                  <a:pt x="9061181" y="3528679"/>
                </a:lnTo>
                <a:close/>
                <a:moveTo>
                  <a:pt x="5595751" y="2890584"/>
                </a:moveTo>
                <a:lnTo>
                  <a:pt x="5595751" y="3968157"/>
                </a:lnTo>
                <a:lnTo>
                  <a:pt x="5845505" y="3968157"/>
                </a:lnTo>
                <a:lnTo>
                  <a:pt x="5845505" y="3303382"/>
                </a:lnTo>
                <a:lnTo>
                  <a:pt x="6274608" y="3965934"/>
                </a:lnTo>
                <a:lnTo>
                  <a:pt x="6274608" y="3968157"/>
                </a:lnTo>
                <a:lnTo>
                  <a:pt x="6533255" y="3968157"/>
                </a:lnTo>
                <a:lnTo>
                  <a:pt x="6532514" y="3735449"/>
                </a:lnTo>
                <a:lnTo>
                  <a:pt x="6531032" y="2890584"/>
                </a:lnTo>
                <a:lnTo>
                  <a:pt x="6282760" y="2890584"/>
                </a:lnTo>
                <a:lnTo>
                  <a:pt x="6282760" y="3567958"/>
                </a:lnTo>
                <a:lnTo>
                  <a:pt x="5849952" y="2890584"/>
                </a:lnTo>
                <a:close/>
                <a:moveTo>
                  <a:pt x="4802022" y="2890584"/>
                </a:moveTo>
                <a:lnTo>
                  <a:pt x="4429245" y="3968157"/>
                </a:lnTo>
                <a:lnTo>
                  <a:pt x="4692339" y="3968157"/>
                </a:lnTo>
                <a:lnTo>
                  <a:pt x="4760520" y="3748048"/>
                </a:lnTo>
                <a:lnTo>
                  <a:pt x="5173319" y="3748048"/>
                </a:lnTo>
                <a:lnTo>
                  <a:pt x="5243725" y="3968157"/>
                </a:lnTo>
                <a:lnTo>
                  <a:pt x="5503113" y="3968157"/>
                </a:lnTo>
                <a:lnTo>
                  <a:pt x="5119218" y="2890584"/>
                </a:lnTo>
                <a:close/>
                <a:moveTo>
                  <a:pt x="2791392" y="2890584"/>
                </a:moveTo>
                <a:cubicBezTo>
                  <a:pt x="2583140" y="2890584"/>
                  <a:pt x="2457151" y="3012125"/>
                  <a:pt x="2457151" y="3218154"/>
                </a:cubicBezTo>
                <a:cubicBezTo>
                  <a:pt x="2457151" y="3424184"/>
                  <a:pt x="2603150" y="3532385"/>
                  <a:pt x="2791392" y="3532385"/>
                </a:cubicBezTo>
                <a:lnTo>
                  <a:pt x="3046334" y="3532385"/>
                </a:lnTo>
                <a:cubicBezTo>
                  <a:pt x="3110810" y="3532385"/>
                  <a:pt x="3143419" y="3581298"/>
                  <a:pt x="3143419" y="3632434"/>
                </a:cubicBezTo>
                <a:cubicBezTo>
                  <a:pt x="3143419" y="3685053"/>
                  <a:pt x="3110810" y="3732484"/>
                  <a:pt x="3046334" y="3732484"/>
                </a:cubicBezTo>
                <a:lnTo>
                  <a:pt x="2500136" y="3732484"/>
                </a:lnTo>
                <a:lnTo>
                  <a:pt x="2500136" y="3968157"/>
                </a:lnTo>
                <a:lnTo>
                  <a:pt x="3036699" y="3968157"/>
                </a:lnTo>
                <a:cubicBezTo>
                  <a:pt x="3249398" y="3968157"/>
                  <a:pt x="3375386" y="3851062"/>
                  <a:pt x="3375386" y="3632434"/>
                </a:cubicBezTo>
                <a:cubicBezTo>
                  <a:pt x="3375386" y="3435299"/>
                  <a:pt x="3249398" y="3318204"/>
                  <a:pt x="3084871" y="3318204"/>
                </a:cubicBezTo>
                <a:lnTo>
                  <a:pt x="2791392" y="3318204"/>
                </a:lnTo>
                <a:cubicBezTo>
                  <a:pt x="2722468" y="3318204"/>
                  <a:pt x="2689860" y="3270773"/>
                  <a:pt x="2689860" y="3218154"/>
                </a:cubicBezTo>
                <a:cubicBezTo>
                  <a:pt x="2689860" y="3165536"/>
                  <a:pt x="2722468" y="3118105"/>
                  <a:pt x="2791392" y="3118105"/>
                </a:cubicBezTo>
                <a:lnTo>
                  <a:pt x="3300534" y="3118105"/>
                </a:lnTo>
                <a:lnTo>
                  <a:pt x="3300534" y="2890584"/>
                </a:lnTo>
                <a:close/>
                <a:moveTo>
                  <a:pt x="9033760" y="2890583"/>
                </a:moveTo>
                <a:lnTo>
                  <a:pt x="8661723" y="3968157"/>
                </a:lnTo>
                <a:lnTo>
                  <a:pt x="8924817" y="3968157"/>
                </a:lnTo>
                <a:lnTo>
                  <a:pt x="8992999" y="3748048"/>
                </a:lnTo>
                <a:lnTo>
                  <a:pt x="9405797" y="3748048"/>
                </a:lnTo>
                <a:lnTo>
                  <a:pt x="9476203" y="3968157"/>
                </a:lnTo>
                <a:lnTo>
                  <a:pt x="9734850" y="3968157"/>
                </a:lnTo>
                <a:lnTo>
                  <a:pt x="9350955" y="2890583"/>
                </a:lnTo>
                <a:close/>
                <a:moveTo>
                  <a:pt x="7018682" y="2890583"/>
                </a:moveTo>
                <a:cubicBezTo>
                  <a:pt x="6811171" y="2890583"/>
                  <a:pt x="6684441" y="3012125"/>
                  <a:pt x="6684441" y="3218154"/>
                </a:cubicBezTo>
                <a:cubicBezTo>
                  <a:pt x="6684441" y="3424183"/>
                  <a:pt x="6830440" y="3532385"/>
                  <a:pt x="7018682" y="3532385"/>
                </a:cubicBezTo>
                <a:lnTo>
                  <a:pt x="7273623" y="3532385"/>
                </a:lnTo>
                <a:cubicBezTo>
                  <a:pt x="7338100" y="3532385"/>
                  <a:pt x="7370709" y="3581298"/>
                  <a:pt x="7370709" y="3632434"/>
                </a:cubicBezTo>
                <a:cubicBezTo>
                  <a:pt x="7370709" y="3685053"/>
                  <a:pt x="7338100" y="3732484"/>
                  <a:pt x="7273623" y="3732484"/>
                </a:cubicBezTo>
                <a:lnTo>
                  <a:pt x="6728167" y="3732484"/>
                </a:lnTo>
                <a:lnTo>
                  <a:pt x="6728167" y="3968157"/>
                </a:lnTo>
                <a:lnTo>
                  <a:pt x="7264730" y="3968157"/>
                </a:lnTo>
                <a:cubicBezTo>
                  <a:pt x="7477429" y="3968157"/>
                  <a:pt x="7603417" y="3851062"/>
                  <a:pt x="7603417" y="3632434"/>
                </a:cubicBezTo>
                <a:cubicBezTo>
                  <a:pt x="7603417" y="3435299"/>
                  <a:pt x="7476687" y="3318204"/>
                  <a:pt x="7312161" y="3318204"/>
                </a:cubicBezTo>
                <a:lnTo>
                  <a:pt x="7018682" y="3318204"/>
                </a:lnTo>
                <a:cubicBezTo>
                  <a:pt x="6949758" y="3318204"/>
                  <a:pt x="6917150" y="3270773"/>
                  <a:pt x="6917150" y="3218154"/>
                </a:cubicBezTo>
                <a:cubicBezTo>
                  <a:pt x="6917150" y="3165535"/>
                  <a:pt x="6949758" y="3118104"/>
                  <a:pt x="7018682" y="3118104"/>
                </a:cubicBezTo>
                <a:lnTo>
                  <a:pt x="7527824" y="3118104"/>
                </a:lnTo>
                <a:lnTo>
                  <a:pt x="7527824" y="2890583"/>
                </a:lnTo>
                <a:close/>
                <a:moveTo>
                  <a:pt x="3520644" y="2889843"/>
                </a:moveTo>
                <a:lnTo>
                  <a:pt x="3520644" y="3968157"/>
                </a:lnTo>
                <a:lnTo>
                  <a:pt x="3768916" y="3968157"/>
                </a:lnTo>
                <a:lnTo>
                  <a:pt x="3768916" y="3513116"/>
                </a:lnTo>
                <a:lnTo>
                  <a:pt x="4123167" y="3968157"/>
                </a:lnTo>
                <a:lnTo>
                  <a:pt x="4413681" y="3968157"/>
                </a:lnTo>
                <a:lnTo>
                  <a:pt x="4005330" y="3429370"/>
                </a:lnTo>
                <a:lnTo>
                  <a:pt x="4413681" y="2889843"/>
                </a:lnTo>
                <a:lnTo>
                  <a:pt x="4123167" y="2889843"/>
                </a:lnTo>
                <a:lnTo>
                  <a:pt x="3768916" y="3344884"/>
                </a:lnTo>
                <a:lnTo>
                  <a:pt x="3768916" y="2889843"/>
                </a:lnTo>
                <a:close/>
                <a:moveTo>
                  <a:pt x="7752381" y="2889842"/>
                </a:moveTo>
                <a:lnTo>
                  <a:pt x="7752381" y="3968157"/>
                </a:lnTo>
                <a:lnTo>
                  <a:pt x="8001394" y="3968157"/>
                </a:lnTo>
                <a:lnTo>
                  <a:pt x="8001394" y="3513116"/>
                </a:lnTo>
                <a:lnTo>
                  <a:pt x="8355645" y="3968157"/>
                </a:lnTo>
                <a:lnTo>
                  <a:pt x="8645419" y="3968157"/>
                </a:lnTo>
                <a:lnTo>
                  <a:pt x="8237809" y="3429370"/>
                </a:lnTo>
                <a:lnTo>
                  <a:pt x="8645419" y="2889842"/>
                </a:lnTo>
                <a:lnTo>
                  <a:pt x="8355645" y="2889842"/>
                </a:lnTo>
                <a:lnTo>
                  <a:pt x="8001394" y="3344884"/>
                </a:lnTo>
                <a:lnTo>
                  <a:pt x="8001394" y="2889842"/>
                </a:lnTo>
                <a:close/>
                <a:moveTo>
                  <a:pt x="0" y="0"/>
                </a:moveTo>
                <a:lnTo>
                  <a:pt x="12191999" y="0"/>
                </a:lnTo>
                <a:lnTo>
                  <a:pt x="12191999" y="6857999"/>
                </a:lnTo>
                <a:lnTo>
                  <a:pt x="0" y="6857999"/>
                </a:lnTo>
                <a:close/>
              </a:path>
            </a:pathLst>
          </a:custGeom>
          <a:solidFill>
            <a:srgbClr val="ECECEC"/>
          </a:solidFill>
        </p:spPr>
        <p:txBody>
          <a:bodyPr wrap="square" lIns="36000" tIns="36000" rIns="36000" bIns="36000">
            <a:noAutofit/>
          </a:bodyPr>
          <a:lstStyle>
            <a:lvl1pPr marL="0" indent="0" algn="ctr">
              <a:buNone/>
              <a:defRPr sz="1300">
                <a:solidFill>
                  <a:schemeClr val="tx2"/>
                </a:solidFill>
              </a:defRPr>
            </a:lvl1pPr>
          </a:lstStyle>
          <a:p>
            <a:r>
              <a:rPr lang="en-US" noProof="0"/>
              <a:t>Click on the icon to add an image</a:t>
            </a:r>
          </a:p>
        </p:txBody>
      </p:sp>
      <p:sp>
        <p:nvSpPr>
          <p:cNvPr id="7" name="textruta 5">
            <a:extLst>
              <a:ext uri="{FF2B5EF4-FFF2-40B4-BE49-F238E27FC236}">
                <a16:creationId xmlns:a16="http://schemas.microsoft.com/office/drawing/2014/main" id="{DD15DF14-DC97-0441-A680-C2968AEFA306}"/>
              </a:ext>
            </a:extLst>
          </p:cNvPr>
          <p:cNvSpPr txBox="1"/>
          <p:nvPr userDrawn="1"/>
        </p:nvSpPr>
        <p:spPr>
          <a:xfrm>
            <a:off x="12395260" y="1453483"/>
            <a:ext cx="1681523" cy="646331"/>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the textboxes disappears after adding or changing an imag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right click the image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and use – </a:t>
            </a:r>
            <a:r>
              <a:rPr lang="en-US" sz="900" b="1" noProof="0">
                <a:solidFill>
                  <a:schemeClr val="tx1">
                    <a:lumMod val="65000"/>
                    <a:lumOff val="35000"/>
                  </a:schemeClr>
                </a:solidFill>
                <a:latin typeface="Arial" panose="020B0604020202020204" pitchFamily="34" charset="0"/>
                <a:cs typeface="Arial" panose="020B0604020202020204" pitchFamily="34" charset="0"/>
              </a:rPr>
              <a:t>S</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end to back</a:t>
            </a:r>
          </a:p>
        </p:txBody>
      </p:sp>
      <p:sp>
        <p:nvSpPr>
          <p:cNvPr id="8" name="textruta 7">
            <a:extLst>
              <a:ext uri="{FF2B5EF4-FFF2-40B4-BE49-F238E27FC236}">
                <a16:creationId xmlns:a16="http://schemas.microsoft.com/office/drawing/2014/main" id="{E0537F98-ABDA-2B41-84CF-74F9E5F3D4D6}"/>
              </a:ext>
            </a:extLst>
          </p:cNvPr>
          <p:cNvSpPr txBox="1"/>
          <p:nvPr userDrawn="1"/>
        </p:nvSpPr>
        <p:spPr>
          <a:xfrm>
            <a:off x="12395260" y="-12189"/>
            <a:ext cx="1681523" cy="1338828"/>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you need to change the color of the logo, right click outside work area,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Format Background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from context menu and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Solid fill</a:t>
            </a:r>
            <a:r>
              <a:rPr lang="en-US" sz="900" baseline="0" noProof="0">
                <a:solidFill>
                  <a:schemeClr val="tx1">
                    <a:lumMod val="65000"/>
                    <a:lumOff val="35000"/>
                  </a:schemeClr>
                </a:solidFill>
                <a:latin typeface="Arial" panose="020B0604020202020204" pitchFamily="34" charset="0"/>
                <a:cs typeface="Arial" panose="020B0604020202020204" pitchFamily="34" charset="0"/>
              </a:rPr>
              <a:t> –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White or Blue</a:t>
            </a: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p:txBody>
      </p:sp>
      <p:sp>
        <p:nvSpPr>
          <p:cNvPr id="9" name="Rektangel 8">
            <a:extLst>
              <a:ext uri="{FF2B5EF4-FFF2-40B4-BE49-F238E27FC236}">
                <a16:creationId xmlns:a16="http://schemas.microsoft.com/office/drawing/2014/main" id="{2969CE8A-3B45-0F4A-88EC-7412D4614DB6}"/>
              </a:ext>
            </a:extLst>
          </p:cNvPr>
          <p:cNvSpPr/>
          <p:nvPr userDrawn="1"/>
        </p:nvSpPr>
        <p:spPr>
          <a:xfrm>
            <a:off x="13255337" y="926211"/>
            <a:ext cx="341194" cy="305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0" name="Rektangel 9">
            <a:extLst>
              <a:ext uri="{FF2B5EF4-FFF2-40B4-BE49-F238E27FC236}">
                <a16:creationId xmlns:a16="http://schemas.microsoft.com/office/drawing/2014/main" id="{12D09706-7225-E047-9047-32D75A378EAF}"/>
              </a:ext>
            </a:extLst>
          </p:cNvPr>
          <p:cNvSpPr/>
          <p:nvPr userDrawn="1"/>
        </p:nvSpPr>
        <p:spPr>
          <a:xfrm>
            <a:off x="12833410" y="926211"/>
            <a:ext cx="341194" cy="30590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 name="Platshållare för datum 3">
            <a:extLst>
              <a:ext uri="{FF2B5EF4-FFF2-40B4-BE49-F238E27FC236}">
                <a16:creationId xmlns:a16="http://schemas.microsoft.com/office/drawing/2014/main" id="{F74004CF-C3E5-3943-9A9D-0E34F13D0C8C}"/>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tx2"/>
                </a:solidFill>
              </a:defRPr>
            </a:lvl1pPr>
          </a:lstStyle>
          <a:p>
            <a:fld id="{2F9806AD-009B-8D45-82A9-B9E8234B6322}" type="datetime1">
              <a:rPr lang="en-US" noProof="0" smtClean="0"/>
              <a:t>10/17/2023</a:t>
            </a:fld>
            <a:endParaRPr lang="en-US" noProof="0"/>
          </a:p>
        </p:txBody>
      </p:sp>
      <p:sp>
        <p:nvSpPr>
          <p:cNvPr id="12" name="Platshållare för sidfot 4">
            <a:extLst>
              <a:ext uri="{FF2B5EF4-FFF2-40B4-BE49-F238E27FC236}">
                <a16:creationId xmlns:a16="http://schemas.microsoft.com/office/drawing/2014/main" id="{7C78A853-3A62-1149-8811-A74301AE818D}"/>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tx2"/>
                </a:solidFill>
              </a:defRPr>
            </a:lvl1pPr>
          </a:lstStyle>
          <a:p>
            <a:r>
              <a:rPr lang="en-US" noProof="0"/>
              <a:t>Go to header/footer to change text </a:t>
            </a:r>
          </a:p>
        </p:txBody>
      </p:sp>
      <p:sp>
        <p:nvSpPr>
          <p:cNvPr id="13" name="Platshållare för bildnummer 5">
            <a:extLst>
              <a:ext uri="{FF2B5EF4-FFF2-40B4-BE49-F238E27FC236}">
                <a16:creationId xmlns:a16="http://schemas.microsoft.com/office/drawing/2014/main" id="{A5B2B420-68E9-D240-9BB2-E641E29E3B8A}"/>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tx2"/>
                </a:solidFill>
              </a:defRPr>
            </a:lvl1pPr>
          </a:lstStyle>
          <a:p>
            <a:fld id="{EF8DBD5B-30F9-4F9C-AE39-E065C1AC514D}" type="slidenum">
              <a:rPr lang="en-US" noProof="0" smtClean="0"/>
              <a:pPr/>
              <a:t>‹#›</a:t>
            </a:fld>
            <a:endParaRPr lang="en-US" noProof="0"/>
          </a:p>
        </p:txBody>
      </p:sp>
      <p:sp>
        <p:nvSpPr>
          <p:cNvPr id="5" name="Text Placeholder 4">
            <a:extLst>
              <a:ext uri="{FF2B5EF4-FFF2-40B4-BE49-F238E27FC236}">
                <a16:creationId xmlns:a16="http://schemas.microsoft.com/office/drawing/2014/main" id="{802D05FC-CE7D-3C4B-99E7-04400D2B953E}"/>
              </a:ext>
            </a:extLst>
          </p:cNvPr>
          <p:cNvSpPr>
            <a:spLocks noGrp="1"/>
          </p:cNvSpPr>
          <p:nvPr>
            <p:ph type="body" sz="quarter" idx="14" hasCustomPrompt="1"/>
          </p:nvPr>
        </p:nvSpPr>
        <p:spPr>
          <a:xfrm rot="5400000">
            <a:off x="10901730" y="803644"/>
            <a:ext cx="2093913" cy="486626"/>
          </a:xfrm>
        </p:spPr>
        <p:txBody>
          <a:bodyPr lIns="180000" tIns="180000" rIns="0" bIns="180000" anchor="ctr">
            <a:spAutoFit/>
          </a:bodyPr>
          <a:lstStyle>
            <a:lvl1pPr marL="6350" indent="0" algn="l">
              <a:buNone/>
              <a:defRPr sz="800"/>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Tree>
    <p:extLst>
      <p:ext uri="{BB962C8B-B14F-4D97-AF65-F5344CB8AC3E}">
        <p14:creationId xmlns:p14="http://schemas.microsoft.com/office/powerpoint/2010/main" val="17514355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 Chapter Slide Gray with Image">
    <p:bg>
      <p:bgRef idx="1001">
        <a:schemeClr val="bg2"/>
      </p:bgRef>
    </p:bg>
    <p:spTree>
      <p:nvGrpSpPr>
        <p:cNvPr id="1" name=""/>
        <p:cNvGrpSpPr/>
        <p:nvPr/>
      </p:nvGrpSpPr>
      <p:grpSpPr>
        <a:xfrm>
          <a:off x="0" y="0"/>
          <a:ext cx="0" cy="0"/>
          <a:chOff x="0" y="0"/>
          <a:chExt cx="0" cy="0"/>
        </a:xfrm>
      </p:grpSpPr>
      <p:sp>
        <p:nvSpPr>
          <p:cNvPr id="18" name="Picture Placeholder 6">
            <a:extLst>
              <a:ext uri="{FF2B5EF4-FFF2-40B4-BE49-F238E27FC236}">
                <a16:creationId xmlns:a16="http://schemas.microsoft.com/office/drawing/2014/main" id="{106399E1-1DE8-EE44-81BD-42302CB5679F}"/>
              </a:ext>
            </a:extLst>
          </p:cNvPr>
          <p:cNvSpPr>
            <a:spLocks noGrp="1"/>
          </p:cNvSpPr>
          <p:nvPr>
            <p:ph type="pic" sz="quarter" idx="17" hasCustomPrompt="1"/>
          </p:nvPr>
        </p:nvSpPr>
        <p:spPr>
          <a:xfrm>
            <a:off x="8140700" y="0"/>
            <a:ext cx="4051300" cy="6871252"/>
          </a:xfrm>
          <a:solidFill>
            <a:schemeClr val="bg1">
              <a:lumMod val="85000"/>
            </a:schemeClr>
          </a:solidFill>
        </p:spPr>
        <p:txBody>
          <a:bodyPr lIns="36000" tIns="36000"/>
          <a:lstStyle>
            <a:lvl1pPr marL="1270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300">
                <a:solidFill>
                  <a:schemeClr val="tx2"/>
                </a:solidFill>
              </a:defRPr>
            </a:lvl1pPr>
          </a:lstStyle>
          <a:p>
            <a:pPr marL="1270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noProof="0"/>
              <a:t>Click on the icon to add an image</a:t>
            </a:r>
          </a:p>
          <a:p>
            <a:endParaRPr lang="en-US" noProof="0"/>
          </a:p>
        </p:txBody>
      </p:sp>
      <p:sp>
        <p:nvSpPr>
          <p:cNvPr id="21" name="Text Placeholder 18">
            <a:extLst>
              <a:ext uri="{FF2B5EF4-FFF2-40B4-BE49-F238E27FC236}">
                <a16:creationId xmlns:a16="http://schemas.microsoft.com/office/drawing/2014/main" id="{50055E5E-7191-EB40-B5EB-0E791AADEDE6}"/>
              </a:ext>
            </a:extLst>
          </p:cNvPr>
          <p:cNvSpPr>
            <a:spLocks noGrp="1"/>
          </p:cNvSpPr>
          <p:nvPr>
            <p:ph type="body" sz="quarter" idx="14" hasCustomPrompt="1"/>
          </p:nvPr>
        </p:nvSpPr>
        <p:spPr>
          <a:xfrm>
            <a:off x="576000" y="2661138"/>
            <a:ext cx="5520000" cy="982858"/>
          </a:xfrm>
          <a:prstGeom prst="rect">
            <a:avLst/>
          </a:prstGeom>
        </p:spPr>
        <p:txBody>
          <a:bodyPr anchor="b">
            <a:noAutofit/>
          </a:bodyPr>
          <a:lstStyle>
            <a:lvl1pPr marL="0" indent="0">
              <a:lnSpc>
                <a:spcPct val="85000"/>
              </a:lnSpc>
              <a:spcBef>
                <a:spcPts val="0"/>
              </a:spcBef>
              <a:buNone/>
              <a:defRPr sz="3600" spc="40" baseline="0">
                <a:solidFill>
                  <a:schemeClr val="tx2"/>
                </a:solidFill>
                <a:latin typeface="+mj-lt"/>
              </a:defRPr>
            </a:lvl1pPr>
          </a:lstStyle>
          <a:p>
            <a:pPr lvl="0"/>
            <a:r>
              <a:rPr lang="en-US" noProof="0"/>
              <a:t>Click to add a headline </a:t>
            </a:r>
            <a:br>
              <a:rPr lang="en-US" noProof="0"/>
            </a:br>
            <a:r>
              <a:rPr lang="en-US" noProof="0"/>
              <a:t>of maximum two lines</a:t>
            </a:r>
          </a:p>
        </p:txBody>
      </p:sp>
      <p:sp>
        <p:nvSpPr>
          <p:cNvPr id="15" name="textruta 5">
            <a:extLst>
              <a:ext uri="{FF2B5EF4-FFF2-40B4-BE49-F238E27FC236}">
                <a16:creationId xmlns:a16="http://schemas.microsoft.com/office/drawing/2014/main" id="{5BB9A0DA-E9F3-704C-BDCF-FC259DAC129A}"/>
              </a:ext>
            </a:extLst>
          </p:cNvPr>
          <p:cNvSpPr txBox="1"/>
          <p:nvPr userDrawn="1"/>
        </p:nvSpPr>
        <p:spPr>
          <a:xfrm>
            <a:off x="12395260" y="1453483"/>
            <a:ext cx="1681523" cy="646331"/>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the textboxes disappears after adding or changing an imag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right click the image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and use – </a:t>
            </a:r>
            <a:r>
              <a:rPr lang="en-US" sz="900" b="1" noProof="0">
                <a:solidFill>
                  <a:schemeClr val="tx1">
                    <a:lumMod val="65000"/>
                    <a:lumOff val="35000"/>
                  </a:schemeClr>
                </a:solidFill>
                <a:latin typeface="Arial" panose="020B0604020202020204" pitchFamily="34" charset="0"/>
                <a:cs typeface="Arial" panose="020B0604020202020204" pitchFamily="34" charset="0"/>
              </a:rPr>
              <a:t>S</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end to back</a:t>
            </a:r>
          </a:p>
        </p:txBody>
      </p:sp>
      <p:sp>
        <p:nvSpPr>
          <p:cNvPr id="16" name="textruta 15">
            <a:extLst>
              <a:ext uri="{FF2B5EF4-FFF2-40B4-BE49-F238E27FC236}">
                <a16:creationId xmlns:a16="http://schemas.microsoft.com/office/drawing/2014/main" id="{DE5DD293-B27B-7A43-85D7-BD43BA586097}"/>
              </a:ext>
            </a:extLst>
          </p:cNvPr>
          <p:cNvSpPr txBox="1"/>
          <p:nvPr userDrawn="1"/>
        </p:nvSpPr>
        <p:spPr>
          <a:xfrm>
            <a:off x="12395260" y="-12189"/>
            <a:ext cx="1681523" cy="1338828"/>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you need to change the color of the logo, right click outside work area,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Format Background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from context menu and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Solid fill</a:t>
            </a:r>
            <a:r>
              <a:rPr lang="en-US" sz="900" baseline="0" noProof="0">
                <a:solidFill>
                  <a:schemeClr val="tx1">
                    <a:lumMod val="65000"/>
                    <a:lumOff val="35000"/>
                  </a:schemeClr>
                </a:solidFill>
                <a:latin typeface="Arial" panose="020B0604020202020204" pitchFamily="34" charset="0"/>
                <a:cs typeface="Arial" panose="020B0604020202020204" pitchFamily="34" charset="0"/>
              </a:rPr>
              <a:t> –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White or Blue</a:t>
            </a: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p:txBody>
      </p:sp>
      <p:sp>
        <p:nvSpPr>
          <p:cNvPr id="17" name="Rektangel 16">
            <a:extLst>
              <a:ext uri="{FF2B5EF4-FFF2-40B4-BE49-F238E27FC236}">
                <a16:creationId xmlns:a16="http://schemas.microsoft.com/office/drawing/2014/main" id="{A750B50A-9D17-1447-8213-B2935EA38090}"/>
              </a:ext>
            </a:extLst>
          </p:cNvPr>
          <p:cNvSpPr/>
          <p:nvPr userDrawn="1"/>
        </p:nvSpPr>
        <p:spPr>
          <a:xfrm>
            <a:off x="13255337" y="926211"/>
            <a:ext cx="341194" cy="305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9" name="Rektangel 18">
            <a:extLst>
              <a:ext uri="{FF2B5EF4-FFF2-40B4-BE49-F238E27FC236}">
                <a16:creationId xmlns:a16="http://schemas.microsoft.com/office/drawing/2014/main" id="{805FC0CB-297F-3541-A68A-BD42D3187508}"/>
              </a:ext>
            </a:extLst>
          </p:cNvPr>
          <p:cNvSpPr/>
          <p:nvPr userDrawn="1"/>
        </p:nvSpPr>
        <p:spPr>
          <a:xfrm>
            <a:off x="12833410" y="926211"/>
            <a:ext cx="341194" cy="30590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Platshållare för datum 3">
            <a:extLst>
              <a:ext uri="{FF2B5EF4-FFF2-40B4-BE49-F238E27FC236}">
                <a16:creationId xmlns:a16="http://schemas.microsoft.com/office/drawing/2014/main" id="{C1E656AC-D790-6747-BBCB-773F08CF7103}"/>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tx2"/>
                </a:solidFill>
              </a:defRPr>
            </a:lvl1pPr>
          </a:lstStyle>
          <a:p>
            <a:fld id="{2F9806AD-009B-8D45-82A9-B9E8234B6322}" type="datetime1">
              <a:rPr lang="en-US" smtClean="0"/>
              <a:pPr/>
              <a:t>10/17/2023</a:t>
            </a:fld>
            <a:endParaRPr lang="en-US"/>
          </a:p>
        </p:txBody>
      </p:sp>
      <p:sp>
        <p:nvSpPr>
          <p:cNvPr id="13" name="Platshållare för sidfot 4">
            <a:extLst>
              <a:ext uri="{FF2B5EF4-FFF2-40B4-BE49-F238E27FC236}">
                <a16:creationId xmlns:a16="http://schemas.microsoft.com/office/drawing/2014/main" id="{40B4A8CA-2E45-A045-B4BB-84023FBA6237}"/>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tx2"/>
                </a:solidFill>
              </a:defRPr>
            </a:lvl1pPr>
          </a:lstStyle>
          <a:p>
            <a:r>
              <a:rPr lang="en-US"/>
              <a:t>Go to header/footer to change text </a:t>
            </a:r>
          </a:p>
        </p:txBody>
      </p:sp>
      <p:sp>
        <p:nvSpPr>
          <p:cNvPr id="14" name="Platshållare för bildnummer 5">
            <a:extLst>
              <a:ext uri="{FF2B5EF4-FFF2-40B4-BE49-F238E27FC236}">
                <a16:creationId xmlns:a16="http://schemas.microsoft.com/office/drawing/2014/main" id="{C3BE8E53-4D78-2E41-90C4-8F359A150CF6}"/>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tx2"/>
                </a:solidFill>
              </a:defRPr>
            </a:lvl1pPr>
          </a:lstStyle>
          <a:p>
            <a:fld id="{EF8DBD5B-30F9-4F9C-AE39-E065C1AC514D}" type="slidenum">
              <a:rPr lang="en-US" smtClean="0"/>
              <a:pPr/>
              <a:t>‹#›</a:t>
            </a:fld>
            <a:endParaRPr lang="en-US"/>
          </a:p>
        </p:txBody>
      </p:sp>
      <p:grpSp>
        <p:nvGrpSpPr>
          <p:cNvPr id="20" name="Grupp 32">
            <a:extLst>
              <a:ext uri="{FF2B5EF4-FFF2-40B4-BE49-F238E27FC236}">
                <a16:creationId xmlns:a16="http://schemas.microsoft.com/office/drawing/2014/main" id="{AF3ED186-03E9-BF49-9B8A-A3A46C27486D}"/>
              </a:ext>
            </a:extLst>
          </p:cNvPr>
          <p:cNvGrpSpPr/>
          <p:nvPr userDrawn="1"/>
        </p:nvGrpSpPr>
        <p:grpSpPr>
          <a:xfrm>
            <a:off x="576140" y="6451484"/>
            <a:ext cx="615478" cy="91194"/>
            <a:chOff x="576140" y="6451484"/>
            <a:chExt cx="615478" cy="91194"/>
          </a:xfrm>
          <a:solidFill>
            <a:schemeClr val="tx2"/>
          </a:solidFill>
        </p:grpSpPr>
        <p:sp>
          <p:nvSpPr>
            <p:cNvPr id="22" name="Bild 2">
              <a:extLst>
                <a:ext uri="{FF2B5EF4-FFF2-40B4-BE49-F238E27FC236}">
                  <a16:creationId xmlns:a16="http://schemas.microsoft.com/office/drawing/2014/main" id="{5D042DC5-C8A9-A442-8F32-57CD5268BF38}"/>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noProof="0">
                <a:solidFill>
                  <a:schemeClr val="tx2"/>
                </a:solidFill>
              </a:endParaRPr>
            </a:p>
          </p:txBody>
        </p:sp>
        <p:sp>
          <p:nvSpPr>
            <p:cNvPr id="23" name="Bild 2">
              <a:extLst>
                <a:ext uri="{FF2B5EF4-FFF2-40B4-BE49-F238E27FC236}">
                  <a16:creationId xmlns:a16="http://schemas.microsoft.com/office/drawing/2014/main" id="{49009F17-D779-5145-9AC9-A4741D09DA8A}"/>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4" name="Bild 2">
              <a:extLst>
                <a:ext uri="{FF2B5EF4-FFF2-40B4-BE49-F238E27FC236}">
                  <a16:creationId xmlns:a16="http://schemas.microsoft.com/office/drawing/2014/main" id="{EAF2DB5F-29AA-F344-B820-7625411CFA14}"/>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25" name="Bild 2">
              <a:extLst>
                <a:ext uri="{FF2B5EF4-FFF2-40B4-BE49-F238E27FC236}">
                  <a16:creationId xmlns:a16="http://schemas.microsoft.com/office/drawing/2014/main" id="{3D982866-6026-7843-B715-D5599284755A}"/>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6" name="Bild 2">
              <a:extLst>
                <a:ext uri="{FF2B5EF4-FFF2-40B4-BE49-F238E27FC236}">
                  <a16:creationId xmlns:a16="http://schemas.microsoft.com/office/drawing/2014/main" id="{915BDE88-4874-DF43-B095-7EDD389D143D}"/>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noProof="0">
                <a:solidFill>
                  <a:schemeClr val="tx2"/>
                </a:solidFill>
              </a:endParaRPr>
            </a:p>
          </p:txBody>
        </p:sp>
        <p:sp>
          <p:nvSpPr>
            <p:cNvPr id="27" name="Bild 2">
              <a:extLst>
                <a:ext uri="{FF2B5EF4-FFF2-40B4-BE49-F238E27FC236}">
                  <a16:creationId xmlns:a16="http://schemas.microsoft.com/office/drawing/2014/main" id="{E7B51E0D-BC49-D54F-9169-3AEFCD179A18}"/>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28" name="Bild 2">
              <a:extLst>
                <a:ext uri="{FF2B5EF4-FFF2-40B4-BE49-F238E27FC236}">
                  <a16:creationId xmlns:a16="http://schemas.microsoft.com/office/drawing/2014/main" id="{B673B569-AEC2-0F44-9550-4C24E96FE9F4}"/>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grpSp>
      <p:sp>
        <p:nvSpPr>
          <p:cNvPr id="30" name="Text Placeholder 4">
            <a:extLst>
              <a:ext uri="{FF2B5EF4-FFF2-40B4-BE49-F238E27FC236}">
                <a16:creationId xmlns:a16="http://schemas.microsoft.com/office/drawing/2014/main" id="{378DBF66-B159-FE4E-AD15-AFE89C32D5EE}"/>
              </a:ext>
            </a:extLst>
          </p:cNvPr>
          <p:cNvSpPr>
            <a:spLocks noGrp="1"/>
          </p:cNvSpPr>
          <p:nvPr>
            <p:ph type="body" sz="quarter" idx="18" hasCustomPrompt="1"/>
          </p:nvPr>
        </p:nvSpPr>
        <p:spPr>
          <a:xfrm rot="5400000">
            <a:off x="10901730" y="803644"/>
            <a:ext cx="2093913" cy="486626"/>
          </a:xfrm>
        </p:spPr>
        <p:txBody>
          <a:bodyPr lIns="180000" tIns="180000" rIns="0" bIns="180000" anchor="ctr">
            <a:spAutoFit/>
          </a:bodyPr>
          <a:lstStyle>
            <a:lvl1pPr marL="6350" indent="0" algn="l">
              <a:buNone/>
              <a:defRPr sz="800"/>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Tree>
    <p:extLst>
      <p:ext uri="{BB962C8B-B14F-4D97-AF65-F5344CB8AC3E}">
        <p14:creationId xmlns:p14="http://schemas.microsoft.com/office/powerpoint/2010/main" val="2860177100"/>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hapter Slide Image">
    <p:bg>
      <p:bgPr>
        <a:solidFill>
          <a:schemeClr val="bg1"/>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3CBA7EE4-EB8C-8F45-95DB-49CBDE2D978D}"/>
              </a:ext>
            </a:extLst>
          </p:cNvPr>
          <p:cNvSpPr>
            <a:spLocks noGrp="1"/>
          </p:cNvSpPr>
          <p:nvPr>
            <p:ph type="pic" sz="quarter" idx="13" hasCustomPrompt="1"/>
          </p:nvPr>
        </p:nvSpPr>
        <p:spPr>
          <a:xfrm>
            <a:off x="5" y="5"/>
            <a:ext cx="12191997" cy="6857997"/>
          </a:xfrm>
          <a:custGeom>
            <a:avLst/>
            <a:gdLst>
              <a:gd name="connsiteX0" fmla="*/ 1146049 w 12191997"/>
              <a:gd name="connsiteY0" fmla="*/ 6470534 h 6857997"/>
              <a:gd name="connsiteX1" fmla="*/ 1157832 w 12191997"/>
              <a:gd name="connsiteY1" fmla="*/ 6505507 h 6857997"/>
              <a:gd name="connsiteX2" fmla="*/ 1134642 w 12191997"/>
              <a:gd name="connsiteY2" fmla="*/ 6505507 h 6857997"/>
              <a:gd name="connsiteX3" fmla="*/ 788170 w 12191997"/>
              <a:gd name="connsiteY3" fmla="*/ 6470534 h 6857997"/>
              <a:gd name="connsiteX4" fmla="*/ 799953 w 12191997"/>
              <a:gd name="connsiteY4" fmla="*/ 6505507 h 6857997"/>
              <a:gd name="connsiteX5" fmla="*/ 776763 w 12191997"/>
              <a:gd name="connsiteY5" fmla="*/ 6505507 h 6857997"/>
              <a:gd name="connsiteX6" fmla="*/ 1132323 w 12191997"/>
              <a:gd name="connsiteY6" fmla="*/ 6451543 h 6857997"/>
              <a:gd name="connsiteX7" fmla="*/ 1100860 w 12191997"/>
              <a:gd name="connsiteY7" fmla="*/ 6542674 h 6857997"/>
              <a:gd name="connsiteX8" fmla="*/ 1123110 w 12191997"/>
              <a:gd name="connsiteY8" fmla="*/ 6542674 h 6857997"/>
              <a:gd name="connsiteX9" fmla="*/ 1128876 w 12191997"/>
              <a:gd name="connsiteY9" fmla="*/ 6524060 h 6857997"/>
              <a:gd name="connsiteX10" fmla="*/ 1163786 w 12191997"/>
              <a:gd name="connsiteY10" fmla="*/ 6524060 h 6857997"/>
              <a:gd name="connsiteX11" fmla="*/ 1169741 w 12191997"/>
              <a:gd name="connsiteY11" fmla="*/ 6542674 h 6857997"/>
              <a:gd name="connsiteX12" fmla="*/ 1191615 w 12191997"/>
              <a:gd name="connsiteY12" fmla="*/ 6542674 h 6857997"/>
              <a:gd name="connsiteX13" fmla="*/ 1159148 w 12191997"/>
              <a:gd name="connsiteY13" fmla="*/ 6451543 h 6857997"/>
              <a:gd name="connsiteX14" fmla="*/ 961907 w 12191997"/>
              <a:gd name="connsiteY14" fmla="*/ 6451543 h 6857997"/>
              <a:gd name="connsiteX15" fmla="*/ 933640 w 12191997"/>
              <a:gd name="connsiteY15" fmla="*/ 6479246 h 6857997"/>
              <a:gd name="connsiteX16" fmla="*/ 961907 w 12191997"/>
              <a:gd name="connsiteY16" fmla="*/ 6505821 h 6857997"/>
              <a:gd name="connsiteX17" fmla="*/ 983468 w 12191997"/>
              <a:gd name="connsiteY17" fmla="*/ 6505821 h 6857997"/>
              <a:gd name="connsiteX18" fmla="*/ 991678 w 12191997"/>
              <a:gd name="connsiteY18" fmla="*/ 6514282 h 6857997"/>
              <a:gd name="connsiteX19" fmla="*/ 983468 w 12191997"/>
              <a:gd name="connsiteY19" fmla="*/ 6522743 h 6857997"/>
              <a:gd name="connsiteX20" fmla="*/ 937338 w 12191997"/>
              <a:gd name="connsiteY20" fmla="*/ 6522743 h 6857997"/>
              <a:gd name="connsiteX21" fmla="*/ 937338 w 12191997"/>
              <a:gd name="connsiteY21" fmla="*/ 6542674 h 6857997"/>
              <a:gd name="connsiteX22" fmla="*/ 982716 w 12191997"/>
              <a:gd name="connsiteY22" fmla="*/ 6542674 h 6857997"/>
              <a:gd name="connsiteX23" fmla="*/ 1011358 w 12191997"/>
              <a:gd name="connsiteY23" fmla="*/ 6514282 h 6857997"/>
              <a:gd name="connsiteX24" fmla="*/ 986727 w 12191997"/>
              <a:gd name="connsiteY24" fmla="*/ 6487707 h 6857997"/>
              <a:gd name="connsiteX25" fmla="*/ 961907 w 12191997"/>
              <a:gd name="connsiteY25" fmla="*/ 6487707 h 6857997"/>
              <a:gd name="connsiteX26" fmla="*/ 953321 w 12191997"/>
              <a:gd name="connsiteY26" fmla="*/ 6479246 h 6857997"/>
              <a:gd name="connsiteX27" fmla="*/ 961907 w 12191997"/>
              <a:gd name="connsiteY27" fmla="*/ 6470785 h 6857997"/>
              <a:gd name="connsiteX28" fmla="*/ 1004965 w 12191997"/>
              <a:gd name="connsiteY28" fmla="*/ 6470785 h 6857997"/>
              <a:gd name="connsiteX29" fmla="*/ 1004965 w 12191997"/>
              <a:gd name="connsiteY29" fmla="*/ 6451543 h 6857997"/>
              <a:gd name="connsiteX30" fmla="*/ 841570 w 12191997"/>
              <a:gd name="connsiteY30" fmla="*/ 6451543 h 6857997"/>
              <a:gd name="connsiteX31" fmla="*/ 841570 w 12191997"/>
              <a:gd name="connsiteY31" fmla="*/ 6542674 h 6857997"/>
              <a:gd name="connsiteX32" fmla="*/ 862692 w 12191997"/>
              <a:gd name="connsiteY32" fmla="*/ 6542674 h 6857997"/>
              <a:gd name="connsiteX33" fmla="*/ 862692 w 12191997"/>
              <a:gd name="connsiteY33" fmla="*/ 6486454 h 6857997"/>
              <a:gd name="connsiteX34" fmla="*/ 898981 w 12191997"/>
              <a:gd name="connsiteY34" fmla="*/ 6542486 h 6857997"/>
              <a:gd name="connsiteX35" fmla="*/ 898981 w 12191997"/>
              <a:gd name="connsiteY35" fmla="*/ 6542674 h 6857997"/>
              <a:gd name="connsiteX36" fmla="*/ 920855 w 12191997"/>
              <a:gd name="connsiteY36" fmla="*/ 6542674 h 6857997"/>
              <a:gd name="connsiteX37" fmla="*/ 920793 w 12191997"/>
              <a:gd name="connsiteY37" fmla="*/ 6522994 h 6857997"/>
              <a:gd name="connsiteX38" fmla="*/ 920667 w 12191997"/>
              <a:gd name="connsiteY38" fmla="*/ 6451543 h 6857997"/>
              <a:gd name="connsiteX39" fmla="*/ 899671 w 12191997"/>
              <a:gd name="connsiteY39" fmla="*/ 6451543 h 6857997"/>
              <a:gd name="connsiteX40" fmla="*/ 899671 w 12191997"/>
              <a:gd name="connsiteY40" fmla="*/ 6508829 h 6857997"/>
              <a:gd name="connsiteX41" fmla="*/ 863068 w 12191997"/>
              <a:gd name="connsiteY41" fmla="*/ 6451543 h 6857997"/>
              <a:gd name="connsiteX42" fmla="*/ 774444 w 12191997"/>
              <a:gd name="connsiteY42" fmla="*/ 6451543 h 6857997"/>
              <a:gd name="connsiteX43" fmla="*/ 742918 w 12191997"/>
              <a:gd name="connsiteY43" fmla="*/ 6542674 h 6857997"/>
              <a:gd name="connsiteX44" fmla="*/ 765168 w 12191997"/>
              <a:gd name="connsiteY44" fmla="*/ 6542674 h 6857997"/>
              <a:gd name="connsiteX45" fmla="*/ 770934 w 12191997"/>
              <a:gd name="connsiteY45" fmla="*/ 6524060 h 6857997"/>
              <a:gd name="connsiteX46" fmla="*/ 805845 w 12191997"/>
              <a:gd name="connsiteY46" fmla="*/ 6524060 h 6857997"/>
              <a:gd name="connsiteX47" fmla="*/ 811799 w 12191997"/>
              <a:gd name="connsiteY47" fmla="*/ 6542674 h 6857997"/>
              <a:gd name="connsiteX48" fmla="*/ 833735 w 12191997"/>
              <a:gd name="connsiteY48" fmla="*/ 6542674 h 6857997"/>
              <a:gd name="connsiteX49" fmla="*/ 801269 w 12191997"/>
              <a:gd name="connsiteY49" fmla="*/ 6451543 h 6857997"/>
              <a:gd name="connsiteX50" fmla="*/ 604404 w 12191997"/>
              <a:gd name="connsiteY50" fmla="*/ 6451543 h 6857997"/>
              <a:gd name="connsiteX51" fmla="*/ 576137 w 12191997"/>
              <a:gd name="connsiteY51" fmla="*/ 6479246 h 6857997"/>
              <a:gd name="connsiteX52" fmla="*/ 604404 w 12191997"/>
              <a:gd name="connsiteY52" fmla="*/ 6505821 h 6857997"/>
              <a:gd name="connsiteX53" fmla="*/ 625964 w 12191997"/>
              <a:gd name="connsiteY53" fmla="*/ 6505821 h 6857997"/>
              <a:gd name="connsiteX54" fmla="*/ 634174 w 12191997"/>
              <a:gd name="connsiteY54" fmla="*/ 6514282 h 6857997"/>
              <a:gd name="connsiteX55" fmla="*/ 625964 w 12191997"/>
              <a:gd name="connsiteY55" fmla="*/ 6522743 h 6857997"/>
              <a:gd name="connsiteX56" fmla="*/ 579772 w 12191997"/>
              <a:gd name="connsiteY56" fmla="*/ 6522743 h 6857997"/>
              <a:gd name="connsiteX57" fmla="*/ 579772 w 12191997"/>
              <a:gd name="connsiteY57" fmla="*/ 6542674 h 6857997"/>
              <a:gd name="connsiteX58" fmla="*/ 625149 w 12191997"/>
              <a:gd name="connsiteY58" fmla="*/ 6542674 h 6857997"/>
              <a:gd name="connsiteX59" fmla="*/ 653792 w 12191997"/>
              <a:gd name="connsiteY59" fmla="*/ 6514282 h 6857997"/>
              <a:gd name="connsiteX60" fmla="*/ 629223 w 12191997"/>
              <a:gd name="connsiteY60" fmla="*/ 6487707 h 6857997"/>
              <a:gd name="connsiteX61" fmla="*/ 604404 w 12191997"/>
              <a:gd name="connsiteY61" fmla="*/ 6487707 h 6857997"/>
              <a:gd name="connsiteX62" fmla="*/ 595817 w 12191997"/>
              <a:gd name="connsiteY62" fmla="*/ 6479246 h 6857997"/>
              <a:gd name="connsiteX63" fmla="*/ 604404 w 12191997"/>
              <a:gd name="connsiteY63" fmla="*/ 6470785 h 6857997"/>
              <a:gd name="connsiteX64" fmla="*/ 647462 w 12191997"/>
              <a:gd name="connsiteY64" fmla="*/ 6470785 h 6857997"/>
              <a:gd name="connsiteX65" fmla="*/ 647462 w 12191997"/>
              <a:gd name="connsiteY65" fmla="*/ 6451543 h 6857997"/>
              <a:gd name="connsiteX66" fmla="*/ 1023956 w 12191997"/>
              <a:gd name="connsiteY66" fmla="*/ 6451480 h 6857997"/>
              <a:gd name="connsiteX67" fmla="*/ 1023956 w 12191997"/>
              <a:gd name="connsiteY67" fmla="*/ 6542674 h 6857997"/>
              <a:gd name="connsiteX68" fmla="*/ 1045016 w 12191997"/>
              <a:gd name="connsiteY68" fmla="*/ 6542674 h 6857997"/>
              <a:gd name="connsiteX69" fmla="*/ 1045016 w 12191997"/>
              <a:gd name="connsiteY69" fmla="*/ 6504191 h 6857997"/>
              <a:gd name="connsiteX70" fmla="*/ 1074975 w 12191997"/>
              <a:gd name="connsiteY70" fmla="*/ 6542674 h 6857997"/>
              <a:gd name="connsiteX71" fmla="*/ 1099481 w 12191997"/>
              <a:gd name="connsiteY71" fmla="*/ 6542674 h 6857997"/>
              <a:gd name="connsiteX72" fmla="*/ 1065009 w 12191997"/>
              <a:gd name="connsiteY72" fmla="*/ 6497109 h 6857997"/>
              <a:gd name="connsiteX73" fmla="*/ 1099481 w 12191997"/>
              <a:gd name="connsiteY73" fmla="*/ 6451480 h 6857997"/>
              <a:gd name="connsiteX74" fmla="*/ 1074975 w 12191997"/>
              <a:gd name="connsiteY74" fmla="*/ 6451480 h 6857997"/>
              <a:gd name="connsiteX75" fmla="*/ 1045016 w 12191997"/>
              <a:gd name="connsiteY75" fmla="*/ 6489963 h 6857997"/>
              <a:gd name="connsiteX76" fmla="*/ 1045016 w 12191997"/>
              <a:gd name="connsiteY76" fmla="*/ 6451480 h 6857997"/>
              <a:gd name="connsiteX77" fmla="*/ 666077 w 12191997"/>
              <a:gd name="connsiteY77" fmla="*/ 6451480 h 6857997"/>
              <a:gd name="connsiteX78" fmla="*/ 666077 w 12191997"/>
              <a:gd name="connsiteY78" fmla="*/ 6542674 h 6857997"/>
              <a:gd name="connsiteX79" fmla="*/ 687073 w 12191997"/>
              <a:gd name="connsiteY79" fmla="*/ 6542674 h 6857997"/>
              <a:gd name="connsiteX80" fmla="*/ 687073 w 12191997"/>
              <a:gd name="connsiteY80" fmla="*/ 6504191 h 6857997"/>
              <a:gd name="connsiteX81" fmla="*/ 717033 w 12191997"/>
              <a:gd name="connsiteY81" fmla="*/ 6542674 h 6857997"/>
              <a:gd name="connsiteX82" fmla="*/ 741602 w 12191997"/>
              <a:gd name="connsiteY82" fmla="*/ 6542674 h 6857997"/>
              <a:gd name="connsiteX83" fmla="*/ 707067 w 12191997"/>
              <a:gd name="connsiteY83" fmla="*/ 6497109 h 6857997"/>
              <a:gd name="connsiteX84" fmla="*/ 741602 w 12191997"/>
              <a:gd name="connsiteY84" fmla="*/ 6451480 h 6857997"/>
              <a:gd name="connsiteX85" fmla="*/ 717033 w 12191997"/>
              <a:gd name="connsiteY85" fmla="*/ 6451480 h 6857997"/>
              <a:gd name="connsiteX86" fmla="*/ 687073 w 12191997"/>
              <a:gd name="connsiteY86" fmla="*/ 6489963 h 6857997"/>
              <a:gd name="connsiteX87" fmla="*/ 687073 w 12191997"/>
              <a:gd name="connsiteY87" fmla="*/ 6451480 h 6857997"/>
              <a:gd name="connsiteX88" fmla="*/ 0 w 12191997"/>
              <a:gd name="connsiteY88" fmla="*/ 0 h 6857997"/>
              <a:gd name="connsiteX89" fmla="*/ 12191997 w 12191997"/>
              <a:gd name="connsiteY89" fmla="*/ 0 h 6857997"/>
              <a:gd name="connsiteX90" fmla="*/ 12191997 w 12191997"/>
              <a:gd name="connsiteY90" fmla="*/ 6857997 h 6857997"/>
              <a:gd name="connsiteX91" fmla="*/ 0 w 12191997"/>
              <a:gd name="connsiteY91" fmla="*/ 6857997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2191997" h="6857997">
                <a:moveTo>
                  <a:pt x="1146049" y="6470534"/>
                </a:moveTo>
                <a:lnTo>
                  <a:pt x="1157832" y="6505507"/>
                </a:lnTo>
                <a:lnTo>
                  <a:pt x="1134642" y="6505507"/>
                </a:lnTo>
                <a:close/>
                <a:moveTo>
                  <a:pt x="788170" y="6470534"/>
                </a:moveTo>
                <a:lnTo>
                  <a:pt x="799953" y="6505507"/>
                </a:lnTo>
                <a:lnTo>
                  <a:pt x="776763" y="6505507"/>
                </a:lnTo>
                <a:close/>
                <a:moveTo>
                  <a:pt x="1132323" y="6451543"/>
                </a:moveTo>
                <a:lnTo>
                  <a:pt x="1100860" y="6542674"/>
                </a:lnTo>
                <a:lnTo>
                  <a:pt x="1123110" y="6542674"/>
                </a:lnTo>
                <a:lnTo>
                  <a:pt x="1128876" y="6524060"/>
                </a:lnTo>
                <a:lnTo>
                  <a:pt x="1163786" y="6524060"/>
                </a:lnTo>
                <a:lnTo>
                  <a:pt x="1169741" y="6542674"/>
                </a:lnTo>
                <a:lnTo>
                  <a:pt x="1191615" y="6542674"/>
                </a:lnTo>
                <a:lnTo>
                  <a:pt x="1159148" y="6451543"/>
                </a:lnTo>
                <a:close/>
                <a:moveTo>
                  <a:pt x="961907" y="6451543"/>
                </a:moveTo>
                <a:cubicBezTo>
                  <a:pt x="944358" y="6451543"/>
                  <a:pt x="933640" y="6461822"/>
                  <a:pt x="933640" y="6479246"/>
                </a:cubicBezTo>
                <a:cubicBezTo>
                  <a:pt x="933640" y="6496670"/>
                  <a:pt x="945987" y="6505821"/>
                  <a:pt x="961907" y="6505821"/>
                </a:cubicBezTo>
                <a:lnTo>
                  <a:pt x="983468" y="6505821"/>
                </a:lnTo>
                <a:cubicBezTo>
                  <a:pt x="988921" y="6505821"/>
                  <a:pt x="991678" y="6509957"/>
                  <a:pt x="991678" y="6514282"/>
                </a:cubicBezTo>
                <a:cubicBezTo>
                  <a:pt x="991678" y="6518732"/>
                  <a:pt x="988921" y="6522743"/>
                  <a:pt x="983468" y="6522743"/>
                </a:cubicBezTo>
                <a:lnTo>
                  <a:pt x="937338" y="6522743"/>
                </a:lnTo>
                <a:lnTo>
                  <a:pt x="937338" y="6542674"/>
                </a:lnTo>
                <a:lnTo>
                  <a:pt x="982716" y="6542674"/>
                </a:lnTo>
                <a:cubicBezTo>
                  <a:pt x="1000704" y="6542674"/>
                  <a:pt x="1011358" y="6532772"/>
                  <a:pt x="1011358" y="6514282"/>
                </a:cubicBezTo>
                <a:cubicBezTo>
                  <a:pt x="1011358" y="6497610"/>
                  <a:pt x="1000641" y="6487707"/>
                  <a:pt x="986727" y="6487707"/>
                </a:cubicBezTo>
                <a:lnTo>
                  <a:pt x="961907" y="6487707"/>
                </a:lnTo>
                <a:cubicBezTo>
                  <a:pt x="956078" y="6487707"/>
                  <a:pt x="953321" y="6483696"/>
                  <a:pt x="953321" y="6479246"/>
                </a:cubicBezTo>
                <a:cubicBezTo>
                  <a:pt x="953321" y="6474796"/>
                  <a:pt x="956078" y="6470785"/>
                  <a:pt x="961907" y="6470785"/>
                </a:cubicBezTo>
                <a:lnTo>
                  <a:pt x="1004965" y="6470785"/>
                </a:lnTo>
                <a:lnTo>
                  <a:pt x="1004965" y="6451543"/>
                </a:lnTo>
                <a:close/>
                <a:moveTo>
                  <a:pt x="841570" y="6451543"/>
                </a:moveTo>
                <a:lnTo>
                  <a:pt x="841570" y="6542674"/>
                </a:lnTo>
                <a:lnTo>
                  <a:pt x="862692" y="6542674"/>
                </a:lnTo>
                <a:lnTo>
                  <a:pt x="862692" y="6486454"/>
                </a:lnTo>
                <a:lnTo>
                  <a:pt x="898981" y="6542486"/>
                </a:lnTo>
                <a:lnTo>
                  <a:pt x="898981" y="6542674"/>
                </a:lnTo>
                <a:lnTo>
                  <a:pt x="920855" y="6542674"/>
                </a:lnTo>
                <a:lnTo>
                  <a:pt x="920793" y="6522994"/>
                </a:lnTo>
                <a:lnTo>
                  <a:pt x="920667" y="6451543"/>
                </a:lnTo>
                <a:lnTo>
                  <a:pt x="899671" y="6451543"/>
                </a:lnTo>
                <a:lnTo>
                  <a:pt x="899671" y="6508829"/>
                </a:lnTo>
                <a:lnTo>
                  <a:pt x="863068" y="6451543"/>
                </a:lnTo>
                <a:close/>
                <a:moveTo>
                  <a:pt x="774444" y="6451543"/>
                </a:moveTo>
                <a:lnTo>
                  <a:pt x="742918" y="6542674"/>
                </a:lnTo>
                <a:lnTo>
                  <a:pt x="765168" y="6542674"/>
                </a:lnTo>
                <a:lnTo>
                  <a:pt x="770934" y="6524060"/>
                </a:lnTo>
                <a:lnTo>
                  <a:pt x="805845" y="6524060"/>
                </a:lnTo>
                <a:lnTo>
                  <a:pt x="811799" y="6542674"/>
                </a:lnTo>
                <a:lnTo>
                  <a:pt x="833735" y="6542674"/>
                </a:lnTo>
                <a:lnTo>
                  <a:pt x="801269" y="6451543"/>
                </a:lnTo>
                <a:close/>
                <a:moveTo>
                  <a:pt x="604404" y="6451543"/>
                </a:moveTo>
                <a:cubicBezTo>
                  <a:pt x="586792" y="6451543"/>
                  <a:pt x="576137" y="6461822"/>
                  <a:pt x="576137" y="6479246"/>
                </a:cubicBezTo>
                <a:cubicBezTo>
                  <a:pt x="576137" y="6496670"/>
                  <a:pt x="588484" y="6505821"/>
                  <a:pt x="604404" y="6505821"/>
                </a:cubicBezTo>
                <a:lnTo>
                  <a:pt x="625964" y="6505821"/>
                </a:lnTo>
                <a:cubicBezTo>
                  <a:pt x="631417" y="6505821"/>
                  <a:pt x="634174" y="6509957"/>
                  <a:pt x="634174" y="6514282"/>
                </a:cubicBezTo>
                <a:cubicBezTo>
                  <a:pt x="634174" y="6518732"/>
                  <a:pt x="631417" y="6522743"/>
                  <a:pt x="625964" y="6522743"/>
                </a:cubicBezTo>
                <a:lnTo>
                  <a:pt x="579772" y="6522743"/>
                </a:lnTo>
                <a:lnTo>
                  <a:pt x="579772" y="6542674"/>
                </a:lnTo>
                <a:lnTo>
                  <a:pt x="625149" y="6542674"/>
                </a:lnTo>
                <a:cubicBezTo>
                  <a:pt x="643137" y="6542674"/>
                  <a:pt x="653792" y="6532772"/>
                  <a:pt x="653792" y="6514282"/>
                </a:cubicBezTo>
                <a:cubicBezTo>
                  <a:pt x="653792" y="6497610"/>
                  <a:pt x="643137" y="6487707"/>
                  <a:pt x="629223" y="6487707"/>
                </a:cubicBezTo>
                <a:lnTo>
                  <a:pt x="604404" y="6487707"/>
                </a:lnTo>
                <a:cubicBezTo>
                  <a:pt x="598575" y="6487707"/>
                  <a:pt x="595817" y="6483696"/>
                  <a:pt x="595817" y="6479246"/>
                </a:cubicBezTo>
                <a:cubicBezTo>
                  <a:pt x="595817" y="6474796"/>
                  <a:pt x="598575" y="6470785"/>
                  <a:pt x="604404" y="6470785"/>
                </a:cubicBezTo>
                <a:lnTo>
                  <a:pt x="647462" y="6470785"/>
                </a:lnTo>
                <a:lnTo>
                  <a:pt x="647462" y="6451543"/>
                </a:lnTo>
                <a:close/>
                <a:moveTo>
                  <a:pt x="1023956" y="6451480"/>
                </a:moveTo>
                <a:lnTo>
                  <a:pt x="1023956" y="6542674"/>
                </a:lnTo>
                <a:lnTo>
                  <a:pt x="1045016" y="6542674"/>
                </a:lnTo>
                <a:lnTo>
                  <a:pt x="1045016" y="6504191"/>
                </a:lnTo>
                <a:lnTo>
                  <a:pt x="1074975" y="6542674"/>
                </a:lnTo>
                <a:lnTo>
                  <a:pt x="1099481" y="6542674"/>
                </a:lnTo>
                <a:lnTo>
                  <a:pt x="1065009" y="6497109"/>
                </a:lnTo>
                <a:lnTo>
                  <a:pt x="1099481" y="6451480"/>
                </a:lnTo>
                <a:lnTo>
                  <a:pt x="1074975" y="6451480"/>
                </a:lnTo>
                <a:lnTo>
                  <a:pt x="1045016" y="6489963"/>
                </a:lnTo>
                <a:lnTo>
                  <a:pt x="1045016" y="6451480"/>
                </a:lnTo>
                <a:close/>
                <a:moveTo>
                  <a:pt x="666077" y="6451480"/>
                </a:moveTo>
                <a:lnTo>
                  <a:pt x="666077" y="6542674"/>
                </a:lnTo>
                <a:lnTo>
                  <a:pt x="687073" y="6542674"/>
                </a:lnTo>
                <a:lnTo>
                  <a:pt x="687073" y="6504191"/>
                </a:lnTo>
                <a:lnTo>
                  <a:pt x="717033" y="6542674"/>
                </a:lnTo>
                <a:lnTo>
                  <a:pt x="741602" y="6542674"/>
                </a:lnTo>
                <a:lnTo>
                  <a:pt x="707067" y="6497109"/>
                </a:lnTo>
                <a:lnTo>
                  <a:pt x="741602" y="6451480"/>
                </a:lnTo>
                <a:lnTo>
                  <a:pt x="717033" y="6451480"/>
                </a:lnTo>
                <a:lnTo>
                  <a:pt x="687073" y="6489963"/>
                </a:lnTo>
                <a:lnTo>
                  <a:pt x="687073" y="6451480"/>
                </a:lnTo>
                <a:close/>
                <a:moveTo>
                  <a:pt x="0" y="0"/>
                </a:moveTo>
                <a:lnTo>
                  <a:pt x="12191997" y="0"/>
                </a:lnTo>
                <a:lnTo>
                  <a:pt x="12191997" y="6857997"/>
                </a:lnTo>
                <a:lnTo>
                  <a:pt x="0" y="6857997"/>
                </a:lnTo>
                <a:close/>
              </a:path>
            </a:pathLst>
          </a:custGeom>
          <a:solidFill>
            <a:srgbClr val="ECECEC"/>
          </a:solidFill>
        </p:spPr>
        <p:txBody>
          <a:bodyPr wrap="square" lIns="36000" tIns="36000" rIns="36000" bIns="36000">
            <a:noAutofit/>
          </a:bodyPr>
          <a:lstStyle>
            <a:lvl1pPr marL="0" indent="0" algn="ctr">
              <a:buNone/>
              <a:defRPr sz="1300">
                <a:solidFill>
                  <a:schemeClr val="tx2"/>
                </a:solidFill>
              </a:defRPr>
            </a:lvl1pPr>
          </a:lstStyle>
          <a:p>
            <a:r>
              <a:rPr lang="en-US" noProof="0"/>
              <a:t>If the image placeholder icon is underneath the text box, select the gray placeholder box and then go to insert in the top menu and add picture. Do NOT move the textbox!</a:t>
            </a:r>
          </a:p>
          <a:p>
            <a:endParaRPr lang="en-US" noProof="0"/>
          </a:p>
        </p:txBody>
      </p:sp>
      <p:sp>
        <p:nvSpPr>
          <p:cNvPr id="11" name="Text Placeholder 18">
            <a:extLst>
              <a:ext uri="{FF2B5EF4-FFF2-40B4-BE49-F238E27FC236}">
                <a16:creationId xmlns:a16="http://schemas.microsoft.com/office/drawing/2014/main" id="{9E632AA3-7BD2-F044-BBB9-1D2351901556}"/>
              </a:ext>
            </a:extLst>
          </p:cNvPr>
          <p:cNvSpPr>
            <a:spLocks noGrp="1"/>
          </p:cNvSpPr>
          <p:nvPr>
            <p:ph type="body" sz="quarter" idx="14" hasCustomPrompt="1"/>
          </p:nvPr>
        </p:nvSpPr>
        <p:spPr>
          <a:xfrm>
            <a:off x="576000" y="2661138"/>
            <a:ext cx="5520000" cy="982858"/>
          </a:xfrm>
          <a:prstGeom prst="rect">
            <a:avLst/>
          </a:prstGeom>
        </p:spPr>
        <p:txBody>
          <a:bodyPr anchor="b">
            <a:noAutofit/>
          </a:bodyPr>
          <a:lstStyle>
            <a:lvl1pPr marL="0" indent="0">
              <a:lnSpc>
                <a:spcPct val="85000"/>
              </a:lnSpc>
              <a:spcBef>
                <a:spcPts val="0"/>
              </a:spcBef>
              <a:buNone/>
              <a:defRPr sz="3600" spc="40" baseline="0">
                <a:solidFill>
                  <a:schemeClr val="bg1"/>
                </a:solidFill>
                <a:latin typeface="+mj-lt"/>
              </a:defRPr>
            </a:lvl1pPr>
          </a:lstStyle>
          <a:p>
            <a:pPr lvl="0"/>
            <a:r>
              <a:rPr lang="en-US" noProof="0"/>
              <a:t>Click to add a headline </a:t>
            </a:r>
            <a:br>
              <a:rPr lang="en-US" noProof="0"/>
            </a:br>
            <a:r>
              <a:rPr lang="en-US" noProof="0"/>
              <a:t>of maximum two lines</a:t>
            </a:r>
          </a:p>
        </p:txBody>
      </p:sp>
      <p:sp>
        <p:nvSpPr>
          <p:cNvPr id="9" name="textruta 5">
            <a:extLst>
              <a:ext uri="{FF2B5EF4-FFF2-40B4-BE49-F238E27FC236}">
                <a16:creationId xmlns:a16="http://schemas.microsoft.com/office/drawing/2014/main" id="{FC83AE35-878B-F54A-AFFF-15CF59CCA970}"/>
              </a:ext>
            </a:extLst>
          </p:cNvPr>
          <p:cNvSpPr txBox="1"/>
          <p:nvPr userDrawn="1"/>
        </p:nvSpPr>
        <p:spPr>
          <a:xfrm>
            <a:off x="12395260" y="1453483"/>
            <a:ext cx="1681523" cy="646331"/>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the textboxes disappears after adding or changing an imag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right click the image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and use – </a:t>
            </a:r>
            <a:r>
              <a:rPr lang="en-US" sz="900" b="1" noProof="0">
                <a:solidFill>
                  <a:schemeClr val="tx1">
                    <a:lumMod val="65000"/>
                    <a:lumOff val="35000"/>
                  </a:schemeClr>
                </a:solidFill>
                <a:latin typeface="Arial" panose="020B0604020202020204" pitchFamily="34" charset="0"/>
                <a:cs typeface="Arial" panose="020B0604020202020204" pitchFamily="34" charset="0"/>
              </a:rPr>
              <a:t>S</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end to back</a:t>
            </a:r>
          </a:p>
        </p:txBody>
      </p:sp>
      <p:sp>
        <p:nvSpPr>
          <p:cNvPr id="10" name="textruta 9">
            <a:extLst>
              <a:ext uri="{FF2B5EF4-FFF2-40B4-BE49-F238E27FC236}">
                <a16:creationId xmlns:a16="http://schemas.microsoft.com/office/drawing/2014/main" id="{8847623D-7CF8-354F-90BA-8A886C948F9B}"/>
              </a:ext>
            </a:extLst>
          </p:cNvPr>
          <p:cNvSpPr txBox="1"/>
          <p:nvPr userDrawn="1"/>
        </p:nvSpPr>
        <p:spPr>
          <a:xfrm>
            <a:off x="12395260" y="-12189"/>
            <a:ext cx="1681523" cy="1338828"/>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you need to change the color of the logo, right click outside work area,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Format Background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from context menu and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Solid fill</a:t>
            </a:r>
            <a:r>
              <a:rPr lang="en-US" sz="900" baseline="0" noProof="0">
                <a:solidFill>
                  <a:schemeClr val="tx1">
                    <a:lumMod val="65000"/>
                    <a:lumOff val="35000"/>
                  </a:schemeClr>
                </a:solidFill>
                <a:latin typeface="Arial" panose="020B0604020202020204" pitchFamily="34" charset="0"/>
                <a:cs typeface="Arial" panose="020B0604020202020204" pitchFamily="34" charset="0"/>
              </a:rPr>
              <a:t> –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White or Blue</a:t>
            </a: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p:txBody>
      </p:sp>
      <p:sp>
        <p:nvSpPr>
          <p:cNvPr id="12" name="Rektangel 11">
            <a:extLst>
              <a:ext uri="{FF2B5EF4-FFF2-40B4-BE49-F238E27FC236}">
                <a16:creationId xmlns:a16="http://schemas.microsoft.com/office/drawing/2014/main" id="{3B9D092F-3826-0D44-BE12-8BDC39E229EF}"/>
              </a:ext>
            </a:extLst>
          </p:cNvPr>
          <p:cNvSpPr/>
          <p:nvPr userDrawn="1"/>
        </p:nvSpPr>
        <p:spPr>
          <a:xfrm>
            <a:off x="13255337" y="926211"/>
            <a:ext cx="341194" cy="305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Rektangel 12">
            <a:extLst>
              <a:ext uri="{FF2B5EF4-FFF2-40B4-BE49-F238E27FC236}">
                <a16:creationId xmlns:a16="http://schemas.microsoft.com/office/drawing/2014/main" id="{EAF63052-34D6-4B45-BFD9-6062FD759EA4}"/>
              </a:ext>
            </a:extLst>
          </p:cNvPr>
          <p:cNvSpPr/>
          <p:nvPr userDrawn="1"/>
        </p:nvSpPr>
        <p:spPr>
          <a:xfrm>
            <a:off x="12833410" y="926211"/>
            <a:ext cx="341194" cy="30590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Platshållare för datum 3">
            <a:extLst>
              <a:ext uri="{FF2B5EF4-FFF2-40B4-BE49-F238E27FC236}">
                <a16:creationId xmlns:a16="http://schemas.microsoft.com/office/drawing/2014/main" id="{F4416C58-A6AA-C94C-8C8A-86F42C888BE2}"/>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bg1"/>
                </a:solidFill>
              </a:defRPr>
            </a:lvl1pPr>
          </a:lstStyle>
          <a:p>
            <a:fld id="{2F9806AD-009B-8D45-82A9-B9E8234B6322}" type="datetime1">
              <a:rPr lang="en-US" smtClean="0"/>
              <a:pPr/>
              <a:t>10/17/2023</a:t>
            </a:fld>
            <a:endParaRPr lang="en-US"/>
          </a:p>
        </p:txBody>
      </p:sp>
      <p:sp>
        <p:nvSpPr>
          <p:cNvPr id="15" name="Platshållare för sidfot 4">
            <a:extLst>
              <a:ext uri="{FF2B5EF4-FFF2-40B4-BE49-F238E27FC236}">
                <a16:creationId xmlns:a16="http://schemas.microsoft.com/office/drawing/2014/main" id="{AADA9FE3-6667-C34F-A267-E7ABD2B40D83}"/>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bg1"/>
                </a:solidFill>
              </a:defRPr>
            </a:lvl1pPr>
          </a:lstStyle>
          <a:p>
            <a:r>
              <a:rPr lang="en-US"/>
              <a:t>Go to header/footer to change text </a:t>
            </a:r>
          </a:p>
        </p:txBody>
      </p:sp>
      <p:sp>
        <p:nvSpPr>
          <p:cNvPr id="16" name="Platshållare för bildnummer 5">
            <a:extLst>
              <a:ext uri="{FF2B5EF4-FFF2-40B4-BE49-F238E27FC236}">
                <a16:creationId xmlns:a16="http://schemas.microsoft.com/office/drawing/2014/main" id="{614442EC-CDBE-5D44-AF43-E14C53E2E856}"/>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bg1"/>
                </a:solidFill>
              </a:defRPr>
            </a:lvl1pPr>
          </a:lstStyle>
          <a:p>
            <a:fld id="{EF8DBD5B-30F9-4F9C-AE39-E065C1AC514D}" type="slidenum">
              <a:rPr lang="en-US" smtClean="0"/>
              <a:pPr/>
              <a:t>‹#›</a:t>
            </a:fld>
            <a:endParaRPr lang="en-US"/>
          </a:p>
        </p:txBody>
      </p:sp>
      <p:sp>
        <p:nvSpPr>
          <p:cNvPr id="18" name="Text Placeholder 4">
            <a:extLst>
              <a:ext uri="{FF2B5EF4-FFF2-40B4-BE49-F238E27FC236}">
                <a16:creationId xmlns:a16="http://schemas.microsoft.com/office/drawing/2014/main" id="{A821A6FF-8152-7648-AA0D-49C723505D2B}"/>
              </a:ext>
            </a:extLst>
          </p:cNvPr>
          <p:cNvSpPr>
            <a:spLocks noGrp="1"/>
          </p:cNvSpPr>
          <p:nvPr>
            <p:ph type="body" sz="quarter" idx="15" hasCustomPrompt="1"/>
          </p:nvPr>
        </p:nvSpPr>
        <p:spPr>
          <a:xfrm rot="5400000">
            <a:off x="10901730" y="803644"/>
            <a:ext cx="2093913" cy="486626"/>
          </a:xfrm>
        </p:spPr>
        <p:txBody>
          <a:bodyPr lIns="180000" tIns="180000" rIns="0" bIns="180000" anchor="ctr">
            <a:spAutoFit/>
          </a:bodyPr>
          <a:lstStyle>
            <a:lvl1pPr marL="6350" indent="0" algn="l">
              <a:buNone/>
              <a:defRPr sz="800">
                <a:solidFill>
                  <a:schemeClr val="bg1"/>
                </a:solidFill>
              </a:defRPr>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Tree>
    <p:extLst>
      <p:ext uri="{BB962C8B-B14F-4D97-AF65-F5344CB8AC3E}">
        <p14:creationId xmlns:p14="http://schemas.microsoft.com/office/powerpoint/2010/main" val="15155505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Agenda Image">
    <p:bg>
      <p:bgPr>
        <a:solidFill>
          <a:schemeClr val="tx2"/>
        </a:solidFill>
        <a:effectLst/>
      </p:bgPr>
    </p:bg>
    <p:spTree>
      <p:nvGrpSpPr>
        <p:cNvPr id="1" name=""/>
        <p:cNvGrpSpPr/>
        <p:nvPr/>
      </p:nvGrpSpPr>
      <p:grpSpPr>
        <a:xfrm>
          <a:off x="0" y="0"/>
          <a:ext cx="0" cy="0"/>
          <a:chOff x="0" y="0"/>
          <a:chExt cx="0" cy="0"/>
        </a:xfrm>
      </p:grpSpPr>
      <p:sp>
        <p:nvSpPr>
          <p:cNvPr id="39" name="Picture Placeholder 38">
            <a:extLst>
              <a:ext uri="{FF2B5EF4-FFF2-40B4-BE49-F238E27FC236}">
                <a16:creationId xmlns:a16="http://schemas.microsoft.com/office/drawing/2014/main" id="{9E321D00-36B4-854A-96FD-995EBC9F18B5}"/>
              </a:ext>
            </a:extLst>
          </p:cNvPr>
          <p:cNvSpPr>
            <a:spLocks noGrp="1"/>
          </p:cNvSpPr>
          <p:nvPr>
            <p:ph type="pic" sz="quarter" idx="13" hasCustomPrompt="1"/>
          </p:nvPr>
        </p:nvSpPr>
        <p:spPr>
          <a:xfrm>
            <a:off x="5" y="5"/>
            <a:ext cx="12191997" cy="6857997"/>
          </a:xfrm>
          <a:custGeom>
            <a:avLst/>
            <a:gdLst>
              <a:gd name="connsiteX0" fmla="*/ 1146049 w 12191997"/>
              <a:gd name="connsiteY0" fmla="*/ 6470534 h 6857997"/>
              <a:gd name="connsiteX1" fmla="*/ 1157832 w 12191997"/>
              <a:gd name="connsiteY1" fmla="*/ 6505507 h 6857997"/>
              <a:gd name="connsiteX2" fmla="*/ 1134642 w 12191997"/>
              <a:gd name="connsiteY2" fmla="*/ 6505507 h 6857997"/>
              <a:gd name="connsiteX3" fmla="*/ 788170 w 12191997"/>
              <a:gd name="connsiteY3" fmla="*/ 6470534 h 6857997"/>
              <a:gd name="connsiteX4" fmla="*/ 799953 w 12191997"/>
              <a:gd name="connsiteY4" fmla="*/ 6505507 h 6857997"/>
              <a:gd name="connsiteX5" fmla="*/ 776763 w 12191997"/>
              <a:gd name="connsiteY5" fmla="*/ 6505507 h 6857997"/>
              <a:gd name="connsiteX6" fmla="*/ 1132323 w 12191997"/>
              <a:gd name="connsiteY6" fmla="*/ 6451543 h 6857997"/>
              <a:gd name="connsiteX7" fmla="*/ 1100860 w 12191997"/>
              <a:gd name="connsiteY7" fmla="*/ 6542674 h 6857997"/>
              <a:gd name="connsiteX8" fmla="*/ 1123110 w 12191997"/>
              <a:gd name="connsiteY8" fmla="*/ 6542674 h 6857997"/>
              <a:gd name="connsiteX9" fmla="*/ 1128876 w 12191997"/>
              <a:gd name="connsiteY9" fmla="*/ 6524060 h 6857997"/>
              <a:gd name="connsiteX10" fmla="*/ 1163786 w 12191997"/>
              <a:gd name="connsiteY10" fmla="*/ 6524060 h 6857997"/>
              <a:gd name="connsiteX11" fmla="*/ 1169741 w 12191997"/>
              <a:gd name="connsiteY11" fmla="*/ 6542674 h 6857997"/>
              <a:gd name="connsiteX12" fmla="*/ 1191615 w 12191997"/>
              <a:gd name="connsiteY12" fmla="*/ 6542674 h 6857997"/>
              <a:gd name="connsiteX13" fmla="*/ 1159148 w 12191997"/>
              <a:gd name="connsiteY13" fmla="*/ 6451543 h 6857997"/>
              <a:gd name="connsiteX14" fmla="*/ 961907 w 12191997"/>
              <a:gd name="connsiteY14" fmla="*/ 6451543 h 6857997"/>
              <a:gd name="connsiteX15" fmla="*/ 933640 w 12191997"/>
              <a:gd name="connsiteY15" fmla="*/ 6479246 h 6857997"/>
              <a:gd name="connsiteX16" fmla="*/ 961907 w 12191997"/>
              <a:gd name="connsiteY16" fmla="*/ 6505821 h 6857997"/>
              <a:gd name="connsiteX17" fmla="*/ 983468 w 12191997"/>
              <a:gd name="connsiteY17" fmla="*/ 6505821 h 6857997"/>
              <a:gd name="connsiteX18" fmla="*/ 991678 w 12191997"/>
              <a:gd name="connsiteY18" fmla="*/ 6514282 h 6857997"/>
              <a:gd name="connsiteX19" fmla="*/ 983468 w 12191997"/>
              <a:gd name="connsiteY19" fmla="*/ 6522743 h 6857997"/>
              <a:gd name="connsiteX20" fmla="*/ 937338 w 12191997"/>
              <a:gd name="connsiteY20" fmla="*/ 6522743 h 6857997"/>
              <a:gd name="connsiteX21" fmla="*/ 937338 w 12191997"/>
              <a:gd name="connsiteY21" fmla="*/ 6542674 h 6857997"/>
              <a:gd name="connsiteX22" fmla="*/ 982716 w 12191997"/>
              <a:gd name="connsiteY22" fmla="*/ 6542674 h 6857997"/>
              <a:gd name="connsiteX23" fmla="*/ 1011358 w 12191997"/>
              <a:gd name="connsiteY23" fmla="*/ 6514282 h 6857997"/>
              <a:gd name="connsiteX24" fmla="*/ 986727 w 12191997"/>
              <a:gd name="connsiteY24" fmla="*/ 6487707 h 6857997"/>
              <a:gd name="connsiteX25" fmla="*/ 961907 w 12191997"/>
              <a:gd name="connsiteY25" fmla="*/ 6487707 h 6857997"/>
              <a:gd name="connsiteX26" fmla="*/ 953321 w 12191997"/>
              <a:gd name="connsiteY26" fmla="*/ 6479246 h 6857997"/>
              <a:gd name="connsiteX27" fmla="*/ 961907 w 12191997"/>
              <a:gd name="connsiteY27" fmla="*/ 6470785 h 6857997"/>
              <a:gd name="connsiteX28" fmla="*/ 1004965 w 12191997"/>
              <a:gd name="connsiteY28" fmla="*/ 6470785 h 6857997"/>
              <a:gd name="connsiteX29" fmla="*/ 1004965 w 12191997"/>
              <a:gd name="connsiteY29" fmla="*/ 6451543 h 6857997"/>
              <a:gd name="connsiteX30" fmla="*/ 841570 w 12191997"/>
              <a:gd name="connsiteY30" fmla="*/ 6451543 h 6857997"/>
              <a:gd name="connsiteX31" fmla="*/ 841570 w 12191997"/>
              <a:gd name="connsiteY31" fmla="*/ 6542674 h 6857997"/>
              <a:gd name="connsiteX32" fmla="*/ 862692 w 12191997"/>
              <a:gd name="connsiteY32" fmla="*/ 6542674 h 6857997"/>
              <a:gd name="connsiteX33" fmla="*/ 862692 w 12191997"/>
              <a:gd name="connsiteY33" fmla="*/ 6486454 h 6857997"/>
              <a:gd name="connsiteX34" fmla="*/ 898981 w 12191997"/>
              <a:gd name="connsiteY34" fmla="*/ 6542486 h 6857997"/>
              <a:gd name="connsiteX35" fmla="*/ 898981 w 12191997"/>
              <a:gd name="connsiteY35" fmla="*/ 6542674 h 6857997"/>
              <a:gd name="connsiteX36" fmla="*/ 920855 w 12191997"/>
              <a:gd name="connsiteY36" fmla="*/ 6542674 h 6857997"/>
              <a:gd name="connsiteX37" fmla="*/ 920793 w 12191997"/>
              <a:gd name="connsiteY37" fmla="*/ 6522994 h 6857997"/>
              <a:gd name="connsiteX38" fmla="*/ 920667 w 12191997"/>
              <a:gd name="connsiteY38" fmla="*/ 6451543 h 6857997"/>
              <a:gd name="connsiteX39" fmla="*/ 899671 w 12191997"/>
              <a:gd name="connsiteY39" fmla="*/ 6451543 h 6857997"/>
              <a:gd name="connsiteX40" fmla="*/ 899671 w 12191997"/>
              <a:gd name="connsiteY40" fmla="*/ 6508829 h 6857997"/>
              <a:gd name="connsiteX41" fmla="*/ 863068 w 12191997"/>
              <a:gd name="connsiteY41" fmla="*/ 6451543 h 6857997"/>
              <a:gd name="connsiteX42" fmla="*/ 774444 w 12191997"/>
              <a:gd name="connsiteY42" fmla="*/ 6451543 h 6857997"/>
              <a:gd name="connsiteX43" fmla="*/ 742918 w 12191997"/>
              <a:gd name="connsiteY43" fmla="*/ 6542674 h 6857997"/>
              <a:gd name="connsiteX44" fmla="*/ 765168 w 12191997"/>
              <a:gd name="connsiteY44" fmla="*/ 6542674 h 6857997"/>
              <a:gd name="connsiteX45" fmla="*/ 770934 w 12191997"/>
              <a:gd name="connsiteY45" fmla="*/ 6524060 h 6857997"/>
              <a:gd name="connsiteX46" fmla="*/ 805845 w 12191997"/>
              <a:gd name="connsiteY46" fmla="*/ 6524060 h 6857997"/>
              <a:gd name="connsiteX47" fmla="*/ 811799 w 12191997"/>
              <a:gd name="connsiteY47" fmla="*/ 6542674 h 6857997"/>
              <a:gd name="connsiteX48" fmla="*/ 833735 w 12191997"/>
              <a:gd name="connsiteY48" fmla="*/ 6542674 h 6857997"/>
              <a:gd name="connsiteX49" fmla="*/ 801269 w 12191997"/>
              <a:gd name="connsiteY49" fmla="*/ 6451543 h 6857997"/>
              <a:gd name="connsiteX50" fmla="*/ 604404 w 12191997"/>
              <a:gd name="connsiteY50" fmla="*/ 6451543 h 6857997"/>
              <a:gd name="connsiteX51" fmla="*/ 576137 w 12191997"/>
              <a:gd name="connsiteY51" fmla="*/ 6479246 h 6857997"/>
              <a:gd name="connsiteX52" fmla="*/ 604404 w 12191997"/>
              <a:gd name="connsiteY52" fmla="*/ 6505821 h 6857997"/>
              <a:gd name="connsiteX53" fmla="*/ 625964 w 12191997"/>
              <a:gd name="connsiteY53" fmla="*/ 6505821 h 6857997"/>
              <a:gd name="connsiteX54" fmla="*/ 634174 w 12191997"/>
              <a:gd name="connsiteY54" fmla="*/ 6514282 h 6857997"/>
              <a:gd name="connsiteX55" fmla="*/ 625964 w 12191997"/>
              <a:gd name="connsiteY55" fmla="*/ 6522743 h 6857997"/>
              <a:gd name="connsiteX56" fmla="*/ 579772 w 12191997"/>
              <a:gd name="connsiteY56" fmla="*/ 6522743 h 6857997"/>
              <a:gd name="connsiteX57" fmla="*/ 579772 w 12191997"/>
              <a:gd name="connsiteY57" fmla="*/ 6542674 h 6857997"/>
              <a:gd name="connsiteX58" fmla="*/ 625149 w 12191997"/>
              <a:gd name="connsiteY58" fmla="*/ 6542674 h 6857997"/>
              <a:gd name="connsiteX59" fmla="*/ 653792 w 12191997"/>
              <a:gd name="connsiteY59" fmla="*/ 6514282 h 6857997"/>
              <a:gd name="connsiteX60" fmla="*/ 629223 w 12191997"/>
              <a:gd name="connsiteY60" fmla="*/ 6487707 h 6857997"/>
              <a:gd name="connsiteX61" fmla="*/ 604404 w 12191997"/>
              <a:gd name="connsiteY61" fmla="*/ 6487707 h 6857997"/>
              <a:gd name="connsiteX62" fmla="*/ 595817 w 12191997"/>
              <a:gd name="connsiteY62" fmla="*/ 6479246 h 6857997"/>
              <a:gd name="connsiteX63" fmla="*/ 604404 w 12191997"/>
              <a:gd name="connsiteY63" fmla="*/ 6470785 h 6857997"/>
              <a:gd name="connsiteX64" fmla="*/ 647462 w 12191997"/>
              <a:gd name="connsiteY64" fmla="*/ 6470785 h 6857997"/>
              <a:gd name="connsiteX65" fmla="*/ 647462 w 12191997"/>
              <a:gd name="connsiteY65" fmla="*/ 6451543 h 6857997"/>
              <a:gd name="connsiteX66" fmla="*/ 1023956 w 12191997"/>
              <a:gd name="connsiteY66" fmla="*/ 6451480 h 6857997"/>
              <a:gd name="connsiteX67" fmla="*/ 1023956 w 12191997"/>
              <a:gd name="connsiteY67" fmla="*/ 6542674 h 6857997"/>
              <a:gd name="connsiteX68" fmla="*/ 1045016 w 12191997"/>
              <a:gd name="connsiteY68" fmla="*/ 6542674 h 6857997"/>
              <a:gd name="connsiteX69" fmla="*/ 1045016 w 12191997"/>
              <a:gd name="connsiteY69" fmla="*/ 6504191 h 6857997"/>
              <a:gd name="connsiteX70" fmla="*/ 1074975 w 12191997"/>
              <a:gd name="connsiteY70" fmla="*/ 6542674 h 6857997"/>
              <a:gd name="connsiteX71" fmla="*/ 1099481 w 12191997"/>
              <a:gd name="connsiteY71" fmla="*/ 6542674 h 6857997"/>
              <a:gd name="connsiteX72" fmla="*/ 1065009 w 12191997"/>
              <a:gd name="connsiteY72" fmla="*/ 6497109 h 6857997"/>
              <a:gd name="connsiteX73" fmla="*/ 1099481 w 12191997"/>
              <a:gd name="connsiteY73" fmla="*/ 6451480 h 6857997"/>
              <a:gd name="connsiteX74" fmla="*/ 1074975 w 12191997"/>
              <a:gd name="connsiteY74" fmla="*/ 6451480 h 6857997"/>
              <a:gd name="connsiteX75" fmla="*/ 1045016 w 12191997"/>
              <a:gd name="connsiteY75" fmla="*/ 6489963 h 6857997"/>
              <a:gd name="connsiteX76" fmla="*/ 1045016 w 12191997"/>
              <a:gd name="connsiteY76" fmla="*/ 6451480 h 6857997"/>
              <a:gd name="connsiteX77" fmla="*/ 666077 w 12191997"/>
              <a:gd name="connsiteY77" fmla="*/ 6451480 h 6857997"/>
              <a:gd name="connsiteX78" fmla="*/ 666077 w 12191997"/>
              <a:gd name="connsiteY78" fmla="*/ 6542674 h 6857997"/>
              <a:gd name="connsiteX79" fmla="*/ 687073 w 12191997"/>
              <a:gd name="connsiteY79" fmla="*/ 6542674 h 6857997"/>
              <a:gd name="connsiteX80" fmla="*/ 687073 w 12191997"/>
              <a:gd name="connsiteY80" fmla="*/ 6504191 h 6857997"/>
              <a:gd name="connsiteX81" fmla="*/ 717033 w 12191997"/>
              <a:gd name="connsiteY81" fmla="*/ 6542674 h 6857997"/>
              <a:gd name="connsiteX82" fmla="*/ 741602 w 12191997"/>
              <a:gd name="connsiteY82" fmla="*/ 6542674 h 6857997"/>
              <a:gd name="connsiteX83" fmla="*/ 707067 w 12191997"/>
              <a:gd name="connsiteY83" fmla="*/ 6497109 h 6857997"/>
              <a:gd name="connsiteX84" fmla="*/ 741602 w 12191997"/>
              <a:gd name="connsiteY84" fmla="*/ 6451480 h 6857997"/>
              <a:gd name="connsiteX85" fmla="*/ 717033 w 12191997"/>
              <a:gd name="connsiteY85" fmla="*/ 6451480 h 6857997"/>
              <a:gd name="connsiteX86" fmla="*/ 687073 w 12191997"/>
              <a:gd name="connsiteY86" fmla="*/ 6489963 h 6857997"/>
              <a:gd name="connsiteX87" fmla="*/ 687073 w 12191997"/>
              <a:gd name="connsiteY87" fmla="*/ 6451480 h 6857997"/>
              <a:gd name="connsiteX88" fmla="*/ 0 w 12191997"/>
              <a:gd name="connsiteY88" fmla="*/ 0 h 6857997"/>
              <a:gd name="connsiteX89" fmla="*/ 12191997 w 12191997"/>
              <a:gd name="connsiteY89" fmla="*/ 0 h 6857997"/>
              <a:gd name="connsiteX90" fmla="*/ 12191997 w 12191997"/>
              <a:gd name="connsiteY90" fmla="*/ 6857997 h 6857997"/>
              <a:gd name="connsiteX91" fmla="*/ 0 w 12191997"/>
              <a:gd name="connsiteY91" fmla="*/ 6857997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2191997" h="6857997">
                <a:moveTo>
                  <a:pt x="1146049" y="6470534"/>
                </a:moveTo>
                <a:lnTo>
                  <a:pt x="1157832" y="6505507"/>
                </a:lnTo>
                <a:lnTo>
                  <a:pt x="1134642" y="6505507"/>
                </a:lnTo>
                <a:close/>
                <a:moveTo>
                  <a:pt x="788170" y="6470534"/>
                </a:moveTo>
                <a:lnTo>
                  <a:pt x="799953" y="6505507"/>
                </a:lnTo>
                <a:lnTo>
                  <a:pt x="776763" y="6505507"/>
                </a:lnTo>
                <a:close/>
                <a:moveTo>
                  <a:pt x="1132323" y="6451543"/>
                </a:moveTo>
                <a:lnTo>
                  <a:pt x="1100860" y="6542674"/>
                </a:lnTo>
                <a:lnTo>
                  <a:pt x="1123110" y="6542674"/>
                </a:lnTo>
                <a:lnTo>
                  <a:pt x="1128876" y="6524060"/>
                </a:lnTo>
                <a:lnTo>
                  <a:pt x="1163786" y="6524060"/>
                </a:lnTo>
                <a:lnTo>
                  <a:pt x="1169741" y="6542674"/>
                </a:lnTo>
                <a:lnTo>
                  <a:pt x="1191615" y="6542674"/>
                </a:lnTo>
                <a:lnTo>
                  <a:pt x="1159148" y="6451543"/>
                </a:lnTo>
                <a:close/>
                <a:moveTo>
                  <a:pt x="961907" y="6451543"/>
                </a:moveTo>
                <a:cubicBezTo>
                  <a:pt x="944358" y="6451543"/>
                  <a:pt x="933640" y="6461822"/>
                  <a:pt x="933640" y="6479246"/>
                </a:cubicBezTo>
                <a:cubicBezTo>
                  <a:pt x="933640" y="6496670"/>
                  <a:pt x="945987" y="6505821"/>
                  <a:pt x="961907" y="6505821"/>
                </a:cubicBezTo>
                <a:lnTo>
                  <a:pt x="983468" y="6505821"/>
                </a:lnTo>
                <a:cubicBezTo>
                  <a:pt x="988921" y="6505821"/>
                  <a:pt x="991678" y="6509957"/>
                  <a:pt x="991678" y="6514282"/>
                </a:cubicBezTo>
                <a:cubicBezTo>
                  <a:pt x="991678" y="6518732"/>
                  <a:pt x="988921" y="6522743"/>
                  <a:pt x="983468" y="6522743"/>
                </a:cubicBezTo>
                <a:lnTo>
                  <a:pt x="937338" y="6522743"/>
                </a:lnTo>
                <a:lnTo>
                  <a:pt x="937338" y="6542674"/>
                </a:lnTo>
                <a:lnTo>
                  <a:pt x="982716" y="6542674"/>
                </a:lnTo>
                <a:cubicBezTo>
                  <a:pt x="1000704" y="6542674"/>
                  <a:pt x="1011358" y="6532772"/>
                  <a:pt x="1011358" y="6514282"/>
                </a:cubicBezTo>
                <a:cubicBezTo>
                  <a:pt x="1011358" y="6497610"/>
                  <a:pt x="1000641" y="6487707"/>
                  <a:pt x="986727" y="6487707"/>
                </a:cubicBezTo>
                <a:lnTo>
                  <a:pt x="961907" y="6487707"/>
                </a:lnTo>
                <a:cubicBezTo>
                  <a:pt x="956078" y="6487707"/>
                  <a:pt x="953321" y="6483696"/>
                  <a:pt x="953321" y="6479246"/>
                </a:cubicBezTo>
                <a:cubicBezTo>
                  <a:pt x="953321" y="6474796"/>
                  <a:pt x="956078" y="6470785"/>
                  <a:pt x="961907" y="6470785"/>
                </a:cubicBezTo>
                <a:lnTo>
                  <a:pt x="1004965" y="6470785"/>
                </a:lnTo>
                <a:lnTo>
                  <a:pt x="1004965" y="6451543"/>
                </a:lnTo>
                <a:close/>
                <a:moveTo>
                  <a:pt x="841570" y="6451543"/>
                </a:moveTo>
                <a:lnTo>
                  <a:pt x="841570" y="6542674"/>
                </a:lnTo>
                <a:lnTo>
                  <a:pt x="862692" y="6542674"/>
                </a:lnTo>
                <a:lnTo>
                  <a:pt x="862692" y="6486454"/>
                </a:lnTo>
                <a:lnTo>
                  <a:pt x="898981" y="6542486"/>
                </a:lnTo>
                <a:lnTo>
                  <a:pt x="898981" y="6542674"/>
                </a:lnTo>
                <a:lnTo>
                  <a:pt x="920855" y="6542674"/>
                </a:lnTo>
                <a:lnTo>
                  <a:pt x="920793" y="6522994"/>
                </a:lnTo>
                <a:lnTo>
                  <a:pt x="920667" y="6451543"/>
                </a:lnTo>
                <a:lnTo>
                  <a:pt x="899671" y="6451543"/>
                </a:lnTo>
                <a:lnTo>
                  <a:pt x="899671" y="6508829"/>
                </a:lnTo>
                <a:lnTo>
                  <a:pt x="863068" y="6451543"/>
                </a:lnTo>
                <a:close/>
                <a:moveTo>
                  <a:pt x="774444" y="6451543"/>
                </a:moveTo>
                <a:lnTo>
                  <a:pt x="742918" y="6542674"/>
                </a:lnTo>
                <a:lnTo>
                  <a:pt x="765168" y="6542674"/>
                </a:lnTo>
                <a:lnTo>
                  <a:pt x="770934" y="6524060"/>
                </a:lnTo>
                <a:lnTo>
                  <a:pt x="805845" y="6524060"/>
                </a:lnTo>
                <a:lnTo>
                  <a:pt x="811799" y="6542674"/>
                </a:lnTo>
                <a:lnTo>
                  <a:pt x="833735" y="6542674"/>
                </a:lnTo>
                <a:lnTo>
                  <a:pt x="801269" y="6451543"/>
                </a:lnTo>
                <a:close/>
                <a:moveTo>
                  <a:pt x="604404" y="6451543"/>
                </a:moveTo>
                <a:cubicBezTo>
                  <a:pt x="586792" y="6451543"/>
                  <a:pt x="576137" y="6461822"/>
                  <a:pt x="576137" y="6479246"/>
                </a:cubicBezTo>
                <a:cubicBezTo>
                  <a:pt x="576137" y="6496670"/>
                  <a:pt x="588484" y="6505821"/>
                  <a:pt x="604404" y="6505821"/>
                </a:cubicBezTo>
                <a:lnTo>
                  <a:pt x="625964" y="6505821"/>
                </a:lnTo>
                <a:cubicBezTo>
                  <a:pt x="631417" y="6505821"/>
                  <a:pt x="634174" y="6509957"/>
                  <a:pt x="634174" y="6514282"/>
                </a:cubicBezTo>
                <a:cubicBezTo>
                  <a:pt x="634174" y="6518732"/>
                  <a:pt x="631417" y="6522743"/>
                  <a:pt x="625964" y="6522743"/>
                </a:cubicBezTo>
                <a:lnTo>
                  <a:pt x="579772" y="6522743"/>
                </a:lnTo>
                <a:lnTo>
                  <a:pt x="579772" y="6542674"/>
                </a:lnTo>
                <a:lnTo>
                  <a:pt x="625149" y="6542674"/>
                </a:lnTo>
                <a:cubicBezTo>
                  <a:pt x="643137" y="6542674"/>
                  <a:pt x="653792" y="6532772"/>
                  <a:pt x="653792" y="6514282"/>
                </a:cubicBezTo>
                <a:cubicBezTo>
                  <a:pt x="653792" y="6497610"/>
                  <a:pt x="643137" y="6487707"/>
                  <a:pt x="629223" y="6487707"/>
                </a:cubicBezTo>
                <a:lnTo>
                  <a:pt x="604404" y="6487707"/>
                </a:lnTo>
                <a:cubicBezTo>
                  <a:pt x="598575" y="6487707"/>
                  <a:pt x="595817" y="6483696"/>
                  <a:pt x="595817" y="6479246"/>
                </a:cubicBezTo>
                <a:cubicBezTo>
                  <a:pt x="595817" y="6474796"/>
                  <a:pt x="598575" y="6470785"/>
                  <a:pt x="604404" y="6470785"/>
                </a:cubicBezTo>
                <a:lnTo>
                  <a:pt x="647462" y="6470785"/>
                </a:lnTo>
                <a:lnTo>
                  <a:pt x="647462" y="6451543"/>
                </a:lnTo>
                <a:close/>
                <a:moveTo>
                  <a:pt x="1023956" y="6451480"/>
                </a:moveTo>
                <a:lnTo>
                  <a:pt x="1023956" y="6542674"/>
                </a:lnTo>
                <a:lnTo>
                  <a:pt x="1045016" y="6542674"/>
                </a:lnTo>
                <a:lnTo>
                  <a:pt x="1045016" y="6504191"/>
                </a:lnTo>
                <a:lnTo>
                  <a:pt x="1074975" y="6542674"/>
                </a:lnTo>
                <a:lnTo>
                  <a:pt x="1099481" y="6542674"/>
                </a:lnTo>
                <a:lnTo>
                  <a:pt x="1065009" y="6497109"/>
                </a:lnTo>
                <a:lnTo>
                  <a:pt x="1099481" y="6451480"/>
                </a:lnTo>
                <a:lnTo>
                  <a:pt x="1074975" y="6451480"/>
                </a:lnTo>
                <a:lnTo>
                  <a:pt x="1045016" y="6489963"/>
                </a:lnTo>
                <a:lnTo>
                  <a:pt x="1045016" y="6451480"/>
                </a:lnTo>
                <a:close/>
                <a:moveTo>
                  <a:pt x="666077" y="6451480"/>
                </a:moveTo>
                <a:lnTo>
                  <a:pt x="666077" y="6542674"/>
                </a:lnTo>
                <a:lnTo>
                  <a:pt x="687073" y="6542674"/>
                </a:lnTo>
                <a:lnTo>
                  <a:pt x="687073" y="6504191"/>
                </a:lnTo>
                <a:lnTo>
                  <a:pt x="717033" y="6542674"/>
                </a:lnTo>
                <a:lnTo>
                  <a:pt x="741602" y="6542674"/>
                </a:lnTo>
                <a:lnTo>
                  <a:pt x="707067" y="6497109"/>
                </a:lnTo>
                <a:lnTo>
                  <a:pt x="741602" y="6451480"/>
                </a:lnTo>
                <a:lnTo>
                  <a:pt x="717033" y="6451480"/>
                </a:lnTo>
                <a:lnTo>
                  <a:pt x="687073" y="6489963"/>
                </a:lnTo>
                <a:lnTo>
                  <a:pt x="687073" y="6451480"/>
                </a:lnTo>
                <a:close/>
                <a:moveTo>
                  <a:pt x="0" y="0"/>
                </a:moveTo>
                <a:lnTo>
                  <a:pt x="12191997" y="0"/>
                </a:lnTo>
                <a:lnTo>
                  <a:pt x="12191997" y="6857997"/>
                </a:lnTo>
                <a:lnTo>
                  <a:pt x="0" y="6857997"/>
                </a:lnTo>
                <a:close/>
              </a:path>
            </a:pathLst>
          </a:custGeom>
          <a:solidFill>
            <a:srgbClr val="ECECEC"/>
          </a:solidFill>
        </p:spPr>
        <p:txBody>
          <a:bodyPr wrap="square" lIns="36000" tIns="36000" rIns="36000" bIns="36000">
            <a:noAutofit/>
          </a:bodyPr>
          <a:lstStyle>
            <a:lvl1pPr marL="0" indent="0" algn="ctr">
              <a:buNone/>
              <a:defRPr sz="1300">
                <a:solidFill>
                  <a:schemeClr val="tx2"/>
                </a:solidFill>
              </a:defRPr>
            </a:lvl1pPr>
          </a:lstStyle>
          <a:p>
            <a:r>
              <a:rPr lang="en-US" noProof="0"/>
              <a:t>Click on the icon to add an image</a:t>
            </a:r>
          </a:p>
        </p:txBody>
      </p:sp>
      <p:sp>
        <p:nvSpPr>
          <p:cNvPr id="19" name="Text Placeholder 18">
            <a:extLst>
              <a:ext uri="{FF2B5EF4-FFF2-40B4-BE49-F238E27FC236}">
                <a16:creationId xmlns:a16="http://schemas.microsoft.com/office/drawing/2014/main" id="{696CCD45-BBC3-4242-B2B8-F5604A1D97BB}"/>
              </a:ext>
            </a:extLst>
          </p:cNvPr>
          <p:cNvSpPr>
            <a:spLocks noGrp="1"/>
          </p:cNvSpPr>
          <p:nvPr>
            <p:ph type="body" sz="quarter" idx="14" hasCustomPrompt="1"/>
          </p:nvPr>
        </p:nvSpPr>
        <p:spPr>
          <a:xfrm>
            <a:off x="576000" y="720001"/>
            <a:ext cx="5367178" cy="461527"/>
          </a:xfrm>
          <a:prstGeom prst="rect">
            <a:avLst/>
          </a:prstGeom>
        </p:spPr>
        <p:txBody>
          <a:bodyPr anchor="t">
            <a:noAutofit/>
          </a:bodyPr>
          <a:lstStyle>
            <a:lvl1pPr marL="0" indent="0">
              <a:lnSpc>
                <a:spcPct val="85000"/>
              </a:lnSpc>
              <a:spcBef>
                <a:spcPts val="0"/>
              </a:spcBef>
              <a:buNone/>
              <a:defRPr sz="3600" spc="40" baseline="0">
                <a:solidFill>
                  <a:schemeClr val="accent1"/>
                </a:solidFill>
                <a:latin typeface="+mj-lt"/>
              </a:defRPr>
            </a:lvl1pPr>
          </a:lstStyle>
          <a:p>
            <a:pPr lvl="0"/>
            <a:r>
              <a:rPr lang="en-US" noProof="0"/>
              <a:t>Click for a short headline </a:t>
            </a:r>
          </a:p>
        </p:txBody>
      </p:sp>
      <p:sp>
        <p:nvSpPr>
          <p:cNvPr id="40" name="Text Placeholder 8">
            <a:extLst>
              <a:ext uri="{FF2B5EF4-FFF2-40B4-BE49-F238E27FC236}">
                <a16:creationId xmlns:a16="http://schemas.microsoft.com/office/drawing/2014/main" id="{71F6E362-8923-6340-A1FF-64BF191D73D7}"/>
              </a:ext>
            </a:extLst>
          </p:cNvPr>
          <p:cNvSpPr>
            <a:spLocks noGrp="1"/>
          </p:cNvSpPr>
          <p:nvPr>
            <p:ph type="body" sz="quarter" idx="15" hasCustomPrompt="1"/>
          </p:nvPr>
        </p:nvSpPr>
        <p:spPr>
          <a:xfrm>
            <a:off x="576263" y="1746000"/>
            <a:ext cx="3481387" cy="4391999"/>
          </a:xfrm>
        </p:spPr>
        <p:txBody>
          <a:bodyPr/>
          <a:lstStyle>
            <a:lvl1pPr marL="342000" indent="-342000">
              <a:lnSpc>
                <a:spcPct val="100000"/>
              </a:lnSpc>
              <a:spcBef>
                <a:spcPts val="0"/>
              </a:spcBef>
              <a:spcAft>
                <a:spcPts val="1000"/>
              </a:spcAft>
              <a:buFont typeface="+mj-lt"/>
              <a:buAutoNum type="arabicPeriod"/>
              <a:defRPr sz="1800" spc="40" baseline="0"/>
            </a:lvl1pPr>
            <a:lvl2pPr marL="342000" indent="-342000">
              <a:lnSpc>
                <a:spcPct val="100000"/>
              </a:lnSpc>
              <a:spcAft>
                <a:spcPts val="1000"/>
              </a:spcAft>
              <a:tabLst/>
              <a:defRPr sz="1800" spc="40" baseline="0"/>
            </a:lvl2pPr>
            <a:lvl3pPr>
              <a:defRPr sz="1400" spc="40" baseline="0"/>
            </a:lvl3pPr>
            <a:lvl4pPr>
              <a:defRPr sz="1200" spc="40" baseline="0"/>
            </a:lvl4pPr>
            <a:lvl5pPr>
              <a:defRPr sz="1100" spc="40" baseline="0"/>
            </a:lvl5pPr>
          </a:lstStyle>
          <a:p>
            <a:pPr lvl="0"/>
            <a:r>
              <a:rPr lang="en-US" noProof="0"/>
              <a:t>Click for agenda</a:t>
            </a:r>
          </a:p>
        </p:txBody>
      </p:sp>
      <p:sp>
        <p:nvSpPr>
          <p:cNvPr id="8" name="textruta 5">
            <a:extLst>
              <a:ext uri="{FF2B5EF4-FFF2-40B4-BE49-F238E27FC236}">
                <a16:creationId xmlns:a16="http://schemas.microsoft.com/office/drawing/2014/main" id="{52378F2C-FB46-444B-B9E1-375B7ADD4B13}"/>
              </a:ext>
            </a:extLst>
          </p:cNvPr>
          <p:cNvSpPr txBox="1"/>
          <p:nvPr userDrawn="1"/>
        </p:nvSpPr>
        <p:spPr>
          <a:xfrm>
            <a:off x="12395260" y="1453483"/>
            <a:ext cx="1681523" cy="646331"/>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the textboxes disappears after adding or changing an imag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right click the image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and use – </a:t>
            </a:r>
            <a:r>
              <a:rPr lang="en-US" sz="900" b="1" noProof="0">
                <a:solidFill>
                  <a:schemeClr val="tx1">
                    <a:lumMod val="65000"/>
                    <a:lumOff val="35000"/>
                  </a:schemeClr>
                </a:solidFill>
                <a:latin typeface="Arial" panose="020B0604020202020204" pitchFamily="34" charset="0"/>
                <a:cs typeface="Arial" panose="020B0604020202020204" pitchFamily="34" charset="0"/>
              </a:rPr>
              <a:t>S</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end to back</a:t>
            </a:r>
          </a:p>
        </p:txBody>
      </p:sp>
      <p:sp>
        <p:nvSpPr>
          <p:cNvPr id="9" name="textruta 8">
            <a:extLst>
              <a:ext uri="{FF2B5EF4-FFF2-40B4-BE49-F238E27FC236}">
                <a16:creationId xmlns:a16="http://schemas.microsoft.com/office/drawing/2014/main" id="{83DB998B-6166-B149-AE9C-B422BE1B47A4}"/>
              </a:ext>
            </a:extLst>
          </p:cNvPr>
          <p:cNvSpPr txBox="1"/>
          <p:nvPr userDrawn="1"/>
        </p:nvSpPr>
        <p:spPr>
          <a:xfrm>
            <a:off x="12395260" y="-12189"/>
            <a:ext cx="1681523" cy="1338828"/>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you need to change the color of the logo, right click outside work area,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Format Background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from context menu and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Solid fill</a:t>
            </a:r>
            <a:r>
              <a:rPr lang="en-US" sz="900" baseline="0" noProof="0">
                <a:solidFill>
                  <a:schemeClr val="tx1">
                    <a:lumMod val="65000"/>
                    <a:lumOff val="35000"/>
                  </a:schemeClr>
                </a:solidFill>
                <a:latin typeface="Arial" panose="020B0604020202020204" pitchFamily="34" charset="0"/>
                <a:cs typeface="Arial" panose="020B0604020202020204" pitchFamily="34" charset="0"/>
              </a:rPr>
              <a:t> –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White or Blue</a:t>
            </a: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p:txBody>
      </p:sp>
      <p:sp>
        <p:nvSpPr>
          <p:cNvPr id="10" name="Rektangel 9">
            <a:extLst>
              <a:ext uri="{FF2B5EF4-FFF2-40B4-BE49-F238E27FC236}">
                <a16:creationId xmlns:a16="http://schemas.microsoft.com/office/drawing/2014/main" id="{9EEE8BC0-6652-EC43-AA7F-F1FAA638F0F5}"/>
              </a:ext>
            </a:extLst>
          </p:cNvPr>
          <p:cNvSpPr/>
          <p:nvPr userDrawn="1"/>
        </p:nvSpPr>
        <p:spPr>
          <a:xfrm>
            <a:off x="13255337" y="926211"/>
            <a:ext cx="341194" cy="305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 name="Rektangel 10">
            <a:extLst>
              <a:ext uri="{FF2B5EF4-FFF2-40B4-BE49-F238E27FC236}">
                <a16:creationId xmlns:a16="http://schemas.microsoft.com/office/drawing/2014/main" id="{2330825F-2C3A-E940-8BCE-84CDB2959E3C}"/>
              </a:ext>
            </a:extLst>
          </p:cNvPr>
          <p:cNvSpPr/>
          <p:nvPr userDrawn="1"/>
        </p:nvSpPr>
        <p:spPr>
          <a:xfrm>
            <a:off x="12833410" y="926211"/>
            <a:ext cx="341194" cy="30590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Platshållare för datum 3">
            <a:extLst>
              <a:ext uri="{FF2B5EF4-FFF2-40B4-BE49-F238E27FC236}">
                <a16:creationId xmlns:a16="http://schemas.microsoft.com/office/drawing/2014/main" id="{AD14E924-4B6E-E044-956D-07AF9BDB57AC}"/>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tx2"/>
                </a:solidFill>
              </a:defRPr>
            </a:lvl1pPr>
          </a:lstStyle>
          <a:p>
            <a:fld id="{2F9806AD-009B-8D45-82A9-B9E8234B6322}" type="datetime1">
              <a:rPr lang="en-US" noProof="0" smtClean="0"/>
              <a:t>10/17/2023</a:t>
            </a:fld>
            <a:endParaRPr lang="en-US" noProof="0"/>
          </a:p>
        </p:txBody>
      </p:sp>
      <p:sp>
        <p:nvSpPr>
          <p:cNvPr id="13" name="Platshållare för sidfot 4">
            <a:extLst>
              <a:ext uri="{FF2B5EF4-FFF2-40B4-BE49-F238E27FC236}">
                <a16:creationId xmlns:a16="http://schemas.microsoft.com/office/drawing/2014/main" id="{28AD8562-F435-1A48-9C6F-90DF02615EC9}"/>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tx2"/>
                </a:solidFill>
              </a:defRPr>
            </a:lvl1pPr>
          </a:lstStyle>
          <a:p>
            <a:r>
              <a:rPr lang="en-US" noProof="0"/>
              <a:t>Go to header/footer to change text </a:t>
            </a:r>
          </a:p>
        </p:txBody>
      </p:sp>
      <p:sp>
        <p:nvSpPr>
          <p:cNvPr id="14" name="Platshållare för bildnummer 5">
            <a:extLst>
              <a:ext uri="{FF2B5EF4-FFF2-40B4-BE49-F238E27FC236}">
                <a16:creationId xmlns:a16="http://schemas.microsoft.com/office/drawing/2014/main" id="{8B527D98-9E89-F146-9E47-C60DCD8A4390}"/>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tx2"/>
                </a:solidFill>
              </a:defRPr>
            </a:lvl1pPr>
          </a:lstStyle>
          <a:p>
            <a:fld id="{EF8DBD5B-30F9-4F9C-AE39-E065C1AC514D}" type="slidenum">
              <a:rPr lang="en-US" noProof="0" smtClean="0"/>
              <a:pPr/>
              <a:t>‹#›</a:t>
            </a:fld>
            <a:endParaRPr lang="en-US" noProof="0"/>
          </a:p>
        </p:txBody>
      </p:sp>
      <p:sp>
        <p:nvSpPr>
          <p:cNvPr id="16" name="Text Placeholder 4">
            <a:extLst>
              <a:ext uri="{FF2B5EF4-FFF2-40B4-BE49-F238E27FC236}">
                <a16:creationId xmlns:a16="http://schemas.microsoft.com/office/drawing/2014/main" id="{8AAA2FCE-F264-5543-8138-9D199FF97531}"/>
              </a:ext>
            </a:extLst>
          </p:cNvPr>
          <p:cNvSpPr>
            <a:spLocks noGrp="1"/>
          </p:cNvSpPr>
          <p:nvPr>
            <p:ph type="body" sz="quarter" idx="16" hasCustomPrompt="1"/>
          </p:nvPr>
        </p:nvSpPr>
        <p:spPr>
          <a:xfrm rot="5400000">
            <a:off x="10901730" y="803644"/>
            <a:ext cx="2093913" cy="486626"/>
          </a:xfrm>
        </p:spPr>
        <p:txBody>
          <a:bodyPr lIns="180000" tIns="180000" rIns="0" bIns="180000" anchor="ctr">
            <a:spAutoFit/>
          </a:bodyPr>
          <a:lstStyle>
            <a:lvl1pPr marL="6350" indent="0" algn="l">
              <a:buNone/>
              <a:defRPr sz="800"/>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Tree>
    <p:extLst>
      <p:ext uri="{BB962C8B-B14F-4D97-AF65-F5344CB8AC3E}">
        <p14:creationId xmlns:p14="http://schemas.microsoft.com/office/powerpoint/2010/main" val="241196011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 Agenda 2 Columns Image">
    <p:bg>
      <p:bgPr>
        <a:solidFill>
          <a:schemeClr val="bg1"/>
        </a:solidFill>
        <a:effectLst/>
      </p:bgPr>
    </p:bg>
    <p:spTree>
      <p:nvGrpSpPr>
        <p:cNvPr id="1" name=""/>
        <p:cNvGrpSpPr/>
        <p:nvPr/>
      </p:nvGrpSpPr>
      <p:grpSpPr>
        <a:xfrm>
          <a:off x="0" y="0"/>
          <a:ext cx="0" cy="0"/>
          <a:chOff x="0" y="0"/>
          <a:chExt cx="0" cy="0"/>
        </a:xfrm>
      </p:grpSpPr>
      <p:sp>
        <p:nvSpPr>
          <p:cNvPr id="39" name="Picture Placeholder 38">
            <a:extLst>
              <a:ext uri="{FF2B5EF4-FFF2-40B4-BE49-F238E27FC236}">
                <a16:creationId xmlns:a16="http://schemas.microsoft.com/office/drawing/2014/main" id="{9E321D00-36B4-854A-96FD-995EBC9F18B5}"/>
              </a:ext>
            </a:extLst>
          </p:cNvPr>
          <p:cNvSpPr>
            <a:spLocks noGrp="1"/>
          </p:cNvSpPr>
          <p:nvPr>
            <p:ph type="pic" sz="quarter" idx="13" hasCustomPrompt="1"/>
          </p:nvPr>
        </p:nvSpPr>
        <p:spPr>
          <a:xfrm>
            <a:off x="5" y="5"/>
            <a:ext cx="12191997" cy="6857997"/>
          </a:xfrm>
          <a:custGeom>
            <a:avLst/>
            <a:gdLst>
              <a:gd name="connsiteX0" fmla="*/ 1146049 w 12191997"/>
              <a:gd name="connsiteY0" fmla="*/ 6470534 h 6857997"/>
              <a:gd name="connsiteX1" fmla="*/ 1157832 w 12191997"/>
              <a:gd name="connsiteY1" fmla="*/ 6505507 h 6857997"/>
              <a:gd name="connsiteX2" fmla="*/ 1134642 w 12191997"/>
              <a:gd name="connsiteY2" fmla="*/ 6505507 h 6857997"/>
              <a:gd name="connsiteX3" fmla="*/ 788170 w 12191997"/>
              <a:gd name="connsiteY3" fmla="*/ 6470534 h 6857997"/>
              <a:gd name="connsiteX4" fmla="*/ 799953 w 12191997"/>
              <a:gd name="connsiteY4" fmla="*/ 6505507 h 6857997"/>
              <a:gd name="connsiteX5" fmla="*/ 776763 w 12191997"/>
              <a:gd name="connsiteY5" fmla="*/ 6505507 h 6857997"/>
              <a:gd name="connsiteX6" fmla="*/ 1132323 w 12191997"/>
              <a:gd name="connsiteY6" fmla="*/ 6451543 h 6857997"/>
              <a:gd name="connsiteX7" fmla="*/ 1100860 w 12191997"/>
              <a:gd name="connsiteY7" fmla="*/ 6542674 h 6857997"/>
              <a:gd name="connsiteX8" fmla="*/ 1123110 w 12191997"/>
              <a:gd name="connsiteY8" fmla="*/ 6542674 h 6857997"/>
              <a:gd name="connsiteX9" fmla="*/ 1128876 w 12191997"/>
              <a:gd name="connsiteY9" fmla="*/ 6524060 h 6857997"/>
              <a:gd name="connsiteX10" fmla="*/ 1163786 w 12191997"/>
              <a:gd name="connsiteY10" fmla="*/ 6524060 h 6857997"/>
              <a:gd name="connsiteX11" fmla="*/ 1169741 w 12191997"/>
              <a:gd name="connsiteY11" fmla="*/ 6542674 h 6857997"/>
              <a:gd name="connsiteX12" fmla="*/ 1191615 w 12191997"/>
              <a:gd name="connsiteY12" fmla="*/ 6542674 h 6857997"/>
              <a:gd name="connsiteX13" fmla="*/ 1159148 w 12191997"/>
              <a:gd name="connsiteY13" fmla="*/ 6451543 h 6857997"/>
              <a:gd name="connsiteX14" fmla="*/ 961907 w 12191997"/>
              <a:gd name="connsiteY14" fmla="*/ 6451543 h 6857997"/>
              <a:gd name="connsiteX15" fmla="*/ 933640 w 12191997"/>
              <a:gd name="connsiteY15" fmla="*/ 6479246 h 6857997"/>
              <a:gd name="connsiteX16" fmla="*/ 961907 w 12191997"/>
              <a:gd name="connsiteY16" fmla="*/ 6505821 h 6857997"/>
              <a:gd name="connsiteX17" fmla="*/ 983468 w 12191997"/>
              <a:gd name="connsiteY17" fmla="*/ 6505821 h 6857997"/>
              <a:gd name="connsiteX18" fmla="*/ 991678 w 12191997"/>
              <a:gd name="connsiteY18" fmla="*/ 6514282 h 6857997"/>
              <a:gd name="connsiteX19" fmla="*/ 983468 w 12191997"/>
              <a:gd name="connsiteY19" fmla="*/ 6522743 h 6857997"/>
              <a:gd name="connsiteX20" fmla="*/ 937338 w 12191997"/>
              <a:gd name="connsiteY20" fmla="*/ 6522743 h 6857997"/>
              <a:gd name="connsiteX21" fmla="*/ 937338 w 12191997"/>
              <a:gd name="connsiteY21" fmla="*/ 6542674 h 6857997"/>
              <a:gd name="connsiteX22" fmla="*/ 982716 w 12191997"/>
              <a:gd name="connsiteY22" fmla="*/ 6542674 h 6857997"/>
              <a:gd name="connsiteX23" fmla="*/ 1011358 w 12191997"/>
              <a:gd name="connsiteY23" fmla="*/ 6514282 h 6857997"/>
              <a:gd name="connsiteX24" fmla="*/ 986727 w 12191997"/>
              <a:gd name="connsiteY24" fmla="*/ 6487707 h 6857997"/>
              <a:gd name="connsiteX25" fmla="*/ 961907 w 12191997"/>
              <a:gd name="connsiteY25" fmla="*/ 6487707 h 6857997"/>
              <a:gd name="connsiteX26" fmla="*/ 953321 w 12191997"/>
              <a:gd name="connsiteY26" fmla="*/ 6479246 h 6857997"/>
              <a:gd name="connsiteX27" fmla="*/ 961907 w 12191997"/>
              <a:gd name="connsiteY27" fmla="*/ 6470785 h 6857997"/>
              <a:gd name="connsiteX28" fmla="*/ 1004965 w 12191997"/>
              <a:gd name="connsiteY28" fmla="*/ 6470785 h 6857997"/>
              <a:gd name="connsiteX29" fmla="*/ 1004965 w 12191997"/>
              <a:gd name="connsiteY29" fmla="*/ 6451543 h 6857997"/>
              <a:gd name="connsiteX30" fmla="*/ 841570 w 12191997"/>
              <a:gd name="connsiteY30" fmla="*/ 6451543 h 6857997"/>
              <a:gd name="connsiteX31" fmla="*/ 841570 w 12191997"/>
              <a:gd name="connsiteY31" fmla="*/ 6542674 h 6857997"/>
              <a:gd name="connsiteX32" fmla="*/ 862692 w 12191997"/>
              <a:gd name="connsiteY32" fmla="*/ 6542674 h 6857997"/>
              <a:gd name="connsiteX33" fmla="*/ 862692 w 12191997"/>
              <a:gd name="connsiteY33" fmla="*/ 6486454 h 6857997"/>
              <a:gd name="connsiteX34" fmla="*/ 898981 w 12191997"/>
              <a:gd name="connsiteY34" fmla="*/ 6542486 h 6857997"/>
              <a:gd name="connsiteX35" fmla="*/ 898981 w 12191997"/>
              <a:gd name="connsiteY35" fmla="*/ 6542674 h 6857997"/>
              <a:gd name="connsiteX36" fmla="*/ 920855 w 12191997"/>
              <a:gd name="connsiteY36" fmla="*/ 6542674 h 6857997"/>
              <a:gd name="connsiteX37" fmla="*/ 920793 w 12191997"/>
              <a:gd name="connsiteY37" fmla="*/ 6522994 h 6857997"/>
              <a:gd name="connsiteX38" fmla="*/ 920667 w 12191997"/>
              <a:gd name="connsiteY38" fmla="*/ 6451543 h 6857997"/>
              <a:gd name="connsiteX39" fmla="*/ 899671 w 12191997"/>
              <a:gd name="connsiteY39" fmla="*/ 6451543 h 6857997"/>
              <a:gd name="connsiteX40" fmla="*/ 899671 w 12191997"/>
              <a:gd name="connsiteY40" fmla="*/ 6508829 h 6857997"/>
              <a:gd name="connsiteX41" fmla="*/ 863068 w 12191997"/>
              <a:gd name="connsiteY41" fmla="*/ 6451543 h 6857997"/>
              <a:gd name="connsiteX42" fmla="*/ 774444 w 12191997"/>
              <a:gd name="connsiteY42" fmla="*/ 6451543 h 6857997"/>
              <a:gd name="connsiteX43" fmla="*/ 742918 w 12191997"/>
              <a:gd name="connsiteY43" fmla="*/ 6542674 h 6857997"/>
              <a:gd name="connsiteX44" fmla="*/ 765168 w 12191997"/>
              <a:gd name="connsiteY44" fmla="*/ 6542674 h 6857997"/>
              <a:gd name="connsiteX45" fmla="*/ 770934 w 12191997"/>
              <a:gd name="connsiteY45" fmla="*/ 6524060 h 6857997"/>
              <a:gd name="connsiteX46" fmla="*/ 805845 w 12191997"/>
              <a:gd name="connsiteY46" fmla="*/ 6524060 h 6857997"/>
              <a:gd name="connsiteX47" fmla="*/ 811799 w 12191997"/>
              <a:gd name="connsiteY47" fmla="*/ 6542674 h 6857997"/>
              <a:gd name="connsiteX48" fmla="*/ 833735 w 12191997"/>
              <a:gd name="connsiteY48" fmla="*/ 6542674 h 6857997"/>
              <a:gd name="connsiteX49" fmla="*/ 801269 w 12191997"/>
              <a:gd name="connsiteY49" fmla="*/ 6451543 h 6857997"/>
              <a:gd name="connsiteX50" fmla="*/ 604404 w 12191997"/>
              <a:gd name="connsiteY50" fmla="*/ 6451543 h 6857997"/>
              <a:gd name="connsiteX51" fmla="*/ 576137 w 12191997"/>
              <a:gd name="connsiteY51" fmla="*/ 6479246 h 6857997"/>
              <a:gd name="connsiteX52" fmla="*/ 604404 w 12191997"/>
              <a:gd name="connsiteY52" fmla="*/ 6505821 h 6857997"/>
              <a:gd name="connsiteX53" fmla="*/ 625964 w 12191997"/>
              <a:gd name="connsiteY53" fmla="*/ 6505821 h 6857997"/>
              <a:gd name="connsiteX54" fmla="*/ 634174 w 12191997"/>
              <a:gd name="connsiteY54" fmla="*/ 6514282 h 6857997"/>
              <a:gd name="connsiteX55" fmla="*/ 625964 w 12191997"/>
              <a:gd name="connsiteY55" fmla="*/ 6522743 h 6857997"/>
              <a:gd name="connsiteX56" fmla="*/ 579772 w 12191997"/>
              <a:gd name="connsiteY56" fmla="*/ 6522743 h 6857997"/>
              <a:gd name="connsiteX57" fmla="*/ 579772 w 12191997"/>
              <a:gd name="connsiteY57" fmla="*/ 6542674 h 6857997"/>
              <a:gd name="connsiteX58" fmla="*/ 625149 w 12191997"/>
              <a:gd name="connsiteY58" fmla="*/ 6542674 h 6857997"/>
              <a:gd name="connsiteX59" fmla="*/ 653792 w 12191997"/>
              <a:gd name="connsiteY59" fmla="*/ 6514282 h 6857997"/>
              <a:gd name="connsiteX60" fmla="*/ 629223 w 12191997"/>
              <a:gd name="connsiteY60" fmla="*/ 6487707 h 6857997"/>
              <a:gd name="connsiteX61" fmla="*/ 604404 w 12191997"/>
              <a:gd name="connsiteY61" fmla="*/ 6487707 h 6857997"/>
              <a:gd name="connsiteX62" fmla="*/ 595817 w 12191997"/>
              <a:gd name="connsiteY62" fmla="*/ 6479246 h 6857997"/>
              <a:gd name="connsiteX63" fmla="*/ 604404 w 12191997"/>
              <a:gd name="connsiteY63" fmla="*/ 6470785 h 6857997"/>
              <a:gd name="connsiteX64" fmla="*/ 647462 w 12191997"/>
              <a:gd name="connsiteY64" fmla="*/ 6470785 h 6857997"/>
              <a:gd name="connsiteX65" fmla="*/ 647462 w 12191997"/>
              <a:gd name="connsiteY65" fmla="*/ 6451543 h 6857997"/>
              <a:gd name="connsiteX66" fmla="*/ 1023956 w 12191997"/>
              <a:gd name="connsiteY66" fmla="*/ 6451480 h 6857997"/>
              <a:gd name="connsiteX67" fmla="*/ 1023956 w 12191997"/>
              <a:gd name="connsiteY67" fmla="*/ 6542674 h 6857997"/>
              <a:gd name="connsiteX68" fmla="*/ 1045016 w 12191997"/>
              <a:gd name="connsiteY68" fmla="*/ 6542674 h 6857997"/>
              <a:gd name="connsiteX69" fmla="*/ 1045016 w 12191997"/>
              <a:gd name="connsiteY69" fmla="*/ 6504191 h 6857997"/>
              <a:gd name="connsiteX70" fmla="*/ 1074975 w 12191997"/>
              <a:gd name="connsiteY70" fmla="*/ 6542674 h 6857997"/>
              <a:gd name="connsiteX71" fmla="*/ 1099481 w 12191997"/>
              <a:gd name="connsiteY71" fmla="*/ 6542674 h 6857997"/>
              <a:gd name="connsiteX72" fmla="*/ 1065009 w 12191997"/>
              <a:gd name="connsiteY72" fmla="*/ 6497109 h 6857997"/>
              <a:gd name="connsiteX73" fmla="*/ 1099481 w 12191997"/>
              <a:gd name="connsiteY73" fmla="*/ 6451480 h 6857997"/>
              <a:gd name="connsiteX74" fmla="*/ 1074975 w 12191997"/>
              <a:gd name="connsiteY74" fmla="*/ 6451480 h 6857997"/>
              <a:gd name="connsiteX75" fmla="*/ 1045016 w 12191997"/>
              <a:gd name="connsiteY75" fmla="*/ 6489963 h 6857997"/>
              <a:gd name="connsiteX76" fmla="*/ 1045016 w 12191997"/>
              <a:gd name="connsiteY76" fmla="*/ 6451480 h 6857997"/>
              <a:gd name="connsiteX77" fmla="*/ 666077 w 12191997"/>
              <a:gd name="connsiteY77" fmla="*/ 6451480 h 6857997"/>
              <a:gd name="connsiteX78" fmla="*/ 666077 w 12191997"/>
              <a:gd name="connsiteY78" fmla="*/ 6542674 h 6857997"/>
              <a:gd name="connsiteX79" fmla="*/ 687073 w 12191997"/>
              <a:gd name="connsiteY79" fmla="*/ 6542674 h 6857997"/>
              <a:gd name="connsiteX80" fmla="*/ 687073 w 12191997"/>
              <a:gd name="connsiteY80" fmla="*/ 6504191 h 6857997"/>
              <a:gd name="connsiteX81" fmla="*/ 717033 w 12191997"/>
              <a:gd name="connsiteY81" fmla="*/ 6542674 h 6857997"/>
              <a:gd name="connsiteX82" fmla="*/ 741602 w 12191997"/>
              <a:gd name="connsiteY82" fmla="*/ 6542674 h 6857997"/>
              <a:gd name="connsiteX83" fmla="*/ 707067 w 12191997"/>
              <a:gd name="connsiteY83" fmla="*/ 6497109 h 6857997"/>
              <a:gd name="connsiteX84" fmla="*/ 741602 w 12191997"/>
              <a:gd name="connsiteY84" fmla="*/ 6451480 h 6857997"/>
              <a:gd name="connsiteX85" fmla="*/ 717033 w 12191997"/>
              <a:gd name="connsiteY85" fmla="*/ 6451480 h 6857997"/>
              <a:gd name="connsiteX86" fmla="*/ 687073 w 12191997"/>
              <a:gd name="connsiteY86" fmla="*/ 6489963 h 6857997"/>
              <a:gd name="connsiteX87" fmla="*/ 687073 w 12191997"/>
              <a:gd name="connsiteY87" fmla="*/ 6451480 h 6857997"/>
              <a:gd name="connsiteX88" fmla="*/ 0 w 12191997"/>
              <a:gd name="connsiteY88" fmla="*/ 0 h 6857997"/>
              <a:gd name="connsiteX89" fmla="*/ 12191997 w 12191997"/>
              <a:gd name="connsiteY89" fmla="*/ 0 h 6857997"/>
              <a:gd name="connsiteX90" fmla="*/ 12191997 w 12191997"/>
              <a:gd name="connsiteY90" fmla="*/ 6857997 h 6857997"/>
              <a:gd name="connsiteX91" fmla="*/ 0 w 12191997"/>
              <a:gd name="connsiteY91" fmla="*/ 6857997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2191997" h="6857997">
                <a:moveTo>
                  <a:pt x="1146049" y="6470534"/>
                </a:moveTo>
                <a:lnTo>
                  <a:pt x="1157832" y="6505507"/>
                </a:lnTo>
                <a:lnTo>
                  <a:pt x="1134642" y="6505507"/>
                </a:lnTo>
                <a:close/>
                <a:moveTo>
                  <a:pt x="788170" y="6470534"/>
                </a:moveTo>
                <a:lnTo>
                  <a:pt x="799953" y="6505507"/>
                </a:lnTo>
                <a:lnTo>
                  <a:pt x="776763" y="6505507"/>
                </a:lnTo>
                <a:close/>
                <a:moveTo>
                  <a:pt x="1132323" y="6451543"/>
                </a:moveTo>
                <a:lnTo>
                  <a:pt x="1100860" y="6542674"/>
                </a:lnTo>
                <a:lnTo>
                  <a:pt x="1123110" y="6542674"/>
                </a:lnTo>
                <a:lnTo>
                  <a:pt x="1128876" y="6524060"/>
                </a:lnTo>
                <a:lnTo>
                  <a:pt x="1163786" y="6524060"/>
                </a:lnTo>
                <a:lnTo>
                  <a:pt x="1169741" y="6542674"/>
                </a:lnTo>
                <a:lnTo>
                  <a:pt x="1191615" y="6542674"/>
                </a:lnTo>
                <a:lnTo>
                  <a:pt x="1159148" y="6451543"/>
                </a:lnTo>
                <a:close/>
                <a:moveTo>
                  <a:pt x="961907" y="6451543"/>
                </a:moveTo>
                <a:cubicBezTo>
                  <a:pt x="944358" y="6451543"/>
                  <a:pt x="933640" y="6461822"/>
                  <a:pt x="933640" y="6479246"/>
                </a:cubicBezTo>
                <a:cubicBezTo>
                  <a:pt x="933640" y="6496670"/>
                  <a:pt x="945987" y="6505821"/>
                  <a:pt x="961907" y="6505821"/>
                </a:cubicBezTo>
                <a:lnTo>
                  <a:pt x="983468" y="6505821"/>
                </a:lnTo>
                <a:cubicBezTo>
                  <a:pt x="988921" y="6505821"/>
                  <a:pt x="991678" y="6509957"/>
                  <a:pt x="991678" y="6514282"/>
                </a:cubicBezTo>
                <a:cubicBezTo>
                  <a:pt x="991678" y="6518732"/>
                  <a:pt x="988921" y="6522743"/>
                  <a:pt x="983468" y="6522743"/>
                </a:cubicBezTo>
                <a:lnTo>
                  <a:pt x="937338" y="6522743"/>
                </a:lnTo>
                <a:lnTo>
                  <a:pt x="937338" y="6542674"/>
                </a:lnTo>
                <a:lnTo>
                  <a:pt x="982716" y="6542674"/>
                </a:lnTo>
                <a:cubicBezTo>
                  <a:pt x="1000704" y="6542674"/>
                  <a:pt x="1011358" y="6532772"/>
                  <a:pt x="1011358" y="6514282"/>
                </a:cubicBezTo>
                <a:cubicBezTo>
                  <a:pt x="1011358" y="6497610"/>
                  <a:pt x="1000641" y="6487707"/>
                  <a:pt x="986727" y="6487707"/>
                </a:cubicBezTo>
                <a:lnTo>
                  <a:pt x="961907" y="6487707"/>
                </a:lnTo>
                <a:cubicBezTo>
                  <a:pt x="956078" y="6487707"/>
                  <a:pt x="953321" y="6483696"/>
                  <a:pt x="953321" y="6479246"/>
                </a:cubicBezTo>
                <a:cubicBezTo>
                  <a:pt x="953321" y="6474796"/>
                  <a:pt x="956078" y="6470785"/>
                  <a:pt x="961907" y="6470785"/>
                </a:cubicBezTo>
                <a:lnTo>
                  <a:pt x="1004965" y="6470785"/>
                </a:lnTo>
                <a:lnTo>
                  <a:pt x="1004965" y="6451543"/>
                </a:lnTo>
                <a:close/>
                <a:moveTo>
                  <a:pt x="841570" y="6451543"/>
                </a:moveTo>
                <a:lnTo>
                  <a:pt x="841570" y="6542674"/>
                </a:lnTo>
                <a:lnTo>
                  <a:pt x="862692" y="6542674"/>
                </a:lnTo>
                <a:lnTo>
                  <a:pt x="862692" y="6486454"/>
                </a:lnTo>
                <a:lnTo>
                  <a:pt x="898981" y="6542486"/>
                </a:lnTo>
                <a:lnTo>
                  <a:pt x="898981" y="6542674"/>
                </a:lnTo>
                <a:lnTo>
                  <a:pt x="920855" y="6542674"/>
                </a:lnTo>
                <a:lnTo>
                  <a:pt x="920793" y="6522994"/>
                </a:lnTo>
                <a:lnTo>
                  <a:pt x="920667" y="6451543"/>
                </a:lnTo>
                <a:lnTo>
                  <a:pt x="899671" y="6451543"/>
                </a:lnTo>
                <a:lnTo>
                  <a:pt x="899671" y="6508829"/>
                </a:lnTo>
                <a:lnTo>
                  <a:pt x="863068" y="6451543"/>
                </a:lnTo>
                <a:close/>
                <a:moveTo>
                  <a:pt x="774444" y="6451543"/>
                </a:moveTo>
                <a:lnTo>
                  <a:pt x="742918" y="6542674"/>
                </a:lnTo>
                <a:lnTo>
                  <a:pt x="765168" y="6542674"/>
                </a:lnTo>
                <a:lnTo>
                  <a:pt x="770934" y="6524060"/>
                </a:lnTo>
                <a:lnTo>
                  <a:pt x="805845" y="6524060"/>
                </a:lnTo>
                <a:lnTo>
                  <a:pt x="811799" y="6542674"/>
                </a:lnTo>
                <a:lnTo>
                  <a:pt x="833735" y="6542674"/>
                </a:lnTo>
                <a:lnTo>
                  <a:pt x="801269" y="6451543"/>
                </a:lnTo>
                <a:close/>
                <a:moveTo>
                  <a:pt x="604404" y="6451543"/>
                </a:moveTo>
                <a:cubicBezTo>
                  <a:pt x="586792" y="6451543"/>
                  <a:pt x="576137" y="6461822"/>
                  <a:pt x="576137" y="6479246"/>
                </a:cubicBezTo>
                <a:cubicBezTo>
                  <a:pt x="576137" y="6496670"/>
                  <a:pt x="588484" y="6505821"/>
                  <a:pt x="604404" y="6505821"/>
                </a:cubicBezTo>
                <a:lnTo>
                  <a:pt x="625964" y="6505821"/>
                </a:lnTo>
                <a:cubicBezTo>
                  <a:pt x="631417" y="6505821"/>
                  <a:pt x="634174" y="6509957"/>
                  <a:pt x="634174" y="6514282"/>
                </a:cubicBezTo>
                <a:cubicBezTo>
                  <a:pt x="634174" y="6518732"/>
                  <a:pt x="631417" y="6522743"/>
                  <a:pt x="625964" y="6522743"/>
                </a:cubicBezTo>
                <a:lnTo>
                  <a:pt x="579772" y="6522743"/>
                </a:lnTo>
                <a:lnTo>
                  <a:pt x="579772" y="6542674"/>
                </a:lnTo>
                <a:lnTo>
                  <a:pt x="625149" y="6542674"/>
                </a:lnTo>
                <a:cubicBezTo>
                  <a:pt x="643137" y="6542674"/>
                  <a:pt x="653792" y="6532772"/>
                  <a:pt x="653792" y="6514282"/>
                </a:cubicBezTo>
                <a:cubicBezTo>
                  <a:pt x="653792" y="6497610"/>
                  <a:pt x="643137" y="6487707"/>
                  <a:pt x="629223" y="6487707"/>
                </a:cubicBezTo>
                <a:lnTo>
                  <a:pt x="604404" y="6487707"/>
                </a:lnTo>
                <a:cubicBezTo>
                  <a:pt x="598575" y="6487707"/>
                  <a:pt x="595817" y="6483696"/>
                  <a:pt x="595817" y="6479246"/>
                </a:cubicBezTo>
                <a:cubicBezTo>
                  <a:pt x="595817" y="6474796"/>
                  <a:pt x="598575" y="6470785"/>
                  <a:pt x="604404" y="6470785"/>
                </a:cubicBezTo>
                <a:lnTo>
                  <a:pt x="647462" y="6470785"/>
                </a:lnTo>
                <a:lnTo>
                  <a:pt x="647462" y="6451543"/>
                </a:lnTo>
                <a:close/>
                <a:moveTo>
                  <a:pt x="1023956" y="6451480"/>
                </a:moveTo>
                <a:lnTo>
                  <a:pt x="1023956" y="6542674"/>
                </a:lnTo>
                <a:lnTo>
                  <a:pt x="1045016" y="6542674"/>
                </a:lnTo>
                <a:lnTo>
                  <a:pt x="1045016" y="6504191"/>
                </a:lnTo>
                <a:lnTo>
                  <a:pt x="1074975" y="6542674"/>
                </a:lnTo>
                <a:lnTo>
                  <a:pt x="1099481" y="6542674"/>
                </a:lnTo>
                <a:lnTo>
                  <a:pt x="1065009" y="6497109"/>
                </a:lnTo>
                <a:lnTo>
                  <a:pt x="1099481" y="6451480"/>
                </a:lnTo>
                <a:lnTo>
                  <a:pt x="1074975" y="6451480"/>
                </a:lnTo>
                <a:lnTo>
                  <a:pt x="1045016" y="6489963"/>
                </a:lnTo>
                <a:lnTo>
                  <a:pt x="1045016" y="6451480"/>
                </a:lnTo>
                <a:close/>
                <a:moveTo>
                  <a:pt x="666077" y="6451480"/>
                </a:moveTo>
                <a:lnTo>
                  <a:pt x="666077" y="6542674"/>
                </a:lnTo>
                <a:lnTo>
                  <a:pt x="687073" y="6542674"/>
                </a:lnTo>
                <a:lnTo>
                  <a:pt x="687073" y="6504191"/>
                </a:lnTo>
                <a:lnTo>
                  <a:pt x="717033" y="6542674"/>
                </a:lnTo>
                <a:lnTo>
                  <a:pt x="741602" y="6542674"/>
                </a:lnTo>
                <a:lnTo>
                  <a:pt x="707067" y="6497109"/>
                </a:lnTo>
                <a:lnTo>
                  <a:pt x="741602" y="6451480"/>
                </a:lnTo>
                <a:lnTo>
                  <a:pt x="717033" y="6451480"/>
                </a:lnTo>
                <a:lnTo>
                  <a:pt x="687073" y="6489963"/>
                </a:lnTo>
                <a:lnTo>
                  <a:pt x="687073" y="6451480"/>
                </a:lnTo>
                <a:close/>
                <a:moveTo>
                  <a:pt x="0" y="0"/>
                </a:moveTo>
                <a:lnTo>
                  <a:pt x="12191997" y="0"/>
                </a:lnTo>
                <a:lnTo>
                  <a:pt x="12191997" y="6857997"/>
                </a:lnTo>
                <a:lnTo>
                  <a:pt x="0" y="6857997"/>
                </a:lnTo>
                <a:close/>
              </a:path>
            </a:pathLst>
          </a:custGeom>
          <a:solidFill>
            <a:srgbClr val="ECECEC"/>
          </a:solidFill>
        </p:spPr>
        <p:txBody>
          <a:bodyPr wrap="square" lIns="36000" tIns="36000" rIns="36000" bIns="36000">
            <a:noAutofit/>
          </a:bodyPr>
          <a:lstStyle>
            <a:lvl1pPr marL="0" indent="0" algn="ctr">
              <a:buNone/>
              <a:defRPr sz="1300">
                <a:solidFill>
                  <a:schemeClr val="tx2"/>
                </a:solidFill>
              </a:defRPr>
            </a:lvl1pPr>
          </a:lstStyle>
          <a:p>
            <a:r>
              <a:rPr lang="en-US" noProof="0"/>
              <a:t>If the image placeholder icon is underneath the text box, select the gray placeholder box and then go to insert in the top menu and add picture. Do NOT move the textbox!</a:t>
            </a:r>
          </a:p>
          <a:p>
            <a:endParaRPr lang="en-US" noProof="0"/>
          </a:p>
        </p:txBody>
      </p:sp>
      <p:sp>
        <p:nvSpPr>
          <p:cNvPr id="19" name="Text Placeholder 18">
            <a:extLst>
              <a:ext uri="{FF2B5EF4-FFF2-40B4-BE49-F238E27FC236}">
                <a16:creationId xmlns:a16="http://schemas.microsoft.com/office/drawing/2014/main" id="{696CCD45-BBC3-4242-B2B8-F5604A1D97BB}"/>
              </a:ext>
            </a:extLst>
          </p:cNvPr>
          <p:cNvSpPr>
            <a:spLocks noGrp="1"/>
          </p:cNvSpPr>
          <p:nvPr>
            <p:ph type="body" sz="quarter" idx="14" hasCustomPrompt="1"/>
          </p:nvPr>
        </p:nvSpPr>
        <p:spPr>
          <a:xfrm>
            <a:off x="576000" y="720001"/>
            <a:ext cx="5367178" cy="377279"/>
          </a:xfrm>
          <a:prstGeom prst="rect">
            <a:avLst/>
          </a:prstGeom>
        </p:spPr>
        <p:txBody>
          <a:bodyPr anchor="t">
            <a:noAutofit/>
          </a:bodyPr>
          <a:lstStyle>
            <a:lvl1pPr marL="0" indent="0">
              <a:lnSpc>
                <a:spcPct val="85000"/>
              </a:lnSpc>
              <a:spcBef>
                <a:spcPts val="0"/>
              </a:spcBef>
              <a:buNone/>
              <a:defRPr sz="3600" spc="40" baseline="0">
                <a:solidFill>
                  <a:schemeClr val="bg1"/>
                </a:solidFill>
                <a:latin typeface="+mj-lt"/>
              </a:defRPr>
            </a:lvl1pPr>
          </a:lstStyle>
          <a:p>
            <a:pPr lvl="0"/>
            <a:r>
              <a:rPr lang="en-US" noProof="0"/>
              <a:t>Click for a short headline </a:t>
            </a:r>
          </a:p>
        </p:txBody>
      </p:sp>
      <p:sp>
        <p:nvSpPr>
          <p:cNvPr id="9" name="Text Placeholder 8">
            <a:extLst>
              <a:ext uri="{FF2B5EF4-FFF2-40B4-BE49-F238E27FC236}">
                <a16:creationId xmlns:a16="http://schemas.microsoft.com/office/drawing/2014/main" id="{A02FE398-BCDE-144D-BB12-B6AB8C96E842}"/>
              </a:ext>
            </a:extLst>
          </p:cNvPr>
          <p:cNvSpPr>
            <a:spLocks noGrp="1"/>
          </p:cNvSpPr>
          <p:nvPr>
            <p:ph type="body" sz="quarter" idx="15" hasCustomPrompt="1"/>
          </p:nvPr>
        </p:nvSpPr>
        <p:spPr>
          <a:xfrm>
            <a:off x="576263" y="1746000"/>
            <a:ext cx="7253287" cy="4391999"/>
          </a:xfrm>
        </p:spPr>
        <p:txBody>
          <a:bodyPr numCol="2" spcCol="288000"/>
          <a:lstStyle>
            <a:lvl1pPr marL="342000" indent="-342000">
              <a:lnSpc>
                <a:spcPct val="100000"/>
              </a:lnSpc>
              <a:spcBef>
                <a:spcPts val="0"/>
              </a:spcBef>
              <a:spcAft>
                <a:spcPts val="1000"/>
              </a:spcAft>
              <a:buFont typeface="+mj-lt"/>
              <a:buAutoNum type="arabicPeriod"/>
              <a:defRPr sz="1800" spc="40" baseline="0">
                <a:solidFill>
                  <a:schemeClr val="bg1"/>
                </a:solidFill>
              </a:defRPr>
            </a:lvl1pPr>
            <a:lvl2pPr marL="342000" indent="-342000">
              <a:lnSpc>
                <a:spcPct val="100000"/>
              </a:lnSpc>
              <a:spcBef>
                <a:spcPts val="0"/>
              </a:spcBef>
              <a:spcAft>
                <a:spcPts val="1000"/>
              </a:spcAft>
              <a:tabLst/>
              <a:defRPr sz="1800" spc="40" baseline="0">
                <a:solidFill>
                  <a:schemeClr val="bg1"/>
                </a:solidFill>
              </a:defRPr>
            </a:lvl2pPr>
            <a:lvl3pPr>
              <a:defRPr sz="1400" spc="40" baseline="0">
                <a:solidFill>
                  <a:schemeClr val="bg1"/>
                </a:solidFill>
              </a:defRPr>
            </a:lvl3pPr>
            <a:lvl4pPr>
              <a:defRPr sz="1200" spc="40" baseline="0">
                <a:solidFill>
                  <a:schemeClr val="bg1"/>
                </a:solidFill>
              </a:defRPr>
            </a:lvl4pPr>
            <a:lvl5pPr>
              <a:defRPr sz="1100" spc="40" baseline="0">
                <a:solidFill>
                  <a:schemeClr val="bg1"/>
                </a:solidFill>
              </a:defRPr>
            </a:lvl5pPr>
          </a:lstStyle>
          <a:p>
            <a:pPr lvl="0"/>
            <a:r>
              <a:rPr lang="en-US" noProof="0"/>
              <a:t>Click for agenda</a:t>
            </a:r>
          </a:p>
        </p:txBody>
      </p:sp>
      <p:sp>
        <p:nvSpPr>
          <p:cNvPr id="8" name="textruta 5">
            <a:extLst>
              <a:ext uri="{FF2B5EF4-FFF2-40B4-BE49-F238E27FC236}">
                <a16:creationId xmlns:a16="http://schemas.microsoft.com/office/drawing/2014/main" id="{00284F2E-F31D-BF4B-994C-3E331A29D073}"/>
              </a:ext>
            </a:extLst>
          </p:cNvPr>
          <p:cNvSpPr txBox="1"/>
          <p:nvPr userDrawn="1"/>
        </p:nvSpPr>
        <p:spPr>
          <a:xfrm>
            <a:off x="12395260" y="1453483"/>
            <a:ext cx="1681523" cy="646331"/>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the textboxes disappears after adding or changing an imag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right click the image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and use – </a:t>
            </a:r>
            <a:r>
              <a:rPr lang="en-US" sz="900" b="1" noProof="0">
                <a:solidFill>
                  <a:schemeClr val="tx1">
                    <a:lumMod val="65000"/>
                    <a:lumOff val="35000"/>
                  </a:schemeClr>
                </a:solidFill>
                <a:latin typeface="Arial" panose="020B0604020202020204" pitchFamily="34" charset="0"/>
                <a:cs typeface="Arial" panose="020B0604020202020204" pitchFamily="34" charset="0"/>
              </a:rPr>
              <a:t>S</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end to back</a:t>
            </a:r>
          </a:p>
        </p:txBody>
      </p:sp>
      <p:sp>
        <p:nvSpPr>
          <p:cNvPr id="10" name="textruta 9">
            <a:extLst>
              <a:ext uri="{FF2B5EF4-FFF2-40B4-BE49-F238E27FC236}">
                <a16:creationId xmlns:a16="http://schemas.microsoft.com/office/drawing/2014/main" id="{E1BCA37F-BCB7-E04A-BF96-DF2F97908106}"/>
              </a:ext>
            </a:extLst>
          </p:cNvPr>
          <p:cNvSpPr txBox="1"/>
          <p:nvPr userDrawn="1"/>
        </p:nvSpPr>
        <p:spPr>
          <a:xfrm>
            <a:off x="12395260" y="-12189"/>
            <a:ext cx="1681523" cy="1338828"/>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you need to change the color of the logo, right click outside work area,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Format Background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from context menu and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Solid fill</a:t>
            </a:r>
            <a:r>
              <a:rPr lang="en-US" sz="900" baseline="0" noProof="0">
                <a:solidFill>
                  <a:schemeClr val="tx1">
                    <a:lumMod val="65000"/>
                    <a:lumOff val="35000"/>
                  </a:schemeClr>
                </a:solidFill>
                <a:latin typeface="Arial" panose="020B0604020202020204" pitchFamily="34" charset="0"/>
                <a:cs typeface="Arial" panose="020B0604020202020204" pitchFamily="34" charset="0"/>
              </a:rPr>
              <a:t> –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White or Blue</a:t>
            </a: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p:txBody>
      </p:sp>
      <p:sp>
        <p:nvSpPr>
          <p:cNvPr id="11" name="Rektangel 10">
            <a:extLst>
              <a:ext uri="{FF2B5EF4-FFF2-40B4-BE49-F238E27FC236}">
                <a16:creationId xmlns:a16="http://schemas.microsoft.com/office/drawing/2014/main" id="{81504CAB-86DC-7B40-8E88-8772421ABA81}"/>
              </a:ext>
            </a:extLst>
          </p:cNvPr>
          <p:cNvSpPr/>
          <p:nvPr userDrawn="1"/>
        </p:nvSpPr>
        <p:spPr>
          <a:xfrm>
            <a:off x="13255337" y="926211"/>
            <a:ext cx="341194" cy="305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Rektangel 11">
            <a:extLst>
              <a:ext uri="{FF2B5EF4-FFF2-40B4-BE49-F238E27FC236}">
                <a16:creationId xmlns:a16="http://schemas.microsoft.com/office/drawing/2014/main" id="{F7F99CA5-DEDA-AF48-B232-7095F0A1D6DD}"/>
              </a:ext>
            </a:extLst>
          </p:cNvPr>
          <p:cNvSpPr/>
          <p:nvPr userDrawn="1"/>
        </p:nvSpPr>
        <p:spPr>
          <a:xfrm>
            <a:off x="12833410" y="926211"/>
            <a:ext cx="341194" cy="30590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Platshållare för datum 3">
            <a:extLst>
              <a:ext uri="{FF2B5EF4-FFF2-40B4-BE49-F238E27FC236}">
                <a16:creationId xmlns:a16="http://schemas.microsoft.com/office/drawing/2014/main" id="{A95B9798-476C-D144-8E9A-D4892976764B}"/>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bg1"/>
                </a:solidFill>
              </a:defRPr>
            </a:lvl1pPr>
          </a:lstStyle>
          <a:p>
            <a:fld id="{2F9806AD-009B-8D45-82A9-B9E8234B6322}" type="datetime1">
              <a:rPr lang="en-US" smtClean="0"/>
              <a:pPr/>
              <a:t>10/17/2023</a:t>
            </a:fld>
            <a:endParaRPr lang="en-US"/>
          </a:p>
        </p:txBody>
      </p:sp>
      <p:sp>
        <p:nvSpPr>
          <p:cNvPr id="14" name="Platshållare för sidfot 4">
            <a:extLst>
              <a:ext uri="{FF2B5EF4-FFF2-40B4-BE49-F238E27FC236}">
                <a16:creationId xmlns:a16="http://schemas.microsoft.com/office/drawing/2014/main" id="{362F5EB4-87A5-8D4D-91EB-B5981406F21D}"/>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bg1"/>
                </a:solidFill>
              </a:defRPr>
            </a:lvl1pPr>
          </a:lstStyle>
          <a:p>
            <a:r>
              <a:rPr lang="en-US"/>
              <a:t>Go to header/footer to change text </a:t>
            </a:r>
          </a:p>
        </p:txBody>
      </p:sp>
      <p:sp>
        <p:nvSpPr>
          <p:cNvPr id="15" name="Platshållare för bildnummer 5">
            <a:extLst>
              <a:ext uri="{FF2B5EF4-FFF2-40B4-BE49-F238E27FC236}">
                <a16:creationId xmlns:a16="http://schemas.microsoft.com/office/drawing/2014/main" id="{1B211A98-A085-6149-BADD-E3AF539B746D}"/>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bg1"/>
                </a:solidFill>
              </a:defRPr>
            </a:lvl1pPr>
          </a:lstStyle>
          <a:p>
            <a:fld id="{EF8DBD5B-30F9-4F9C-AE39-E065C1AC514D}" type="slidenum">
              <a:rPr lang="en-US" smtClean="0"/>
              <a:pPr/>
              <a:t>‹#›</a:t>
            </a:fld>
            <a:endParaRPr lang="en-US"/>
          </a:p>
        </p:txBody>
      </p:sp>
      <p:sp>
        <p:nvSpPr>
          <p:cNvPr id="17" name="Text Placeholder 4">
            <a:extLst>
              <a:ext uri="{FF2B5EF4-FFF2-40B4-BE49-F238E27FC236}">
                <a16:creationId xmlns:a16="http://schemas.microsoft.com/office/drawing/2014/main" id="{22B95E08-D2D3-1343-AAFC-765955B17A7B}"/>
              </a:ext>
            </a:extLst>
          </p:cNvPr>
          <p:cNvSpPr>
            <a:spLocks noGrp="1"/>
          </p:cNvSpPr>
          <p:nvPr>
            <p:ph type="body" sz="quarter" idx="16" hasCustomPrompt="1"/>
          </p:nvPr>
        </p:nvSpPr>
        <p:spPr>
          <a:xfrm rot="5400000">
            <a:off x="10901730" y="803644"/>
            <a:ext cx="2093913" cy="486626"/>
          </a:xfrm>
        </p:spPr>
        <p:txBody>
          <a:bodyPr lIns="180000" tIns="180000" rIns="0" bIns="180000" anchor="ctr">
            <a:spAutoFit/>
          </a:bodyPr>
          <a:lstStyle>
            <a:lvl1pPr marL="6350" indent="0" algn="l">
              <a:buNone/>
              <a:defRPr sz="800">
                <a:solidFill>
                  <a:schemeClr val="bg1"/>
                </a:solidFill>
              </a:defRPr>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Tree>
    <p:extLst>
      <p:ext uri="{BB962C8B-B14F-4D97-AF65-F5344CB8AC3E}">
        <p14:creationId xmlns:p14="http://schemas.microsoft.com/office/powerpoint/2010/main" val="37386879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 Quote Slide Image">
    <p:bg>
      <p:bgPr>
        <a:solidFill>
          <a:schemeClr val="tx2"/>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3CBA7EE4-EB8C-8F45-95DB-49CBDE2D978D}"/>
              </a:ext>
            </a:extLst>
          </p:cNvPr>
          <p:cNvSpPr>
            <a:spLocks noGrp="1"/>
          </p:cNvSpPr>
          <p:nvPr>
            <p:ph type="pic" sz="quarter" idx="13" hasCustomPrompt="1"/>
          </p:nvPr>
        </p:nvSpPr>
        <p:spPr>
          <a:xfrm>
            <a:off x="5" y="5"/>
            <a:ext cx="12191997" cy="6857997"/>
          </a:xfrm>
          <a:custGeom>
            <a:avLst/>
            <a:gdLst>
              <a:gd name="connsiteX0" fmla="*/ 1146049 w 12191997"/>
              <a:gd name="connsiteY0" fmla="*/ 6470534 h 6857997"/>
              <a:gd name="connsiteX1" fmla="*/ 1157832 w 12191997"/>
              <a:gd name="connsiteY1" fmla="*/ 6505507 h 6857997"/>
              <a:gd name="connsiteX2" fmla="*/ 1134642 w 12191997"/>
              <a:gd name="connsiteY2" fmla="*/ 6505507 h 6857997"/>
              <a:gd name="connsiteX3" fmla="*/ 788170 w 12191997"/>
              <a:gd name="connsiteY3" fmla="*/ 6470534 h 6857997"/>
              <a:gd name="connsiteX4" fmla="*/ 799953 w 12191997"/>
              <a:gd name="connsiteY4" fmla="*/ 6505507 h 6857997"/>
              <a:gd name="connsiteX5" fmla="*/ 776763 w 12191997"/>
              <a:gd name="connsiteY5" fmla="*/ 6505507 h 6857997"/>
              <a:gd name="connsiteX6" fmla="*/ 1132323 w 12191997"/>
              <a:gd name="connsiteY6" fmla="*/ 6451543 h 6857997"/>
              <a:gd name="connsiteX7" fmla="*/ 1100860 w 12191997"/>
              <a:gd name="connsiteY7" fmla="*/ 6542674 h 6857997"/>
              <a:gd name="connsiteX8" fmla="*/ 1123110 w 12191997"/>
              <a:gd name="connsiteY8" fmla="*/ 6542674 h 6857997"/>
              <a:gd name="connsiteX9" fmla="*/ 1128876 w 12191997"/>
              <a:gd name="connsiteY9" fmla="*/ 6524060 h 6857997"/>
              <a:gd name="connsiteX10" fmla="*/ 1163786 w 12191997"/>
              <a:gd name="connsiteY10" fmla="*/ 6524060 h 6857997"/>
              <a:gd name="connsiteX11" fmla="*/ 1169741 w 12191997"/>
              <a:gd name="connsiteY11" fmla="*/ 6542674 h 6857997"/>
              <a:gd name="connsiteX12" fmla="*/ 1191615 w 12191997"/>
              <a:gd name="connsiteY12" fmla="*/ 6542674 h 6857997"/>
              <a:gd name="connsiteX13" fmla="*/ 1159148 w 12191997"/>
              <a:gd name="connsiteY13" fmla="*/ 6451543 h 6857997"/>
              <a:gd name="connsiteX14" fmla="*/ 961907 w 12191997"/>
              <a:gd name="connsiteY14" fmla="*/ 6451543 h 6857997"/>
              <a:gd name="connsiteX15" fmla="*/ 933640 w 12191997"/>
              <a:gd name="connsiteY15" fmla="*/ 6479246 h 6857997"/>
              <a:gd name="connsiteX16" fmla="*/ 961907 w 12191997"/>
              <a:gd name="connsiteY16" fmla="*/ 6505821 h 6857997"/>
              <a:gd name="connsiteX17" fmla="*/ 983468 w 12191997"/>
              <a:gd name="connsiteY17" fmla="*/ 6505821 h 6857997"/>
              <a:gd name="connsiteX18" fmla="*/ 991678 w 12191997"/>
              <a:gd name="connsiteY18" fmla="*/ 6514282 h 6857997"/>
              <a:gd name="connsiteX19" fmla="*/ 983468 w 12191997"/>
              <a:gd name="connsiteY19" fmla="*/ 6522743 h 6857997"/>
              <a:gd name="connsiteX20" fmla="*/ 937338 w 12191997"/>
              <a:gd name="connsiteY20" fmla="*/ 6522743 h 6857997"/>
              <a:gd name="connsiteX21" fmla="*/ 937338 w 12191997"/>
              <a:gd name="connsiteY21" fmla="*/ 6542674 h 6857997"/>
              <a:gd name="connsiteX22" fmla="*/ 982716 w 12191997"/>
              <a:gd name="connsiteY22" fmla="*/ 6542674 h 6857997"/>
              <a:gd name="connsiteX23" fmla="*/ 1011358 w 12191997"/>
              <a:gd name="connsiteY23" fmla="*/ 6514282 h 6857997"/>
              <a:gd name="connsiteX24" fmla="*/ 986727 w 12191997"/>
              <a:gd name="connsiteY24" fmla="*/ 6487707 h 6857997"/>
              <a:gd name="connsiteX25" fmla="*/ 961907 w 12191997"/>
              <a:gd name="connsiteY25" fmla="*/ 6487707 h 6857997"/>
              <a:gd name="connsiteX26" fmla="*/ 953321 w 12191997"/>
              <a:gd name="connsiteY26" fmla="*/ 6479246 h 6857997"/>
              <a:gd name="connsiteX27" fmla="*/ 961907 w 12191997"/>
              <a:gd name="connsiteY27" fmla="*/ 6470785 h 6857997"/>
              <a:gd name="connsiteX28" fmla="*/ 1004965 w 12191997"/>
              <a:gd name="connsiteY28" fmla="*/ 6470785 h 6857997"/>
              <a:gd name="connsiteX29" fmla="*/ 1004965 w 12191997"/>
              <a:gd name="connsiteY29" fmla="*/ 6451543 h 6857997"/>
              <a:gd name="connsiteX30" fmla="*/ 841570 w 12191997"/>
              <a:gd name="connsiteY30" fmla="*/ 6451543 h 6857997"/>
              <a:gd name="connsiteX31" fmla="*/ 841570 w 12191997"/>
              <a:gd name="connsiteY31" fmla="*/ 6542674 h 6857997"/>
              <a:gd name="connsiteX32" fmla="*/ 862692 w 12191997"/>
              <a:gd name="connsiteY32" fmla="*/ 6542674 h 6857997"/>
              <a:gd name="connsiteX33" fmla="*/ 862692 w 12191997"/>
              <a:gd name="connsiteY33" fmla="*/ 6486454 h 6857997"/>
              <a:gd name="connsiteX34" fmla="*/ 898981 w 12191997"/>
              <a:gd name="connsiteY34" fmla="*/ 6542486 h 6857997"/>
              <a:gd name="connsiteX35" fmla="*/ 898981 w 12191997"/>
              <a:gd name="connsiteY35" fmla="*/ 6542674 h 6857997"/>
              <a:gd name="connsiteX36" fmla="*/ 920855 w 12191997"/>
              <a:gd name="connsiteY36" fmla="*/ 6542674 h 6857997"/>
              <a:gd name="connsiteX37" fmla="*/ 920793 w 12191997"/>
              <a:gd name="connsiteY37" fmla="*/ 6522994 h 6857997"/>
              <a:gd name="connsiteX38" fmla="*/ 920667 w 12191997"/>
              <a:gd name="connsiteY38" fmla="*/ 6451543 h 6857997"/>
              <a:gd name="connsiteX39" fmla="*/ 899671 w 12191997"/>
              <a:gd name="connsiteY39" fmla="*/ 6451543 h 6857997"/>
              <a:gd name="connsiteX40" fmla="*/ 899671 w 12191997"/>
              <a:gd name="connsiteY40" fmla="*/ 6508829 h 6857997"/>
              <a:gd name="connsiteX41" fmla="*/ 863068 w 12191997"/>
              <a:gd name="connsiteY41" fmla="*/ 6451543 h 6857997"/>
              <a:gd name="connsiteX42" fmla="*/ 774444 w 12191997"/>
              <a:gd name="connsiteY42" fmla="*/ 6451543 h 6857997"/>
              <a:gd name="connsiteX43" fmla="*/ 742918 w 12191997"/>
              <a:gd name="connsiteY43" fmla="*/ 6542674 h 6857997"/>
              <a:gd name="connsiteX44" fmla="*/ 765168 w 12191997"/>
              <a:gd name="connsiteY44" fmla="*/ 6542674 h 6857997"/>
              <a:gd name="connsiteX45" fmla="*/ 770934 w 12191997"/>
              <a:gd name="connsiteY45" fmla="*/ 6524060 h 6857997"/>
              <a:gd name="connsiteX46" fmla="*/ 805845 w 12191997"/>
              <a:gd name="connsiteY46" fmla="*/ 6524060 h 6857997"/>
              <a:gd name="connsiteX47" fmla="*/ 811799 w 12191997"/>
              <a:gd name="connsiteY47" fmla="*/ 6542674 h 6857997"/>
              <a:gd name="connsiteX48" fmla="*/ 833735 w 12191997"/>
              <a:gd name="connsiteY48" fmla="*/ 6542674 h 6857997"/>
              <a:gd name="connsiteX49" fmla="*/ 801269 w 12191997"/>
              <a:gd name="connsiteY49" fmla="*/ 6451543 h 6857997"/>
              <a:gd name="connsiteX50" fmla="*/ 604404 w 12191997"/>
              <a:gd name="connsiteY50" fmla="*/ 6451543 h 6857997"/>
              <a:gd name="connsiteX51" fmla="*/ 576137 w 12191997"/>
              <a:gd name="connsiteY51" fmla="*/ 6479246 h 6857997"/>
              <a:gd name="connsiteX52" fmla="*/ 604404 w 12191997"/>
              <a:gd name="connsiteY52" fmla="*/ 6505821 h 6857997"/>
              <a:gd name="connsiteX53" fmla="*/ 625964 w 12191997"/>
              <a:gd name="connsiteY53" fmla="*/ 6505821 h 6857997"/>
              <a:gd name="connsiteX54" fmla="*/ 634174 w 12191997"/>
              <a:gd name="connsiteY54" fmla="*/ 6514282 h 6857997"/>
              <a:gd name="connsiteX55" fmla="*/ 625964 w 12191997"/>
              <a:gd name="connsiteY55" fmla="*/ 6522743 h 6857997"/>
              <a:gd name="connsiteX56" fmla="*/ 579772 w 12191997"/>
              <a:gd name="connsiteY56" fmla="*/ 6522743 h 6857997"/>
              <a:gd name="connsiteX57" fmla="*/ 579772 w 12191997"/>
              <a:gd name="connsiteY57" fmla="*/ 6542674 h 6857997"/>
              <a:gd name="connsiteX58" fmla="*/ 625149 w 12191997"/>
              <a:gd name="connsiteY58" fmla="*/ 6542674 h 6857997"/>
              <a:gd name="connsiteX59" fmla="*/ 653792 w 12191997"/>
              <a:gd name="connsiteY59" fmla="*/ 6514282 h 6857997"/>
              <a:gd name="connsiteX60" fmla="*/ 629223 w 12191997"/>
              <a:gd name="connsiteY60" fmla="*/ 6487707 h 6857997"/>
              <a:gd name="connsiteX61" fmla="*/ 604404 w 12191997"/>
              <a:gd name="connsiteY61" fmla="*/ 6487707 h 6857997"/>
              <a:gd name="connsiteX62" fmla="*/ 595817 w 12191997"/>
              <a:gd name="connsiteY62" fmla="*/ 6479246 h 6857997"/>
              <a:gd name="connsiteX63" fmla="*/ 604404 w 12191997"/>
              <a:gd name="connsiteY63" fmla="*/ 6470785 h 6857997"/>
              <a:gd name="connsiteX64" fmla="*/ 647462 w 12191997"/>
              <a:gd name="connsiteY64" fmla="*/ 6470785 h 6857997"/>
              <a:gd name="connsiteX65" fmla="*/ 647462 w 12191997"/>
              <a:gd name="connsiteY65" fmla="*/ 6451543 h 6857997"/>
              <a:gd name="connsiteX66" fmla="*/ 1023956 w 12191997"/>
              <a:gd name="connsiteY66" fmla="*/ 6451480 h 6857997"/>
              <a:gd name="connsiteX67" fmla="*/ 1023956 w 12191997"/>
              <a:gd name="connsiteY67" fmla="*/ 6542674 h 6857997"/>
              <a:gd name="connsiteX68" fmla="*/ 1045016 w 12191997"/>
              <a:gd name="connsiteY68" fmla="*/ 6542674 h 6857997"/>
              <a:gd name="connsiteX69" fmla="*/ 1045016 w 12191997"/>
              <a:gd name="connsiteY69" fmla="*/ 6504191 h 6857997"/>
              <a:gd name="connsiteX70" fmla="*/ 1074975 w 12191997"/>
              <a:gd name="connsiteY70" fmla="*/ 6542674 h 6857997"/>
              <a:gd name="connsiteX71" fmla="*/ 1099481 w 12191997"/>
              <a:gd name="connsiteY71" fmla="*/ 6542674 h 6857997"/>
              <a:gd name="connsiteX72" fmla="*/ 1065009 w 12191997"/>
              <a:gd name="connsiteY72" fmla="*/ 6497109 h 6857997"/>
              <a:gd name="connsiteX73" fmla="*/ 1099481 w 12191997"/>
              <a:gd name="connsiteY73" fmla="*/ 6451480 h 6857997"/>
              <a:gd name="connsiteX74" fmla="*/ 1074975 w 12191997"/>
              <a:gd name="connsiteY74" fmla="*/ 6451480 h 6857997"/>
              <a:gd name="connsiteX75" fmla="*/ 1045016 w 12191997"/>
              <a:gd name="connsiteY75" fmla="*/ 6489963 h 6857997"/>
              <a:gd name="connsiteX76" fmla="*/ 1045016 w 12191997"/>
              <a:gd name="connsiteY76" fmla="*/ 6451480 h 6857997"/>
              <a:gd name="connsiteX77" fmla="*/ 666077 w 12191997"/>
              <a:gd name="connsiteY77" fmla="*/ 6451480 h 6857997"/>
              <a:gd name="connsiteX78" fmla="*/ 666077 w 12191997"/>
              <a:gd name="connsiteY78" fmla="*/ 6542674 h 6857997"/>
              <a:gd name="connsiteX79" fmla="*/ 687073 w 12191997"/>
              <a:gd name="connsiteY79" fmla="*/ 6542674 h 6857997"/>
              <a:gd name="connsiteX80" fmla="*/ 687073 w 12191997"/>
              <a:gd name="connsiteY80" fmla="*/ 6504191 h 6857997"/>
              <a:gd name="connsiteX81" fmla="*/ 717033 w 12191997"/>
              <a:gd name="connsiteY81" fmla="*/ 6542674 h 6857997"/>
              <a:gd name="connsiteX82" fmla="*/ 741602 w 12191997"/>
              <a:gd name="connsiteY82" fmla="*/ 6542674 h 6857997"/>
              <a:gd name="connsiteX83" fmla="*/ 707067 w 12191997"/>
              <a:gd name="connsiteY83" fmla="*/ 6497109 h 6857997"/>
              <a:gd name="connsiteX84" fmla="*/ 741602 w 12191997"/>
              <a:gd name="connsiteY84" fmla="*/ 6451480 h 6857997"/>
              <a:gd name="connsiteX85" fmla="*/ 717033 w 12191997"/>
              <a:gd name="connsiteY85" fmla="*/ 6451480 h 6857997"/>
              <a:gd name="connsiteX86" fmla="*/ 687073 w 12191997"/>
              <a:gd name="connsiteY86" fmla="*/ 6489963 h 6857997"/>
              <a:gd name="connsiteX87" fmla="*/ 687073 w 12191997"/>
              <a:gd name="connsiteY87" fmla="*/ 6451480 h 6857997"/>
              <a:gd name="connsiteX88" fmla="*/ 0 w 12191997"/>
              <a:gd name="connsiteY88" fmla="*/ 0 h 6857997"/>
              <a:gd name="connsiteX89" fmla="*/ 12191997 w 12191997"/>
              <a:gd name="connsiteY89" fmla="*/ 0 h 6857997"/>
              <a:gd name="connsiteX90" fmla="*/ 12191997 w 12191997"/>
              <a:gd name="connsiteY90" fmla="*/ 6857997 h 6857997"/>
              <a:gd name="connsiteX91" fmla="*/ 0 w 12191997"/>
              <a:gd name="connsiteY91" fmla="*/ 6857997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2191997" h="6857997">
                <a:moveTo>
                  <a:pt x="1146049" y="6470534"/>
                </a:moveTo>
                <a:lnTo>
                  <a:pt x="1157832" y="6505507"/>
                </a:lnTo>
                <a:lnTo>
                  <a:pt x="1134642" y="6505507"/>
                </a:lnTo>
                <a:close/>
                <a:moveTo>
                  <a:pt x="788170" y="6470534"/>
                </a:moveTo>
                <a:lnTo>
                  <a:pt x="799953" y="6505507"/>
                </a:lnTo>
                <a:lnTo>
                  <a:pt x="776763" y="6505507"/>
                </a:lnTo>
                <a:close/>
                <a:moveTo>
                  <a:pt x="1132323" y="6451543"/>
                </a:moveTo>
                <a:lnTo>
                  <a:pt x="1100860" y="6542674"/>
                </a:lnTo>
                <a:lnTo>
                  <a:pt x="1123110" y="6542674"/>
                </a:lnTo>
                <a:lnTo>
                  <a:pt x="1128876" y="6524060"/>
                </a:lnTo>
                <a:lnTo>
                  <a:pt x="1163786" y="6524060"/>
                </a:lnTo>
                <a:lnTo>
                  <a:pt x="1169741" y="6542674"/>
                </a:lnTo>
                <a:lnTo>
                  <a:pt x="1191615" y="6542674"/>
                </a:lnTo>
                <a:lnTo>
                  <a:pt x="1159148" y="6451543"/>
                </a:lnTo>
                <a:close/>
                <a:moveTo>
                  <a:pt x="961907" y="6451543"/>
                </a:moveTo>
                <a:cubicBezTo>
                  <a:pt x="944358" y="6451543"/>
                  <a:pt x="933640" y="6461822"/>
                  <a:pt x="933640" y="6479246"/>
                </a:cubicBezTo>
                <a:cubicBezTo>
                  <a:pt x="933640" y="6496670"/>
                  <a:pt x="945987" y="6505821"/>
                  <a:pt x="961907" y="6505821"/>
                </a:cubicBezTo>
                <a:lnTo>
                  <a:pt x="983468" y="6505821"/>
                </a:lnTo>
                <a:cubicBezTo>
                  <a:pt x="988921" y="6505821"/>
                  <a:pt x="991678" y="6509957"/>
                  <a:pt x="991678" y="6514282"/>
                </a:cubicBezTo>
                <a:cubicBezTo>
                  <a:pt x="991678" y="6518732"/>
                  <a:pt x="988921" y="6522743"/>
                  <a:pt x="983468" y="6522743"/>
                </a:cubicBezTo>
                <a:lnTo>
                  <a:pt x="937338" y="6522743"/>
                </a:lnTo>
                <a:lnTo>
                  <a:pt x="937338" y="6542674"/>
                </a:lnTo>
                <a:lnTo>
                  <a:pt x="982716" y="6542674"/>
                </a:lnTo>
                <a:cubicBezTo>
                  <a:pt x="1000704" y="6542674"/>
                  <a:pt x="1011358" y="6532772"/>
                  <a:pt x="1011358" y="6514282"/>
                </a:cubicBezTo>
                <a:cubicBezTo>
                  <a:pt x="1011358" y="6497610"/>
                  <a:pt x="1000641" y="6487707"/>
                  <a:pt x="986727" y="6487707"/>
                </a:cubicBezTo>
                <a:lnTo>
                  <a:pt x="961907" y="6487707"/>
                </a:lnTo>
                <a:cubicBezTo>
                  <a:pt x="956078" y="6487707"/>
                  <a:pt x="953321" y="6483696"/>
                  <a:pt x="953321" y="6479246"/>
                </a:cubicBezTo>
                <a:cubicBezTo>
                  <a:pt x="953321" y="6474796"/>
                  <a:pt x="956078" y="6470785"/>
                  <a:pt x="961907" y="6470785"/>
                </a:cubicBezTo>
                <a:lnTo>
                  <a:pt x="1004965" y="6470785"/>
                </a:lnTo>
                <a:lnTo>
                  <a:pt x="1004965" y="6451543"/>
                </a:lnTo>
                <a:close/>
                <a:moveTo>
                  <a:pt x="841570" y="6451543"/>
                </a:moveTo>
                <a:lnTo>
                  <a:pt x="841570" y="6542674"/>
                </a:lnTo>
                <a:lnTo>
                  <a:pt x="862692" y="6542674"/>
                </a:lnTo>
                <a:lnTo>
                  <a:pt x="862692" y="6486454"/>
                </a:lnTo>
                <a:lnTo>
                  <a:pt x="898981" y="6542486"/>
                </a:lnTo>
                <a:lnTo>
                  <a:pt x="898981" y="6542674"/>
                </a:lnTo>
                <a:lnTo>
                  <a:pt x="920855" y="6542674"/>
                </a:lnTo>
                <a:lnTo>
                  <a:pt x="920793" y="6522994"/>
                </a:lnTo>
                <a:lnTo>
                  <a:pt x="920667" y="6451543"/>
                </a:lnTo>
                <a:lnTo>
                  <a:pt x="899671" y="6451543"/>
                </a:lnTo>
                <a:lnTo>
                  <a:pt x="899671" y="6508829"/>
                </a:lnTo>
                <a:lnTo>
                  <a:pt x="863068" y="6451543"/>
                </a:lnTo>
                <a:close/>
                <a:moveTo>
                  <a:pt x="774444" y="6451543"/>
                </a:moveTo>
                <a:lnTo>
                  <a:pt x="742918" y="6542674"/>
                </a:lnTo>
                <a:lnTo>
                  <a:pt x="765168" y="6542674"/>
                </a:lnTo>
                <a:lnTo>
                  <a:pt x="770934" y="6524060"/>
                </a:lnTo>
                <a:lnTo>
                  <a:pt x="805845" y="6524060"/>
                </a:lnTo>
                <a:lnTo>
                  <a:pt x="811799" y="6542674"/>
                </a:lnTo>
                <a:lnTo>
                  <a:pt x="833735" y="6542674"/>
                </a:lnTo>
                <a:lnTo>
                  <a:pt x="801269" y="6451543"/>
                </a:lnTo>
                <a:close/>
                <a:moveTo>
                  <a:pt x="604404" y="6451543"/>
                </a:moveTo>
                <a:cubicBezTo>
                  <a:pt x="586792" y="6451543"/>
                  <a:pt x="576137" y="6461822"/>
                  <a:pt x="576137" y="6479246"/>
                </a:cubicBezTo>
                <a:cubicBezTo>
                  <a:pt x="576137" y="6496670"/>
                  <a:pt x="588484" y="6505821"/>
                  <a:pt x="604404" y="6505821"/>
                </a:cubicBezTo>
                <a:lnTo>
                  <a:pt x="625964" y="6505821"/>
                </a:lnTo>
                <a:cubicBezTo>
                  <a:pt x="631417" y="6505821"/>
                  <a:pt x="634174" y="6509957"/>
                  <a:pt x="634174" y="6514282"/>
                </a:cubicBezTo>
                <a:cubicBezTo>
                  <a:pt x="634174" y="6518732"/>
                  <a:pt x="631417" y="6522743"/>
                  <a:pt x="625964" y="6522743"/>
                </a:cubicBezTo>
                <a:lnTo>
                  <a:pt x="579772" y="6522743"/>
                </a:lnTo>
                <a:lnTo>
                  <a:pt x="579772" y="6542674"/>
                </a:lnTo>
                <a:lnTo>
                  <a:pt x="625149" y="6542674"/>
                </a:lnTo>
                <a:cubicBezTo>
                  <a:pt x="643137" y="6542674"/>
                  <a:pt x="653792" y="6532772"/>
                  <a:pt x="653792" y="6514282"/>
                </a:cubicBezTo>
                <a:cubicBezTo>
                  <a:pt x="653792" y="6497610"/>
                  <a:pt x="643137" y="6487707"/>
                  <a:pt x="629223" y="6487707"/>
                </a:cubicBezTo>
                <a:lnTo>
                  <a:pt x="604404" y="6487707"/>
                </a:lnTo>
                <a:cubicBezTo>
                  <a:pt x="598575" y="6487707"/>
                  <a:pt x="595817" y="6483696"/>
                  <a:pt x="595817" y="6479246"/>
                </a:cubicBezTo>
                <a:cubicBezTo>
                  <a:pt x="595817" y="6474796"/>
                  <a:pt x="598575" y="6470785"/>
                  <a:pt x="604404" y="6470785"/>
                </a:cubicBezTo>
                <a:lnTo>
                  <a:pt x="647462" y="6470785"/>
                </a:lnTo>
                <a:lnTo>
                  <a:pt x="647462" y="6451543"/>
                </a:lnTo>
                <a:close/>
                <a:moveTo>
                  <a:pt x="1023956" y="6451480"/>
                </a:moveTo>
                <a:lnTo>
                  <a:pt x="1023956" y="6542674"/>
                </a:lnTo>
                <a:lnTo>
                  <a:pt x="1045016" y="6542674"/>
                </a:lnTo>
                <a:lnTo>
                  <a:pt x="1045016" y="6504191"/>
                </a:lnTo>
                <a:lnTo>
                  <a:pt x="1074975" y="6542674"/>
                </a:lnTo>
                <a:lnTo>
                  <a:pt x="1099481" y="6542674"/>
                </a:lnTo>
                <a:lnTo>
                  <a:pt x="1065009" y="6497109"/>
                </a:lnTo>
                <a:lnTo>
                  <a:pt x="1099481" y="6451480"/>
                </a:lnTo>
                <a:lnTo>
                  <a:pt x="1074975" y="6451480"/>
                </a:lnTo>
                <a:lnTo>
                  <a:pt x="1045016" y="6489963"/>
                </a:lnTo>
                <a:lnTo>
                  <a:pt x="1045016" y="6451480"/>
                </a:lnTo>
                <a:close/>
                <a:moveTo>
                  <a:pt x="666077" y="6451480"/>
                </a:moveTo>
                <a:lnTo>
                  <a:pt x="666077" y="6542674"/>
                </a:lnTo>
                <a:lnTo>
                  <a:pt x="687073" y="6542674"/>
                </a:lnTo>
                <a:lnTo>
                  <a:pt x="687073" y="6504191"/>
                </a:lnTo>
                <a:lnTo>
                  <a:pt x="717033" y="6542674"/>
                </a:lnTo>
                <a:lnTo>
                  <a:pt x="741602" y="6542674"/>
                </a:lnTo>
                <a:lnTo>
                  <a:pt x="707067" y="6497109"/>
                </a:lnTo>
                <a:lnTo>
                  <a:pt x="741602" y="6451480"/>
                </a:lnTo>
                <a:lnTo>
                  <a:pt x="717033" y="6451480"/>
                </a:lnTo>
                <a:lnTo>
                  <a:pt x="687073" y="6489963"/>
                </a:lnTo>
                <a:lnTo>
                  <a:pt x="687073" y="6451480"/>
                </a:lnTo>
                <a:close/>
                <a:moveTo>
                  <a:pt x="0" y="0"/>
                </a:moveTo>
                <a:lnTo>
                  <a:pt x="12191997" y="0"/>
                </a:lnTo>
                <a:lnTo>
                  <a:pt x="12191997" y="6857997"/>
                </a:lnTo>
                <a:lnTo>
                  <a:pt x="0" y="6857997"/>
                </a:lnTo>
                <a:close/>
              </a:path>
            </a:pathLst>
          </a:custGeom>
          <a:solidFill>
            <a:srgbClr val="ECECEC"/>
          </a:solidFill>
        </p:spPr>
        <p:txBody>
          <a:bodyPr wrap="square" lIns="36000" tIns="36000" rIns="36000" bIns="36000">
            <a:noAutofit/>
          </a:bodyPr>
          <a:lstStyle>
            <a:lvl1pPr marL="0" indent="0" algn="ctr">
              <a:buNone/>
              <a:defRPr sz="1300">
                <a:solidFill>
                  <a:schemeClr val="tx2"/>
                </a:solidFill>
              </a:defRPr>
            </a:lvl1pPr>
          </a:lstStyle>
          <a:p>
            <a:r>
              <a:rPr lang="en-US" noProof="0"/>
              <a:t>If the image placeholder icon is underneath the text box, select the gray placeholder box and then go to insert in the top menu and add picture. Do NOT move the textbox!</a:t>
            </a:r>
          </a:p>
          <a:p>
            <a:endParaRPr lang="en-US" noProof="0"/>
          </a:p>
        </p:txBody>
      </p:sp>
      <p:sp>
        <p:nvSpPr>
          <p:cNvPr id="19" name="Text Placeholder 18">
            <a:extLst>
              <a:ext uri="{FF2B5EF4-FFF2-40B4-BE49-F238E27FC236}">
                <a16:creationId xmlns:a16="http://schemas.microsoft.com/office/drawing/2014/main" id="{696CCD45-BBC3-4242-B2B8-F5604A1D97BB}"/>
              </a:ext>
            </a:extLst>
          </p:cNvPr>
          <p:cNvSpPr>
            <a:spLocks noGrp="1"/>
          </p:cNvSpPr>
          <p:nvPr>
            <p:ph type="body" sz="quarter" idx="14" hasCustomPrompt="1"/>
          </p:nvPr>
        </p:nvSpPr>
        <p:spPr>
          <a:xfrm>
            <a:off x="576000" y="1852246"/>
            <a:ext cx="7253550" cy="2312681"/>
          </a:xfrm>
          <a:prstGeom prst="rect">
            <a:avLst/>
          </a:prstGeom>
        </p:spPr>
        <p:txBody>
          <a:bodyPr anchor="b">
            <a:noAutofit/>
          </a:bodyPr>
          <a:lstStyle>
            <a:lvl1pPr marL="0" indent="0" algn="l">
              <a:lnSpc>
                <a:spcPct val="90000"/>
              </a:lnSpc>
              <a:spcBef>
                <a:spcPts val="0"/>
              </a:spcBef>
              <a:buNone/>
              <a:defRPr sz="3600" spc="40" baseline="0">
                <a:solidFill>
                  <a:schemeClr val="tx2"/>
                </a:solidFill>
                <a:latin typeface="+mj-lt"/>
              </a:defRPr>
            </a:lvl1pPr>
          </a:lstStyle>
          <a:p>
            <a:pPr lvl="0"/>
            <a:r>
              <a:rPr lang="en-US" noProof="0"/>
              <a:t>Click to add a quotation </a:t>
            </a:r>
            <a:br>
              <a:rPr lang="en-US" noProof="0"/>
            </a:br>
            <a:r>
              <a:rPr lang="en-US" noProof="0"/>
              <a:t>of maximum four lines</a:t>
            </a:r>
          </a:p>
        </p:txBody>
      </p:sp>
      <p:sp>
        <p:nvSpPr>
          <p:cNvPr id="9" name="Text Placeholder 18">
            <a:extLst>
              <a:ext uri="{FF2B5EF4-FFF2-40B4-BE49-F238E27FC236}">
                <a16:creationId xmlns:a16="http://schemas.microsoft.com/office/drawing/2014/main" id="{02F1B97F-3A95-9446-9E62-C3B80BE6BCE7}"/>
              </a:ext>
            </a:extLst>
          </p:cNvPr>
          <p:cNvSpPr>
            <a:spLocks noGrp="1"/>
          </p:cNvSpPr>
          <p:nvPr>
            <p:ph type="body" sz="quarter" idx="19" hasCustomPrompt="1"/>
          </p:nvPr>
        </p:nvSpPr>
        <p:spPr>
          <a:xfrm>
            <a:off x="576263" y="4426246"/>
            <a:ext cx="4064000" cy="112593"/>
          </a:xfrm>
          <a:prstGeom prst="rect">
            <a:avLst/>
          </a:prstGeom>
        </p:spPr>
        <p:txBody>
          <a:bodyPr anchor="t">
            <a:noAutofit/>
          </a:bodyPr>
          <a:lstStyle>
            <a:lvl1pPr marL="171450" indent="-171450" algn="l">
              <a:lnSpc>
                <a:spcPct val="85000"/>
              </a:lnSpc>
              <a:spcBef>
                <a:spcPts val="0"/>
              </a:spcBef>
              <a:buFont typeface="System Font Regular"/>
              <a:buChar char="–"/>
              <a:defRPr sz="1200" cap="none" spc="70" baseline="0">
                <a:solidFill>
                  <a:schemeClr val="tx2"/>
                </a:solidFill>
              </a:defRPr>
            </a:lvl1pPr>
          </a:lstStyle>
          <a:p>
            <a:pPr lvl="0"/>
            <a:r>
              <a:rPr lang="en-US" noProof="0"/>
              <a:t>Click to add </a:t>
            </a:r>
            <a:r>
              <a:rPr lang="en-US" sz="1200" noProof="0"/>
              <a:t>Author</a:t>
            </a:r>
            <a:r>
              <a:rPr lang="en-US" noProof="0"/>
              <a:t>/Sender</a:t>
            </a:r>
          </a:p>
        </p:txBody>
      </p:sp>
      <p:sp>
        <p:nvSpPr>
          <p:cNvPr id="10" name="textruta 5">
            <a:extLst>
              <a:ext uri="{FF2B5EF4-FFF2-40B4-BE49-F238E27FC236}">
                <a16:creationId xmlns:a16="http://schemas.microsoft.com/office/drawing/2014/main" id="{6125E698-E501-F948-80A2-6E99F56F7359}"/>
              </a:ext>
            </a:extLst>
          </p:cNvPr>
          <p:cNvSpPr txBox="1"/>
          <p:nvPr userDrawn="1"/>
        </p:nvSpPr>
        <p:spPr>
          <a:xfrm>
            <a:off x="12395260" y="1453483"/>
            <a:ext cx="1681523" cy="646331"/>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the textboxes disappears after adding or changing an imag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right click the image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and use – </a:t>
            </a:r>
            <a:r>
              <a:rPr lang="en-US" sz="900" b="1" noProof="0">
                <a:solidFill>
                  <a:schemeClr val="tx1">
                    <a:lumMod val="65000"/>
                    <a:lumOff val="35000"/>
                  </a:schemeClr>
                </a:solidFill>
                <a:latin typeface="Arial" panose="020B0604020202020204" pitchFamily="34" charset="0"/>
                <a:cs typeface="Arial" panose="020B0604020202020204" pitchFamily="34" charset="0"/>
              </a:rPr>
              <a:t>S</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end to back</a:t>
            </a:r>
          </a:p>
        </p:txBody>
      </p:sp>
      <p:sp>
        <p:nvSpPr>
          <p:cNvPr id="11" name="textruta 10">
            <a:extLst>
              <a:ext uri="{FF2B5EF4-FFF2-40B4-BE49-F238E27FC236}">
                <a16:creationId xmlns:a16="http://schemas.microsoft.com/office/drawing/2014/main" id="{F96DE2D7-6EC7-F04E-BCD5-54998471501A}"/>
              </a:ext>
            </a:extLst>
          </p:cNvPr>
          <p:cNvSpPr txBox="1"/>
          <p:nvPr userDrawn="1"/>
        </p:nvSpPr>
        <p:spPr>
          <a:xfrm>
            <a:off x="12395260" y="-12189"/>
            <a:ext cx="1681523" cy="1338828"/>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you need to change the color of the logo, right click outside work area,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Format Background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from context menu and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Solid fill</a:t>
            </a:r>
            <a:r>
              <a:rPr lang="en-US" sz="900" baseline="0" noProof="0">
                <a:solidFill>
                  <a:schemeClr val="tx1">
                    <a:lumMod val="65000"/>
                    <a:lumOff val="35000"/>
                  </a:schemeClr>
                </a:solidFill>
                <a:latin typeface="Arial" panose="020B0604020202020204" pitchFamily="34" charset="0"/>
                <a:cs typeface="Arial" panose="020B0604020202020204" pitchFamily="34" charset="0"/>
              </a:rPr>
              <a:t> –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White or Blue</a:t>
            </a: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p:txBody>
      </p:sp>
      <p:sp>
        <p:nvSpPr>
          <p:cNvPr id="12" name="Rektangel 11">
            <a:extLst>
              <a:ext uri="{FF2B5EF4-FFF2-40B4-BE49-F238E27FC236}">
                <a16:creationId xmlns:a16="http://schemas.microsoft.com/office/drawing/2014/main" id="{51356C9E-5E92-A04E-A4AA-821A446C8B64}"/>
              </a:ext>
            </a:extLst>
          </p:cNvPr>
          <p:cNvSpPr/>
          <p:nvPr userDrawn="1"/>
        </p:nvSpPr>
        <p:spPr>
          <a:xfrm>
            <a:off x="13255337" y="926211"/>
            <a:ext cx="341194" cy="305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Rektangel 12">
            <a:extLst>
              <a:ext uri="{FF2B5EF4-FFF2-40B4-BE49-F238E27FC236}">
                <a16:creationId xmlns:a16="http://schemas.microsoft.com/office/drawing/2014/main" id="{15B3ED12-EA8B-F946-BFC3-D77E68E2793F}"/>
              </a:ext>
            </a:extLst>
          </p:cNvPr>
          <p:cNvSpPr/>
          <p:nvPr userDrawn="1"/>
        </p:nvSpPr>
        <p:spPr>
          <a:xfrm>
            <a:off x="12833410" y="926211"/>
            <a:ext cx="341194" cy="30590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Platshållare för datum 3">
            <a:extLst>
              <a:ext uri="{FF2B5EF4-FFF2-40B4-BE49-F238E27FC236}">
                <a16:creationId xmlns:a16="http://schemas.microsoft.com/office/drawing/2014/main" id="{59A0545A-79C8-8143-9D7B-0E8CFC8BF91A}"/>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tx2"/>
                </a:solidFill>
              </a:defRPr>
            </a:lvl1pPr>
          </a:lstStyle>
          <a:p>
            <a:fld id="{2F9806AD-009B-8D45-82A9-B9E8234B6322}" type="datetime1">
              <a:rPr lang="en-US" noProof="0" smtClean="0"/>
              <a:t>10/17/2023</a:t>
            </a:fld>
            <a:endParaRPr lang="en-US" noProof="0"/>
          </a:p>
        </p:txBody>
      </p:sp>
      <p:sp>
        <p:nvSpPr>
          <p:cNvPr id="15" name="Platshållare för sidfot 4">
            <a:extLst>
              <a:ext uri="{FF2B5EF4-FFF2-40B4-BE49-F238E27FC236}">
                <a16:creationId xmlns:a16="http://schemas.microsoft.com/office/drawing/2014/main" id="{BCB3CAC7-3F95-5045-B4E2-B10BE41353B0}"/>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tx2"/>
                </a:solidFill>
              </a:defRPr>
            </a:lvl1pPr>
          </a:lstStyle>
          <a:p>
            <a:r>
              <a:rPr lang="en-US" noProof="0"/>
              <a:t>Go to header/footer to change text </a:t>
            </a:r>
          </a:p>
        </p:txBody>
      </p:sp>
      <p:sp>
        <p:nvSpPr>
          <p:cNvPr id="16" name="Platshållare för bildnummer 5">
            <a:extLst>
              <a:ext uri="{FF2B5EF4-FFF2-40B4-BE49-F238E27FC236}">
                <a16:creationId xmlns:a16="http://schemas.microsoft.com/office/drawing/2014/main" id="{CE84C9A7-2CB0-2746-830B-CE8D18AC5F30}"/>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tx2"/>
                </a:solidFill>
              </a:defRPr>
            </a:lvl1pPr>
          </a:lstStyle>
          <a:p>
            <a:fld id="{EF8DBD5B-30F9-4F9C-AE39-E065C1AC514D}" type="slidenum">
              <a:rPr lang="en-US" noProof="0" smtClean="0"/>
              <a:pPr/>
              <a:t>‹#›</a:t>
            </a:fld>
            <a:endParaRPr lang="en-US" noProof="0"/>
          </a:p>
        </p:txBody>
      </p:sp>
      <p:sp>
        <p:nvSpPr>
          <p:cNvPr id="18" name="Text Placeholder 4">
            <a:extLst>
              <a:ext uri="{FF2B5EF4-FFF2-40B4-BE49-F238E27FC236}">
                <a16:creationId xmlns:a16="http://schemas.microsoft.com/office/drawing/2014/main" id="{646776D4-7C75-C249-9960-04B14FEA5E29}"/>
              </a:ext>
            </a:extLst>
          </p:cNvPr>
          <p:cNvSpPr>
            <a:spLocks noGrp="1"/>
          </p:cNvSpPr>
          <p:nvPr>
            <p:ph type="body" sz="quarter" idx="20" hasCustomPrompt="1"/>
          </p:nvPr>
        </p:nvSpPr>
        <p:spPr>
          <a:xfrm rot="5400000">
            <a:off x="10901730" y="803644"/>
            <a:ext cx="2093913" cy="486626"/>
          </a:xfrm>
        </p:spPr>
        <p:txBody>
          <a:bodyPr lIns="180000" tIns="180000" rIns="0" bIns="180000" anchor="ctr">
            <a:spAutoFit/>
          </a:bodyPr>
          <a:lstStyle>
            <a:lvl1pPr marL="6350" indent="0" algn="l">
              <a:buNone/>
              <a:defRPr sz="800"/>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Tree>
    <p:extLst>
      <p:ext uri="{BB962C8B-B14F-4D97-AF65-F5344CB8AC3E}">
        <p14:creationId xmlns:p14="http://schemas.microsoft.com/office/powerpoint/2010/main" val="245375894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 Quote Slide Blue">
    <p:bg>
      <p:bgRef idx="1001">
        <a:schemeClr val="bg2"/>
      </p:bgRef>
    </p:bg>
    <p:spTree>
      <p:nvGrpSpPr>
        <p:cNvPr id="1" name=""/>
        <p:cNvGrpSpPr/>
        <p:nvPr/>
      </p:nvGrpSpPr>
      <p:grpSpPr>
        <a:xfrm>
          <a:off x="0" y="0"/>
          <a:ext cx="0" cy="0"/>
          <a:chOff x="0" y="0"/>
          <a:chExt cx="0" cy="0"/>
        </a:xfrm>
      </p:grpSpPr>
      <p:sp>
        <p:nvSpPr>
          <p:cNvPr id="19" name="Text Placeholder 18">
            <a:extLst>
              <a:ext uri="{FF2B5EF4-FFF2-40B4-BE49-F238E27FC236}">
                <a16:creationId xmlns:a16="http://schemas.microsoft.com/office/drawing/2014/main" id="{696CCD45-BBC3-4242-B2B8-F5604A1D97BB}"/>
              </a:ext>
            </a:extLst>
          </p:cNvPr>
          <p:cNvSpPr>
            <a:spLocks noGrp="1"/>
          </p:cNvSpPr>
          <p:nvPr>
            <p:ph type="body" sz="quarter" idx="14" hasCustomPrompt="1"/>
          </p:nvPr>
        </p:nvSpPr>
        <p:spPr>
          <a:xfrm>
            <a:off x="576000" y="1852246"/>
            <a:ext cx="7253550" cy="2312681"/>
          </a:xfrm>
          <a:prstGeom prst="rect">
            <a:avLst/>
          </a:prstGeom>
        </p:spPr>
        <p:txBody>
          <a:bodyPr anchor="b">
            <a:noAutofit/>
          </a:bodyPr>
          <a:lstStyle>
            <a:lvl1pPr marL="0" indent="0" algn="l">
              <a:lnSpc>
                <a:spcPct val="90000"/>
              </a:lnSpc>
              <a:spcBef>
                <a:spcPts val="0"/>
              </a:spcBef>
              <a:buNone/>
              <a:defRPr sz="3600" spc="40" baseline="0">
                <a:solidFill>
                  <a:schemeClr val="tx2"/>
                </a:solidFill>
                <a:latin typeface="+mj-lt"/>
              </a:defRPr>
            </a:lvl1pPr>
          </a:lstStyle>
          <a:p>
            <a:pPr lvl="0"/>
            <a:r>
              <a:rPr lang="en-US" noProof="0"/>
              <a:t>Click to add a quotation </a:t>
            </a:r>
            <a:br>
              <a:rPr lang="en-US" noProof="0"/>
            </a:br>
            <a:r>
              <a:rPr lang="en-US" noProof="0"/>
              <a:t>of maximum four lines</a:t>
            </a:r>
          </a:p>
        </p:txBody>
      </p:sp>
      <p:sp>
        <p:nvSpPr>
          <p:cNvPr id="9" name="Text Placeholder 18">
            <a:extLst>
              <a:ext uri="{FF2B5EF4-FFF2-40B4-BE49-F238E27FC236}">
                <a16:creationId xmlns:a16="http://schemas.microsoft.com/office/drawing/2014/main" id="{02F1B97F-3A95-9446-9E62-C3B80BE6BCE7}"/>
              </a:ext>
            </a:extLst>
          </p:cNvPr>
          <p:cNvSpPr>
            <a:spLocks noGrp="1"/>
          </p:cNvSpPr>
          <p:nvPr>
            <p:ph type="body" sz="quarter" idx="19" hasCustomPrompt="1"/>
          </p:nvPr>
        </p:nvSpPr>
        <p:spPr>
          <a:xfrm>
            <a:off x="576263" y="4426246"/>
            <a:ext cx="4064000" cy="112593"/>
          </a:xfrm>
          <a:prstGeom prst="rect">
            <a:avLst/>
          </a:prstGeom>
        </p:spPr>
        <p:txBody>
          <a:bodyPr anchor="t">
            <a:noAutofit/>
          </a:bodyPr>
          <a:lstStyle>
            <a:lvl1pPr marL="171450" indent="-171450" algn="l">
              <a:lnSpc>
                <a:spcPct val="85000"/>
              </a:lnSpc>
              <a:spcBef>
                <a:spcPts val="0"/>
              </a:spcBef>
              <a:buFont typeface="System Font Regular"/>
              <a:buChar char="–"/>
              <a:defRPr sz="1200" cap="none" spc="70" baseline="0">
                <a:solidFill>
                  <a:schemeClr val="tx2"/>
                </a:solidFill>
              </a:defRPr>
            </a:lvl1pPr>
          </a:lstStyle>
          <a:p>
            <a:pPr lvl="0"/>
            <a:r>
              <a:rPr lang="en-US" noProof="0"/>
              <a:t>Click to add </a:t>
            </a:r>
            <a:r>
              <a:rPr lang="en-US" sz="1200" noProof="0"/>
              <a:t>Author</a:t>
            </a:r>
            <a:r>
              <a:rPr lang="en-US" noProof="0"/>
              <a:t>/Sender</a:t>
            </a:r>
          </a:p>
        </p:txBody>
      </p:sp>
      <p:sp>
        <p:nvSpPr>
          <p:cNvPr id="14" name="Platshållare för datum 3">
            <a:extLst>
              <a:ext uri="{FF2B5EF4-FFF2-40B4-BE49-F238E27FC236}">
                <a16:creationId xmlns:a16="http://schemas.microsoft.com/office/drawing/2014/main" id="{59A0545A-79C8-8143-9D7B-0E8CFC8BF91A}"/>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tx2"/>
                </a:solidFill>
              </a:defRPr>
            </a:lvl1pPr>
          </a:lstStyle>
          <a:p>
            <a:fld id="{2F9806AD-009B-8D45-82A9-B9E8234B6322}" type="datetime1">
              <a:rPr lang="en-US" noProof="0" smtClean="0"/>
              <a:t>10/17/2023</a:t>
            </a:fld>
            <a:endParaRPr lang="en-US" noProof="0"/>
          </a:p>
        </p:txBody>
      </p:sp>
      <p:sp>
        <p:nvSpPr>
          <p:cNvPr id="15" name="Platshållare för sidfot 4">
            <a:extLst>
              <a:ext uri="{FF2B5EF4-FFF2-40B4-BE49-F238E27FC236}">
                <a16:creationId xmlns:a16="http://schemas.microsoft.com/office/drawing/2014/main" id="{BCB3CAC7-3F95-5045-B4E2-B10BE41353B0}"/>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tx2"/>
                </a:solidFill>
              </a:defRPr>
            </a:lvl1pPr>
          </a:lstStyle>
          <a:p>
            <a:r>
              <a:rPr lang="en-US" noProof="0"/>
              <a:t>Go to header/footer to change text </a:t>
            </a:r>
          </a:p>
        </p:txBody>
      </p:sp>
      <p:sp>
        <p:nvSpPr>
          <p:cNvPr id="16" name="Platshållare för bildnummer 5">
            <a:extLst>
              <a:ext uri="{FF2B5EF4-FFF2-40B4-BE49-F238E27FC236}">
                <a16:creationId xmlns:a16="http://schemas.microsoft.com/office/drawing/2014/main" id="{CE84C9A7-2CB0-2746-830B-CE8D18AC5F30}"/>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tx2"/>
                </a:solidFill>
              </a:defRPr>
            </a:lvl1pPr>
          </a:lstStyle>
          <a:p>
            <a:fld id="{EF8DBD5B-30F9-4F9C-AE39-E065C1AC514D}" type="slidenum">
              <a:rPr lang="en-US" noProof="0" smtClean="0"/>
              <a:pPr/>
              <a:t>‹#›</a:t>
            </a:fld>
            <a:endParaRPr lang="en-US" noProof="0"/>
          </a:p>
        </p:txBody>
      </p:sp>
      <p:grpSp>
        <p:nvGrpSpPr>
          <p:cNvPr id="18" name="Grupp 32">
            <a:extLst>
              <a:ext uri="{FF2B5EF4-FFF2-40B4-BE49-F238E27FC236}">
                <a16:creationId xmlns:a16="http://schemas.microsoft.com/office/drawing/2014/main" id="{892CF028-CD68-014F-845F-FFFCB68894A8}"/>
              </a:ext>
            </a:extLst>
          </p:cNvPr>
          <p:cNvGrpSpPr/>
          <p:nvPr userDrawn="1"/>
        </p:nvGrpSpPr>
        <p:grpSpPr>
          <a:xfrm>
            <a:off x="576140" y="6451484"/>
            <a:ext cx="615478" cy="91194"/>
            <a:chOff x="576140" y="6451484"/>
            <a:chExt cx="615478" cy="91194"/>
          </a:xfrm>
          <a:solidFill>
            <a:schemeClr val="tx1"/>
          </a:solidFill>
        </p:grpSpPr>
        <p:sp>
          <p:nvSpPr>
            <p:cNvPr id="20" name="Bild 2">
              <a:extLst>
                <a:ext uri="{FF2B5EF4-FFF2-40B4-BE49-F238E27FC236}">
                  <a16:creationId xmlns:a16="http://schemas.microsoft.com/office/drawing/2014/main" id="{BB6F4DFB-1FB4-AF4E-AE93-FD81ADD7997B}"/>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noProof="0">
                <a:solidFill>
                  <a:schemeClr val="tx1"/>
                </a:solidFill>
              </a:endParaRPr>
            </a:p>
          </p:txBody>
        </p:sp>
        <p:sp>
          <p:nvSpPr>
            <p:cNvPr id="21" name="Bild 2">
              <a:extLst>
                <a:ext uri="{FF2B5EF4-FFF2-40B4-BE49-F238E27FC236}">
                  <a16:creationId xmlns:a16="http://schemas.microsoft.com/office/drawing/2014/main" id="{9302B9C7-F584-3D4B-865C-55B98056491D}"/>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noProof="0">
                <a:solidFill>
                  <a:schemeClr val="tx1"/>
                </a:solidFill>
              </a:endParaRPr>
            </a:p>
          </p:txBody>
        </p:sp>
        <p:sp>
          <p:nvSpPr>
            <p:cNvPr id="22" name="Bild 2">
              <a:extLst>
                <a:ext uri="{FF2B5EF4-FFF2-40B4-BE49-F238E27FC236}">
                  <a16:creationId xmlns:a16="http://schemas.microsoft.com/office/drawing/2014/main" id="{F985D99D-13E7-EF49-B0AD-01E92B0054E9}"/>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noProof="0">
                <a:solidFill>
                  <a:schemeClr val="tx1"/>
                </a:solidFill>
              </a:endParaRPr>
            </a:p>
          </p:txBody>
        </p:sp>
        <p:sp>
          <p:nvSpPr>
            <p:cNvPr id="23" name="Bild 2">
              <a:extLst>
                <a:ext uri="{FF2B5EF4-FFF2-40B4-BE49-F238E27FC236}">
                  <a16:creationId xmlns:a16="http://schemas.microsoft.com/office/drawing/2014/main" id="{3E730B4A-6C2F-0E49-8857-CB76E0527421}"/>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noProof="0">
                <a:solidFill>
                  <a:schemeClr val="tx1"/>
                </a:solidFill>
              </a:endParaRPr>
            </a:p>
          </p:txBody>
        </p:sp>
        <p:sp>
          <p:nvSpPr>
            <p:cNvPr id="24" name="Bild 2">
              <a:extLst>
                <a:ext uri="{FF2B5EF4-FFF2-40B4-BE49-F238E27FC236}">
                  <a16:creationId xmlns:a16="http://schemas.microsoft.com/office/drawing/2014/main" id="{C00A891A-B8BE-A142-A7F1-CCA13BE7ED10}"/>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noProof="0">
                <a:solidFill>
                  <a:schemeClr val="tx1"/>
                </a:solidFill>
              </a:endParaRPr>
            </a:p>
          </p:txBody>
        </p:sp>
        <p:sp>
          <p:nvSpPr>
            <p:cNvPr id="25" name="Bild 2">
              <a:extLst>
                <a:ext uri="{FF2B5EF4-FFF2-40B4-BE49-F238E27FC236}">
                  <a16:creationId xmlns:a16="http://schemas.microsoft.com/office/drawing/2014/main" id="{05B41D9C-1A87-1044-AF28-2C146A2B9154}"/>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noProof="0">
                <a:solidFill>
                  <a:schemeClr val="tx1"/>
                </a:solidFill>
              </a:endParaRPr>
            </a:p>
          </p:txBody>
        </p:sp>
        <p:sp>
          <p:nvSpPr>
            <p:cNvPr id="26" name="Bild 2">
              <a:extLst>
                <a:ext uri="{FF2B5EF4-FFF2-40B4-BE49-F238E27FC236}">
                  <a16:creationId xmlns:a16="http://schemas.microsoft.com/office/drawing/2014/main" id="{B6D5D020-32AD-AB4E-BEAD-487BC943A244}"/>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noProof="0">
                <a:solidFill>
                  <a:schemeClr val="tx1"/>
                </a:solidFill>
              </a:endParaRPr>
            </a:p>
          </p:txBody>
        </p:sp>
      </p:grpSp>
    </p:spTree>
    <p:extLst>
      <p:ext uri="{BB962C8B-B14F-4D97-AF65-F5344CB8AC3E}">
        <p14:creationId xmlns:p14="http://schemas.microsoft.com/office/powerpoint/2010/main" val="3354409114"/>
      </p:ext>
    </p:extLst>
  </p:cSld>
  <p:clrMapOvr>
    <a:overrideClrMapping bg1="dk1" tx1="lt1" bg2="dk2" tx2="lt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4 Quote Slide Gray">
    <p:bg>
      <p:bgRef idx="1001">
        <a:schemeClr val="bg2"/>
      </p:bgRef>
    </p:bg>
    <p:spTree>
      <p:nvGrpSpPr>
        <p:cNvPr id="1" name=""/>
        <p:cNvGrpSpPr/>
        <p:nvPr/>
      </p:nvGrpSpPr>
      <p:grpSpPr>
        <a:xfrm>
          <a:off x="0" y="0"/>
          <a:ext cx="0" cy="0"/>
          <a:chOff x="0" y="0"/>
          <a:chExt cx="0" cy="0"/>
        </a:xfrm>
      </p:grpSpPr>
      <p:sp>
        <p:nvSpPr>
          <p:cNvPr id="19" name="Text Placeholder 18">
            <a:extLst>
              <a:ext uri="{FF2B5EF4-FFF2-40B4-BE49-F238E27FC236}">
                <a16:creationId xmlns:a16="http://schemas.microsoft.com/office/drawing/2014/main" id="{696CCD45-BBC3-4242-B2B8-F5604A1D97BB}"/>
              </a:ext>
            </a:extLst>
          </p:cNvPr>
          <p:cNvSpPr>
            <a:spLocks noGrp="1"/>
          </p:cNvSpPr>
          <p:nvPr>
            <p:ph type="body" sz="quarter" idx="14" hasCustomPrompt="1"/>
          </p:nvPr>
        </p:nvSpPr>
        <p:spPr>
          <a:xfrm>
            <a:off x="576000" y="1852246"/>
            <a:ext cx="7253550" cy="2312681"/>
          </a:xfrm>
          <a:prstGeom prst="rect">
            <a:avLst/>
          </a:prstGeom>
        </p:spPr>
        <p:txBody>
          <a:bodyPr anchor="b">
            <a:noAutofit/>
          </a:bodyPr>
          <a:lstStyle>
            <a:lvl1pPr marL="0" indent="0" algn="l">
              <a:lnSpc>
                <a:spcPct val="90000"/>
              </a:lnSpc>
              <a:spcBef>
                <a:spcPts val="0"/>
              </a:spcBef>
              <a:buNone/>
              <a:defRPr sz="3600" spc="40" baseline="0">
                <a:solidFill>
                  <a:schemeClr val="tx2"/>
                </a:solidFill>
                <a:latin typeface="+mj-lt"/>
              </a:defRPr>
            </a:lvl1pPr>
          </a:lstStyle>
          <a:p>
            <a:pPr lvl="0"/>
            <a:r>
              <a:rPr lang="en-US" noProof="0"/>
              <a:t>Click to add a quotation </a:t>
            </a:r>
            <a:br>
              <a:rPr lang="en-US" noProof="0"/>
            </a:br>
            <a:r>
              <a:rPr lang="en-US" noProof="0"/>
              <a:t>of maximum four lines</a:t>
            </a:r>
          </a:p>
        </p:txBody>
      </p:sp>
      <p:sp>
        <p:nvSpPr>
          <p:cNvPr id="9" name="Text Placeholder 18">
            <a:extLst>
              <a:ext uri="{FF2B5EF4-FFF2-40B4-BE49-F238E27FC236}">
                <a16:creationId xmlns:a16="http://schemas.microsoft.com/office/drawing/2014/main" id="{02F1B97F-3A95-9446-9E62-C3B80BE6BCE7}"/>
              </a:ext>
            </a:extLst>
          </p:cNvPr>
          <p:cNvSpPr>
            <a:spLocks noGrp="1"/>
          </p:cNvSpPr>
          <p:nvPr>
            <p:ph type="body" sz="quarter" idx="19" hasCustomPrompt="1"/>
          </p:nvPr>
        </p:nvSpPr>
        <p:spPr>
          <a:xfrm>
            <a:off x="576263" y="4426246"/>
            <a:ext cx="4064000" cy="112593"/>
          </a:xfrm>
          <a:prstGeom prst="rect">
            <a:avLst/>
          </a:prstGeom>
        </p:spPr>
        <p:txBody>
          <a:bodyPr anchor="t">
            <a:noAutofit/>
          </a:bodyPr>
          <a:lstStyle>
            <a:lvl1pPr marL="171450" indent="-171450" algn="l">
              <a:lnSpc>
                <a:spcPct val="85000"/>
              </a:lnSpc>
              <a:spcBef>
                <a:spcPts val="0"/>
              </a:spcBef>
              <a:buFont typeface="System Font Regular"/>
              <a:buChar char="–"/>
              <a:defRPr sz="1200" cap="none" spc="70" baseline="0">
                <a:solidFill>
                  <a:schemeClr val="tx2"/>
                </a:solidFill>
              </a:defRPr>
            </a:lvl1pPr>
          </a:lstStyle>
          <a:p>
            <a:pPr lvl="0"/>
            <a:r>
              <a:rPr lang="en-US" noProof="0"/>
              <a:t>Click to add </a:t>
            </a:r>
            <a:r>
              <a:rPr lang="en-US" sz="1200" noProof="0"/>
              <a:t>Author</a:t>
            </a:r>
            <a:r>
              <a:rPr lang="en-US" noProof="0"/>
              <a:t>/Sender</a:t>
            </a:r>
          </a:p>
        </p:txBody>
      </p:sp>
      <p:sp>
        <p:nvSpPr>
          <p:cNvPr id="14" name="Platshållare för datum 3">
            <a:extLst>
              <a:ext uri="{FF2B5EF4-FFF2-40B4-BE49-F238E27FC236}">
                <a16:creationId xmlns:a16="http://schemas.microsoft.com/office/drawing/2014/main" id="{59A0545A-79C8-8143-9D7B-0E8CFC8BF91A}"/>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tx2"/>
                </a:solidFill>
              </a:defRPr>
            </a:lvl1pPr>
          </a:lstStyle>
          <a:p>
            <a:fld id="{2F9806AD-009B-8D45-82A9-B9E8234B6322}" type="datetime1">
              <a:rPr lang="en-US" noProof="0" smtClean="0"/>
              <a:t>10/17/2023</a:t>
            </a:fld>
            <a:endParaRPr lang="en-US" noProof="0"/>
          </a:p>
        </p:txBody>
      </p:sp>
      <p:sp>
        <p:nvSpPr>
          <p:cNvPr id="15" name="Platshållare för sidfot 4">
            <a:extLst>
              <a:ext uri="{FF2B5EF4-FFF2-40B4-BE49-F238E27FC236}">
                <a16:creationId xmlns:a16="http://schemas.microsoft.com/office/drawing/2014/main" id="{BCB3CAC7-3F95-5045-B4E2-B10BE41353B0}"/>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tx2"/>
                </a:solidFill>
              </a:defRPr>
            </a:lvl1pPr>
          </a:lstStyle>
          <a:p>
            <a:r>
              <a:rPr lang="en-US" noProof="0"/>
              <a:t>Go to header/footer to change text </a:t>
            </a:r>
          </a:p>
        </p:txBody>
      </p:sp>
      <p:sp>
        <p:nvSpPr>
          <p:cNvPr id="16" name="Platshållare för bildnummer 5">
            <a:extLst>
              <a:ext uri="{FF2B5EF4-FFF2-40B4-BE49-F238E27FC236}">
                <a16:creationId xmlns:a16="http://schemas.microsoft.com/office/drawing/2014/main" id="{CE84C9A7-2CB0-2746-830B-CE8D18AC5F30}"/>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tx2"/>
                </a:solidFill>
              </a:defRPr>
            </a:lvl1pPr>
          </a:lstStyle>
          <a:p>
            <a:fld id="{EF8DBD5B-30F9-4F9C-AE39-E065C1AC514D}" type="slidenum">
              <a:rPr lang="en-US" noProof="0" smtClean="0"/>
              <a:pPr/>
              <a:t>‹#›</a:t>
            </a:fld>
            <a:endParaRPr lang="en-US" noProof="0"/>
          </a:p>
        </p:txBody>
      </p:sp>
      <p:grpSp>
        <p:nvGrpSpPr>
          <p:cNvPr id="18" name="Grupp 32">
            <a:extLst>
              <a:ext uri="{FF2B5EF4-FFF2-40B4-BE49-F238E27FC236}">
                <a16:creationId xmlns:a16="http://schemas.microsoft.com/office/drawing/2014/main" id="{892CF028-CD68-014F-845F-FFFCB68894A8}"/>
              </a:ext>
            </a:extLst>
          </p:cNvPr>
          <p:cNvGrpSpPr/>
          <p:nvPr userDrawn="1"/>
        </p:nvGrpSpPr>
        <p:grpSpPr>
          <a:xfrm>
            <a:off x="576140" y="6451484"/>
            <a:ext cx="615478" cy="91194"/>
            <a:chOff x="576140" y="6451484"/>
            <a:chExt cx="615478" cy="91194"/>
          </a:xfrm>
          <a:solidFill>
            <a:schemeClr val="tx2"/>
          </a:solidFill>
        </p:grpSpPr>
        <p:sp>
          <p:nvSpPr>
            <p:cNvPr id="20" name="Bild 2">
              <a:extLst>
                <a:ext uri="{FF2B5EF4-FFF2-40B4-BE49-F238E27FC236}">
                  <a16:creationId xmlns:a16="http://schemas.microsoft.com/office/drawing/2014/main" id="{BB6F4DFB-1FB4-AF4E-AE93-FD81ADD7997B}"/>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noProof="0">
                <a:solidFill>
                  <a:schemeClr val="tx1"/>
                </a:solidFill>
              </a:endParaRPr>
            </a:p>
          </p:txBody>
        </p:sp>
        <p:sp>
          <p:nvSpPr>
            <p:cNvPr id="21" name="Bild 2">
              <a:extLst>
                <a:ext uri="{FF2B5EF4-FFF2-40B4-BE49-F238E27FC236}">
                  <a16:creationId xmlns:a16="http://schemas.microsoft.com/office/drawing/2014/main" id="{9302B9C7-F584-3D4B-865C-55B98056491D}"/>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noProof="0">
                <a:solidFill>
                  <a:schemeClr val="tx1"/>
                </a:solidFill>
              </a:endParaRPr>
            </a:p>
          </p:txBody>
        </p:sp>
        <p:sp>
          <p:nvSpPr>
            <p:cNvPr id="22" name="Bild 2">
              <a:extLst>
                <a:ext uri="{FF2B5EF4-FFF2-40B4-BE49-F238E27FC236}">
                  <a16:creationId xmlns:a16="http://schemas.microsoft.com/office/drawing/2014/main" id="{F985D99D-13E7-EF49-B0AD-01E92B0054E9}"/>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noProof="0">
                <a:solidFill>
                  <a:schemeClr val="tx1"/>
                </a:solidFill>
              </a:endParaRPr>
            </a:p>
          </p:txBody>
        </p:sp>
        <p:sp>
          <p:nvSpPr>
            <p:cNvPr id="23" name="Bild 2">
              <a:extLst>
                <a:ext uri="{FF2B5EF4-FFF2-40B4-BE49-F238E27FC236}">
                  <a16:creationId xmlns:a16="http://schemas.microsoft.com/office/drawing/2014/main" id="{3E730B4A-6C2F-0E49-8857-CB76E0527421}"/>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noProof="0">
                <a:solidFill>
                  <a:schemeClr val="tx1"/>
                </a:solidFill>
              </a:endParaRPr>
            </a:p>
          </p:txBody>
        </p:sp>
        <p:sp>
          <p:nvSpPr>
            <p:cNvPr id="24" name="Bild 2">
              <a:extLst>
                <a:ext uri="{FF2B5EF4-FFF2-40B4-BE49-F238E27FC236}">
                  <a16:creationId xmlns:a16="http://schemas.microsoft.com/office/drawing/2014/main" id="{C00A891A-B8BE-A142-A7F1-CCA13BE7ED10}"/>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noProof="0">
                <a:solidFill>
                  <a:schemeClr val="tx1"/>
                </a:solidFill>
              </a:endParaRPr>
            </a:p>
          </p:txBody>
        </p:sp>
        <p:sp>
          <p:nvSpPr>
            <p:cNvPr id="25" name="Bild 2">
              <a:extLst>
                <a:ext uri="{FF2B5EF4-FFF2-40B4-BE49-F238E27FC236}">
                  <a16:creationId xmlns:a16="http://schemas.microsoft.com/office/drawing/2014/main" id="{05B41D9C-1A87-1044-AF28-2C146A2B9154}"/>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noProof="0">
                <a:solidFill>
                  <a:schemeClr val="tx1"/>
                </a:solidFill>
              </a:endParaRPr>
            </a:p>
          </p:txBody>
        </p:sp>
        <p:sp>
          <p:nvSpPr>
            <p:cNvPr id="26" name="Bild 2">
              <a:extLst>
                <a:ext uri="{FF2B5EF4-FFF2-40B4-BE49-F238E27FC236}">
                  <a16:creationId xmlns:a16="http://schemas.microsoft.com/office/drawing/2014/main" id="{B6D5D020-32AD-AB4E-BEAD-487BC943A244}"/>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noProof="0">
                <a:solidFill>
                  <a:schemeClr val="tx1"/>
                </a:solidFill>
              </a:endParaRPr>
            </a:p>
          </p:txBody>
        </p:sp>
      </p:grpSp>
    </p:spTree>
    <p:extLst>
      <p:ext uri="{BB962C8B-B14F-4D97-AF65-F5344CB8AC3E}">
        <p14:creationId xmlns:p14="http://schemas.microsoft.com/office/powerpoint/2010/main" val="2522047594"/>
      </p:ext>
    </p:extLst>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5 Full Image">
    <p:bg>
      <p:bgPr>
        <a:solidFill>
          <a:schemeClr val="bg1"/>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3CBA7EE4-EB8C-8F45-95DB-49CBDE2D978D}"/>
              </a:ext>
            </a:extLst>
          </p:cNvPr>
          <p:cNvSpPr>
            <a:spLocks noGrp="1"/>
          </p:cNvSpPr>
          <p:nvPr>
            <p:ph type="pic" sz="quarter" idx="13" hasCustomPrompt="1"/>
          </p:nvPr>
        </p:nvSpPr>
        <p:spPr>
          <a:xfrm>
            <a:off x="5" y="5"/>
            <a:ext cx="12191997" cy="6857997"/>
          </a:xfrm>
          <a:custGeom>
            <a:avLst/>
            <a:gdLst>
              <a:gd name="connsiteX0" fmla="*/ 1146049 w 12191997"/>
              <a:gd name="connsiteY0" fmla="*/ 6470534 h 6857997"/>
              <a:gd name="connsiteX1" fmla="*/ 1157832 w 12191997"/>
              <a:gd name="connsiteY1" fmla="*/ 6505507 h 6857997"/>
              <a:gd name="connsiteX2" fmla="*/ 1134642 w 12191997"/>
              <a:gd name="connsiteY2" fmla="*/ 6505507 h 6857997"/>
              <a:gd name="connsiteX3" fmla="*/ 788170 w 12191997"/>
              <a:gd name="connsiteY3" fmla="*/ 6470534 h 6857997"/>
              <a:gd name="connsiteX4" fmla="*/ 799953 w 12191997"/>
              <a:gd name="connsiteY4" fmla="*/ 6505507 h 6857997"/>
              <a:gd name="connsiteX5" fmla="*/ 776763 w 12191997"/>
              <a:gd name="connsiteY5" fmla="*/ 6505507 h 6857997"/>
              <a:gd name="connsiteX6" fmla="*/ 1132323 w 12191997"/>
              <a:gd name="connsiteY6" fmla="*/ 6451543 h 6857997"/>
              <a:gd name="connsiteX7" fmla="*/ 1100860 w 12191997"/>
              <a:gd name="connsiteY7" fmla="*/ 6542674 h 6857997"/>
              <a:gd name="connsiteX8" fmla="*/ 1123110 w 12191997"/>
              <a:gd name="connsiteY8" fmla="*/ 6542674 h 6857997"/>
              <a:gd name="connsiteX9" fmla="*/ 1128876 w 12191997"/>
              <a:gd name="connsiteY9" fmla="*/ 6524060 h 6857997"/>
              <a:gd name="connsiteX10" fmla="*/ 1163786 w 12191997"/>
              <a:gd name="connsiteY10" fmla="*/ 6524060 h 6857997"/>
              <a:gd name="connsiteX11" fmla="*/ 1169741 w 12191997"/>
              <a:gd name="connsiteY11" fmla="*/ 6542674 h 6857997"/>
              <a:gd name="connsiteX12" fmla="*/ 1191615 w 12191997"/>
              <a:gd name="connsiteY12" fmla="*/ 6542674 h 6857997"/>
              <a:gd name="connsiteX13" fmla="*/ 1159148 w 12191997"/>
              <a:gd name="connsiteY13" fmla="*/ 6451543 h 6857997"/>
              <a:gd name="connsiteX14" fmla="*/ 961907 w 12191997"/>
              <a:gd name="connsiteY14" fmla="*/ 6451543 h 6857997"/>
              <a:gd name="connsiteX15" fmla="*/ 933640 w 12191997"/>
              <a:gd name="connsiteY15" fmla="*/ 6479246 h 6857997"/>
              <a:gd name="connsiteX16" fmla="*/ 961907 w 12191997"/>
              <a:gd name="connsiteY16" fmla="*/ 6505821 h 6857997"/>
              <a:gd name="connsiteX17" fmla="*/ 983468 w 12191997"/>
              <a:gd name="connsiteY17" fmla="*/ 6505821 h 6857997"/>
              <a:gd name="connsiteX18" fmla="*/ 991678 w 12191997"/>
              <a:gd name="connsiteY18" fmla="*/ 6514282 h 6857997"/>
              <a:gd name="connsiteX19" fmla="*/ 983468 w 12191997"/>
              <a:gd name="connsiteY19" fmla="*/ 6522743 h 6857997"/>
              <a:gd name="connsiteX20" fmla="*/ 937338 w 12191997"/>
              <a:gd name="connsiteY20" fmla="*/ 6522743 h 6857997"/>
              <a:gd name="connsiteX21" fmla="*/ 937338 w 12191997"/>
              <a:gd name="connsiteY21" fmla="*/ 6542674 h 6857997"/>
              <a:gd name="connsiteX22" fmla="*/ 982716 w 12191997"/>
              <a:gd name="connsiteY22" fmla="*/ 6542674 h 6857997"/>
              <a:gd name="connsiteX23" fmla="*/ 1011358 w 12191997"/>
              <a:gd name="connsiteY23" fmla="*/ 6514282 h 6857997"/>
              <a:gd name="connsiteX24" fmla="*/ 986727 w 12191997"/>
              <a:gd name="connsiteY24" fmla="*/ 6487707 h 6857997"/>
              <a:gd name="connsiteX25" fmla="*/ 961907 w 12191997"/>
              <a:gd name="connsiteY25" fmla="*/ 6487707 h 6857997"/>
              <a:gd name="connsiteX26" fmla="*/ 953321 w 12191997"/>
              <a:gd name="connsiteY26" fmla="*/ 6479246 h 6857997"/>
              <a:gd name="connsiteX27" fmla="*/ 961907 w 12191997"/>
              <a:gd name="connsiteY27" fmla="*/ 6470785 h 6857997"/>
              <a:gd name="connsiteX28" fmla="*/ 1004965 w 12191997"/>
              <a:gd name="connsiteY28" fmla="*/ 6470785 h 6857997"/>
              <a:gd name="connsiteX29" fmla="*/ 1004965 w 12191997"/>
              <a:gd name="connsiteY29" fmla="*/ 6451543 h 6857997"/>
              <a:gd name="connsiteX30" fmla="*/ 841570 w 12191997"/>
              <a:gd name="connsiteY30" fmla="*/ 6451543 h 6857997"/>
              <a:gd name="connsiteX31" fmla="*/ 841570 w 12191997"/>
              <a:gd name="connsiteY31" fmla="*/ 6542674 h 6857997"/>
              <a:gd name="connsiteX32" fmla="*/ 862692 w 12191997"/>
              <a:gd name="connsiteY32" fmla="*/ 6542674 h 6857997"/>
              <a:gd name="connsiteX33" fmla="*/ 862692 w 12191997"/>
              <a:gd name="connsiteY33" fmla="*/ 6486454 h 6857997"/>
              <a:gd name="connsiteX34" fmla="*/ 898981 w 12191997"/>
              <a:gd name="connsiteY34" fmla="*/ 6542486 h 6857997"/>
              <a:gd name="connsiteX35" fmla="*/ 898981 w 12191997"/>
              <a:gd name="connsiteY35" fmla="*/ 6542674 h 6857997"/>
              <a:gd name="connsiteX36" fmla="*/ 920855 w 12191997"/>
              <a:gd name="connsiteY36" fmla="*/ 6542674 h 6857997"/>
              <a:gd name="connsiteX37" fmla="*/ 920793 w 12191997"/>
              <a:gd name="connsiteY37" fmla="*/ 6522994 h 6857997"/>
              <a:gd name="connsiteX38" fmla="*/ 920667 w 12191997"/>
              <a:gd name="connsiteY38" fmla="*/ 6451543 h 6857997"/>
              <a:gd name="connsiteX39" fmla="*/ 899671 w 12191997"/>
              <a:gd name="connsiteY39" fmla="*/ 6451543 h 6857997"/>
              <a:gd name="connsiteX40" fmla="*/ 899671 w 12191997"/>
              <a:gd name="connsiteY40" fmla="*/ 6508829 h 6857997"/>
              <a:gd name="connsiteX41" fmla="*/ 863068 w 12191997"/>
              <a:gd name="connsiteY41" fmla="*/ 6451543 h 6857997"/>
              <a:gd name="connsiteX42" fmla="*/ 774444 w 12191997"/>
              <a:gd name="connsiteY42" fmla="*/ 6451543 h 6857997"/>
              <a:gd name="connsiteX43" fmla="*/ 742918 w 12191997"/>
              <a:gd name="connsiteY43" fmla="*/ 6542674 h 6857997"/>
              <a:gd name="connsiteX44" fmla="*/ 765168 w 12191997"/>
              <a:gd name="connsiteY44" fmla="*/ 6542674 h 6857997"/>
              <a:gd name="connsiteX45" fmla="*/ 770934 w 12191997"/>
              <a:gd name="connsiteY45" fmla="*/ 6524060 h 6857997"/>
              <a:gd name="connsiteX46" fmla="*/ 805845 w 12191997"/>
              <a:gd name="connsiteY46" fmla="*/ 6524060 h 6857997"/>
              <a:gd name="connsiteX47" fmla="*/ 811799 w 12191997"/>
              <a:gd name="connsiteY47" fmla="*/ 6542674 h 6857997"/>
              <a:gd name="connsiteX48" fmla="*/ 833735 w 12191997"/>
              <a:gd name="connsiteY48" fmla="*/ 6542674 h 6857997"/>
              <a:gd name="connsiteX49" fmla="*/ 801269 w 12191997"/>
              <a:gd name="connsiteY49" fmla="*/ 6451543 h 6857997"/>
              <a:gd name="connsiteX50" fmla="*/ 604404 w 12191997"/>
              <a:gd name="connsiteY50" fmla="*/ 6451543 h 6857997"/>
              <a:gd name="connsiteX51" fmla="*/ 576137 w 12191997"/>
              <a:gd name="connsiteY51" fmla="*/ 6479246 h 6857997"/>
              <a:gd name="connsiteX52" fmla="*/ 604404 w 12191997"/>
              <a:gd name="connsiteY52" fmla="*/ 6505821 h 6857997"/>
              <a:gd name="connsiteX53" fmla="*/ 625964 w 12191997"/>
              <a:gd name="connsiteY53" fmla="*/ 6505821 h 6857997"/>
              <a:gd name="connsiteX54" fmla="*/ 634174 w 12191997"/>
              <a:gd name="connsiteY54" fmla="*/ 6514282 h 6857997"/>
              <a:gd name="connsiteX55" fmla="*/ 625964 w 12191997"/>
              <a:gd name="connsiteY55" fmla="*/ 6522743 h 6857997"/>
              <a:gd name="connsiteX56" fmla="*/ 579772 w 12191997"/>
              <a:gd name="connsiteY56" fmla="*/ 6522743 h 6857997"/>
              <a:gd name="connsiteX57" fmla="*/ 579772 w 12191997"/>
              <a:gd name="connsiteY57" fmla="*/ 6542674 h 6857997"/>
              <a:gd name="connsiteX58" fmla="*/ 625149 w 12191997"/>
              <a:gd name="connsiteY58" fmla="*/ 6542674 h 6857997"/>
              <a:gd name="connsiteX59" fmla="*/ 653792 w 12191997"/>
              <a:gd name="connsiteY59" fmla="*/ 6514282 h 6857997"/>
              <a:gd name="connsiteX60" fmla="*/ 629223 w 12191997"/>
              <a:gd name="connsiteY60" fmla="*/ 6487707 h 6857997"/>
              <a:gd name="connsiteX61" fmla="*/ 604404 w 12191997"/>
              <a:gd name="connsiteY61" fmla="*/ 6487707 h 6857997"/>
              <a:gd name="connsiteX62" fmla="*/ 595817 w 12191997"/>
              <a:gd name="connsiteY62" fmla="*/ 6479246 h 6857997"/>
              <a:gd name="connsiteX63" fmla="*/ 604404 w 12191997"/>
              <a:gd name="connsiteY63" fmla="*/ 6470785 h 6857997"/>
              <a:gd name="connsiteX64" fmla="*/ 647462 w 12191997"/>
              <a:gd name="connsiteY64" fmla="*/ 6470785 h 6857997"/>
              <a:gd name="connsiteX65" fmla="*/ 647462 w 12191997"/>
              <a:gd name="connsiteY65" fmla="*/ 6451543 h 6857997"/>
              <a:gd name="connsiteX66" fmla="*/ 1023956 w 12191997"/>
              <a:gd name="connsiteY66" fmla="*/ 6451480 h 6857997"/>
              <a:gd name="connsiteX67" fmla="*/ 1023956 w 12191997"/>
              <a:gd name="connsiteY67" fmla="*/ 6542674 h 6857997"/>
              <a:gd name="connsiteX68" fmla="*/ 1045016 w 12191997"/>
              <a:gd name="connsiteY68" fmla="*/ 6542674 h 6857997"/>
              <a:gd name="connsiteX69" fmla="*/ 1045016 w 12191997"/>
              <a:gd name="connsiteY69" fmla="*/ 6504191 h 6857997"/>
              <a:gd name="connsiteX70" fmla="*/ 1074975 w 12191997"/>
              <a:gd name="connsiteY70" fmla="*/ 6542674 h 6857997"/>
              <a:gd name="connsiteX71" fmla="*/ 1099481 w 12191997"/>
              <a:gd name="connsiteY71" fmla="*/ 6542674 h 6857997"/>
              <a:gd name="connsiteX72" fmla="*/ 1065009 w 12191997"/>
              <a:gd name="connsiteY72" fmla="*/ 6497109 h 6857997"/>
              <a:gd name="connsiteX73" fmla="*/ 1099481 w 12191997"/>
              <a:gd name="connsiteY73" fmla="*/ 6451480 h 6857997"/>
              <a:gd name="connsiteX74" fmla="*/ 1074975 w 12191997"/>
              <a:gd name="connsiteY74" fmla="*/ 6451480 h 6857997"/>
              <a:gd name="connsiteX75" fmla="*/ 1045016 w 12191997"/>
              <a:gd name="connsiteY75" fmla="*/ 6489963 h 6857997"/>
              <a:gd name="connsiteX76" fmla="*/ 1045016 w 12191997"/>
              <a:gd name="connsiteY76" fmla="*/ 6451480 h 6857997"/>
              <a:gd name="connsiteX77" fmla="*/ 666077 w 12191997"/>
              <a:gd name="connsiteY77" fmla="*/ 6451480 h 6857997"/>
              <a:gd name="connsiteX78" fmla="*/ 666077 w 12191997"/>
              <a:gd name="connsiteY78" fmla="*/ 6542674 h 6857997"/>
              <a:gd name="connsiteX79" fmla="*/ 687073 w 12191997"/>
              <a:gd name="connsiteY79" fmla="*/ 6542674 h 6857997"/>
              <a:gd name="connsiteX80" fmla="*/ 687073 w 12191997"/>
              <a:gd name="connsiteY80" fmla="*/ 6504191 h 6857997"/>
              <a:gd name="connsiteX81" fmla="*/ 717033 w 12191997"/>
              <a:gd name="connsiteY81" fmla="*/ 6542674 h 6857997"/>
              <a:gd name="connsiteX82" fmla="*/ 741602 w 12191997"/>
              <a:gd name="connsiteY82" fmla="*/ 6542674 h 6857997"/>
              <a:gd name="connsiteX83" fmla="*/ 707067 w 12191997"/>
              <a:gd name="connsiteY83" fmla="*/ 6497109 h 6857997"/>
              <a:gd name="connsiteX84" fmla="*/ 741602 w 12191997"/>
              <a:gd name="connsiteY84" fmla="*/ 6451480 h 6857997"/>
              <a:gd name="connsiteX85" fmla="*/ 717033 w 12191997"/>
              <a:gd name="connsiteY85" fmla="*/ 6451480 h 6857997"/>
              <a:gd name="connsiteX86" fmla="*/ 687073 w 12191997"/>
              <a:gd name="connsiteY86" fmla="*/ 6489963 h 6857997"/>
              <a:gd name="connsiteX87" fmla="*/ 687073 w 12191997"/>
              <a:gd name="connsiteY87" fmla="*/ 6451480 h 6857997"/>
              <a:gd name="connsiteX88" fmla="*/ 0 w 12191997"/>
              <a:gd name="connsiteY88" fmla="*/ 0 h 6857997"/>
              <a:gd name="connsiteX89" fmla="*/ 12191997 w 12191997"/>
              <a:gd name="connsiteY89" fmla="*/ 0 h 6857997"/>
              <a:gd name="connsiteX90" fmla="*/ 12191997 w 12191997"/>
              <a:gd name="connsiteY90" fmla="*/ 6857997 h 6857997"/>
              <a:gd name="connsiteX91" fmla="*/ 0 w 12191997"/>
              <a:gd name="connsiteY91" fmla="*/ 6857997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2191997" h="6857997">
                <a:moveTo>
                  <a:pt x="1146049" y="6470534"/>
                </a:moveTo>
                <a:lnTo>
                  <a:pt x="1157832" y="6505507"/>
                </a:lnTo>
                <a:lnTo>
                  <a:pt x="1134642" y="6505507"/>
                </a:lnTo>
                <a:close/>
                <a:moveTo>
                  <a:pt x="788170" y="6470534"/>
                </a:moveTo>
                <a:lnTo>
                  <a:pt x="799953" y="6505507"/>
                </a:lnTo>
                <a:lnTo>
                  <a:pt x="776763" y="6505507"/>
                </a:lnTo>
                <a:close/>
                <a:moveTo>
                  <a:pt x="1132323" y="6451543"/>
                </a:moveTo>
                <a:lnTo>
                  <a:pt x="1100860" y="6542674"/>
                </a:lnTo>
                <a:lnTo>
                  <a:pt x="1123110" y="6542674"/>
                </a:lnTo>
                <a:lnTo>
                  <a:pt x="1128876" y="6524060"/>
                </a:lnTo>
                <a:lnTo>
                  <a:pt x="1163786" y="6524060"/>
                </a:lnTo>
                <a:lnTo>
                  <a:pt x="1169741" y="6542674"/>
                </a:lnTo>
                <a:lnTo>
                  <a:pt x="1191615" y="6542674"/>
                </a:lnTo>
                <a:lnTo>
                  <a:pt x="1159148" y="6451543"/>
                </a:lnTo>
                <a:close/>
                <a:moveTo>
                  <a:pt x="961907" y="6451543"/>
                </a:moveTo>
                <a:cubicBezTo>
                  <a:pt x="944358" y="6451543"/>
                  <a:pt x="933640" y="6461822"/>
                  <a:pt x="933640" y="6479246"/>
                </a:cubicBezTo>
                <a:cubicBezTo>
                  <a:pt x="933640" y="6496670"/>
                  <a:pt x="945987" y="6505821"/>
                  <a:pt x="961907" y="6505821"/>
                </a:cubicBezTo>
                <a:lnTo>
                  <a:pt x="983468" y="6505821"/>
                </a:lnTo>
                <a:cubicBezTo>
                  <a:pt x="988921" y="6505821"/>
                  <a:pt x="991678" y="6509957"/>
                  <a:pt x="991678" y="6514282"/>
                </a:cubicBezTo>
                <a:cubicBezTo>
                  <a:pt x="991678" y="6518732"/>
                  <a:pt x="988921" y="6522743"/>
                  <a:pt x="983468" y="6522743"/>
                </a:cubicBezTo>
                <a:lnTo>
                  <a:pt x="937338" y="6522743"/>
                </a:lnTo>
                <a:lnTo>
                  <a:pt x="937338" y="6542674"/>
                </a:lnTo>
                <a:lnTo>
                  <a:pt x="982716" y="6542674"/>
                </a:lnTo>
                <a:cubicBezTo>
                  <a:pt x="1000704" y="6542674"/>
                  <a:pt x="1011358" y="6532772"/>
                  <a:pt x="1011358" y="6514282"/>
                </a:cubicBezTo>
                <a:cubicBezTo>
                  <a:pt x="1011358" y="6497610"/>
                  <a:pt x="1000641" y="6487707"/>
                  <a:pt x="986727" y="6487707"/>
                </a:cubicBezTo>
                <a:lnTo>
                  <a:pt x="961907" y="6487707"/>
                </a:lnTo>
                <a:cubicBezTo>
                  <a:pt x="956078" y="6487707"/>
                  <a:pt x="953321" y="6483696"/>
                  <a:pt x="953321" y="6479246"/>
                </a:cubicBezTo>
                <a:cubicBezTo>
                  <a:pt x="953321" y="6474796"/>
                  <a:pt x="956078" y="6470785"/>
                  <a:pt x="961907" y="6470785"/>
                </a:cubicBezTo>
                <a:lnTo>
                  <a:pt x="1004965" y="6470785"/>
                </a:lnTo>
                <a:lnTo>
                  <a:pt x="1004965" y="6451543"/>
                </a:lnTo>
                <a:close/>
                <a:moveTo>
                  <a:pt x="841570" y="6451543"/>
                </a:moveTo>
                <a:lnTo>
                  <a:pt x="841570" y="6542674"/>
                </a:lnTo>
                <a:lnTo>
                  <a:pt x="862692" y="6542674"/>
                </a:lnTo>
                <a:lnTo>
                  <a:pt x="862692" y="6486454"/>
                </a:lnTo>
                <a:lnTo>
                  <a:pt x="898981" y="6542486"/>
                </a:lnTo>
                <a:lnTo>
                  <a:pt x="898981" y="6542674"/>
                </a:lnTo>
                <a:lnTo>
                  <a:pt x="920855" y="6542674"/>
                </a:lnTo>
                <a:lnTo>
                  <a:pt x="920793" y="6522994"/>
                </a:lnTo>
                <a:lnTo>
                  <a:pt x="920667" y="6451543"/>
                </a:lnTo>
                <a:lnTo>
                  <a:pt x="899671" y="6451543"/>
                </a:lnTo>
                <a:lnTo>
                  <a:pt x="899671" y="6508829"/>
                </a:lnTo>
                <a:lnTo>
                  <a:pt x="863068" y="6451543"/>
                </a:lnTo>
                <a:close/>
                <a:moveTo>
                  <a:pt x="774444" y="6451543"/>
                </a:moveTo>
                <a:lnTo>
                  <a:pt x="742918" y="6542674"/>
                </a:lnTo>
                <a:lnTo>
                  <a:pt x="765168" y="6542674"/>
                </a:lnTo>
                <a:lnTo>
                  <a:pt x="770934" y="6524060"/>
                </a:lnTo>
                <a:lnTo>
                  <a:pt x="805845" y="6524060"/>
                </a:lnTo>
                <a:lnTo>
                  <a:pt x="811799" y="6542674"/>
                </a:lnTo>
                <a:lnTo>
                  <a:pt x="833735" y="6542674"/>
                </a:lnTo>
                <a:lnTo>
                  <a:pt x="801269" y="6451543"/>
                </a:lnTo>
                <a:close/>
                <a:moveTo>
                  <a:pt x="604404" y="6451543"/>
                </a:moveTo>
                <a:cubicBezTo>
                  <a:pt x="586792" y="6451543"/>
                  <a:pt x="576137" y="6461822"/>
                  <a:pt x="576137" y="6479246"/>
                </a:cubicBezTo>
                <a:cubicBezTo>
                  <a:pt x="576137" y="6496670"/>
                  <a:pt x="588484" y="6505821"/>
                  <a:pt x="604404" y="6505821"/>
                </a:cubicBezTo>
                <a:lnTo>
                  <a:pt x="625964" y="6505821"/>
                </a:lnTo>
                <a:cubicBezTo>
                  <a:pt x="631417" y="6505821"/>
                  <a:pt x="634174" y="6509957"/>
                  <a:pt x="634174" y="6514282"/>
                </a:cubicBezTo>
                <a:cubicBezTo>
                  <a:pt x="634174" y="6518732"/>
                  <a:pt x="631417" y="6522743"/>
                  <a:pt x="625964" y="6522743"/>
                </a:cubicBezTo>
                <a:lnTo>
                  <a:pt x="579772" y="6522743"/>
                </a:lnTo>
                <a:lnTo>
                  <a:pt x="579772" y="6542674"/>
                </a:lnTo>
                <a:lnTo>
                  <a:pt x="625149" y="6542674"/>
                </a:lnTo>
                <a:cubicBezTo>
                  <a:pt x="643137" y="6542674"/>
                  <a:pt x="653792" y="6532772"/>
                  <a:pt x="653792" y="6514282"/>
                </a:cubicBezTo>
                <a:cubicBezTo>
                  <a:pt x="653792" y="6497610"/>
                  <a:pt x="643137" y="6487707"/>
                  <a:pt x="629223" y="6487707"/>
                </a:cubicBezTo>
                <a:lnTo>
                  <a:pt x="604404" y="6487707"/>
                </a:lnTo>
                <a:cubicBezTo>
                  <a:pt x="598575" y="6487707"/>
                  <a:pt x="595817" y="6483696"/>
                  <a:pt x="595817" y="6479246"/>
                </a:cubicBezTo>
                <a:cubicBezTo>
                  <a:pt x="595817" y="6474796"/>
                  <a:pt x="598575" y="6470785"/>
                  <a:pt x="604404" y="6470785"/>
                </a:cubicBezTo>
                <a:lnTo>
                  <a:pt x="647462" y="6470785"/>
                </a:lnTo>
                <a:lnTo>
                  <a:pt x="647462" y="6451543"/>
                </a:lnTo>
                <a:close/>
                <a:moveTo>
                  <a:pt x="1023956" y="6451480"/>
                </a:moveTo>
                <a:lnTo>
                  <a:pt x="1023956" y="6542674"/>
                </a:lnTo>
                <a:lnTo>
                  <a:pt x="1045016" y="6542674"/>
                </a:lnTo>
                <a:lnTo>
                  <a:pt x="1045016" y="6504191"/>
                </a:lnTo>
                <a:lnTo>
                  <a:pt x="1074975" y="6542674"/>
                </a:lnTo>
                <a:lnTo>
                  <a:pt x="1099481" y="6542674"/>
                </a:lnTo>
                <a:lnTo>
                  <a:pt x="1065009" y="6497109"/>
                </a:lnTo>
                <a:lnTo>
                  <a:pt x="1099481" y="6451480"/>
                </a:lnTo>
                <a:lnTo>
                  <a:pt x="1074975" y="6451480"/>
                </a:lnTo>
                <a:lnTo>
                  <a:pt x="1045016" y="6489963"/>
                </a:lnTo>
                <a:lnTo>
                  <a:pt x="1045016" y="6451480"/>
                </a:lnTo>
                <a:close/>
                <a:moveTo>
                  <a:pt x="666077" y="6451480"/>
                </a:moveTo>
                <a:lnTo>
                  <a:pt x="666077" y="6542674"/>
                </a:lnTo>
                <a:lnTo>
                  <a:pt x="687073" y="6542674"/>
                </a:lnTo>
                <a:lnTo>
                  <a:pt x="687073" y="6504191"/>
                </a:lnTo>
                <a:lnTo>
                  <a:pt x="717033" y="6542674"/>
                </a:lnTo>
                <a:lnTo>
                  <a:pt x="741602" y="6542674"/>
                </a:lnTo>
                <a:lnTo>
                  <a:pt x="707067" y="6497109"/>
                </a:lnTo>
                <a:lnTo>
                  <a:pt x="741602" y="6451480"/>
                </a:lnTo>
                <a:lnTo>
                  <a:pt x="717033" y="6451480"/>
                </a:lnTo>
                <a:lnTo>
                  <a:pt x="687073" y="6489963"/>
                </a:lnTo>
                <a:lnTo>
                  <a:pt x="687073" y="6451480"/>
                </a:lnTo>
                <a:close/>
                <a:moveTo>
                  <a:pt x="0" y="0"/>
                </a:moveTo>
                <a:lnTo>
                  <a:pt x="12191997" y="0"/>
                </a:lnTo>
                <a:lnTo>
                  <a:pt x="12191997" y="6857997"/>
                </a:lnTo>
                <a:lnTo>
                  <a:pt x="0" y="6857997"/>
                </a:lnTo>
                <a:close/>
              </a:path>
            </a:pathLst>
          </a:custGeom>
          <a:solidFill>
            <a:srgbClr val="ECECEC"/>
          </a:solidFill>
        </p:spPr>
        <p:txBody>
          <a:bodyPr wrap="square" lIns="36000" tIns="36000" rIns="36000" bIns="36000">
            <a:noAutofit/>
          </a:bodyPr>
          <a:lstStyle>
            <a:lvl1pPr marL="0" indent="0" algn="ctr">
              <a:buNone/>
              <a:defRPr sz="1300">
                <a:solidFill>
                  <a:schemeClr val="tx2"/>
                </a:solidFill>
              </a:defRPr>
            </a:lvl1pPr>
          </a:lstStyle>
          <a:p>
            <a:r>
              <a:rPr lang="en-US" noProof="0"/>
              <a:t>Click on the icon to add an image</a:t>
            </a:r>
          </a:p>
        </p:txBody>
      </p:sp>
      <p:sp>
        <p:nvSpPr>
          <p:cNvPr id="6" name="textruta 5">
            <a:extLst>
              <a:ext uri="{FF2B5EF4-FFF2-40B4-BE49-F238E27FC236}">
                <a16:creationId xmlns:a16="http://schemas.microsoft.com/office/drawing/2014/main" id="{CAF12B7D-4908-C140-8479-BBA74C392BFA}"/>
              </a:ext>
            </a:extLst>
          </p:cNvPr>
          <p:cNvSpPr txBox="1"/>
          <p:nvPr userDrawn="1"/>
        </p:nvSpPr>
        <p:spPr>
          <a:xfrm>
            <a:off x="12395260" y="1453483"/>
            <a:ext cx="1681523" cy="646331"/>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the textboxes disappears after adding or changing an imag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right click the image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and use – </a:t>
            </a:r>
            <a:r>
              <a:rPr lang="en-US" sz="900" b="1" noProof="0">
                <a:solidFill>
                  <a:schemeClr val="tx1">
                    <a:lumMod val="65000"/>
                    <a:lumOff val="35000"/>
                  </a:schemeClr>
                </a:solidFill>
                <a:latin typeface="Arial" panose="020B0604020202020204" pitchFamily="34" charset="0"/>
                <a:cs typeface="Arial" panose="020B0604020202020204" pitchFamily="34" charset="0"/>
              </a:rPr>
              <a:t>S</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end to back</a:t>
            </a:r>
          </a:p>
        </p:txBody>
      </p:sp>
      <p:sp>
        <p:nvSpPr>
          <p:cNvPr id="9" name="textruta 8">
            <a:extLst>
              <a:ext uri="{FF2B5EF4-FFF2-40B4-BE49-F238E27FC236}">
                <a16:creationId xmlns:a16="http://schemas.microsoft.com/office/drawing/2014/main" id="{6D001312-59F0-0442-8F6B-117B57EE550F}"/>
              </a:ext>
            </a:extLst>
          </p:cNvPr>
          <p:cNvSpPr txBox="1"/>
          <p:nvPr userDrawn="1"/>
        </p:nvSpPr>
        <p:spPr>
          <a:xfrm>
            <a:off x="12395260" y="-12189"/>
            <a:ext cx="1681523" cy="1338828"/>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you need to change the color of the logo, right click outside work area,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Format Background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from context menu and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Solid fill</a:t>
            </a:r>
            <a:r>
              <a:rPr lang="en-US" sz="900" baseline="0" noProof="0">
                <a:solidFill>
                  <a:schemeClr val="tx1">
                    <a:lumMod val="65000"/>
                    <a:lumOff val="35000"/>
                  </a:schemeClr>
                </a:solidFill>
                <a:latin typeface="Arial" panose="020B0604020202020204" pitchFamily="34" charset="0"/>
                <a:cs typeface="Arial" panose="020B0604020202020204" pitchFamily="34" charset="0"/>
              </a:rPr>
              <a:t> –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White or Blue</a:t>
            </a: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p:txBody>
      </p:sp>
      <p:sp>
        <p:nvSpPr>
          <p:cNvPr id="10" name="Rektangel 9">
            <a:extLst>
              <a:ext uri="{FF2B5EF4-FFF2-40B4-BE49-F238E27FC236}">
                <a16:creationId xmlns:a16="http://schemas.microsoft.com/office/drawing/2014/main" id="{05ECD74A-D0B6-194F-B25C-1455CC84FABD}"/>
              </a:ext>
            </a:extLst>
          </p:cNvPr>
          <p:cNvSpPr/>
          <p:nvPr userDrawn="1"/>
        </p:nvSpPr>
        <p:spPr>
          <a:xfrm>
            <a:off x="13255337" y="926211"/>
            <a:ext cx="341194" cy="305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 name="Rektangel 10">
            <a:extLst>
              <a:ext uri="{FF2B5EF4-FFF2-40B4-BE49-F238E27FC236}">
                <a16:creationId xmlns:a16="http://schemas.microsoft.com/office/drawing/2014/main" id="{E8C8C4A5-D430-0940-8213-633339896161}"/>
              </a:ext>
            </a:extLst>
          </p:cNvPr>
          <p:cNvSpPr/>
          <p:nvPr userDrawn="1"/>
        </p:nvSpPr>
        <p:spPr>
          <a:xfrm>
            <a:off x="12833410" y="926211"/>
            <a:ext cx="341194" cy="30590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Platshållare för datum 3">
            <a:extLst>
              <a:ext uri="{FF2B5EF4-FFF2-40B4-BE49-F238E27FC236}">
                <a16:creationId xmlns:a16="http://schemas.microsoft.com/office/drawing/2014/main" id="{83C01208-01E2-5D44-8A25-EF6024C0723F}"/>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bg1"/>
                </a:solidFill>
              </a:defRPr>
            </a:lvl1pPr>
          </a:lstStyle>
          <a:p>
            <a:fld id="{2F9806AD-009B-8D45-82A9-B9E8234B6322}" type="datetime1">
              <a:rPr lang="en-US" smtClean="0"/>
              <a:pPr/>
              <a:t>10/17/2023</a:t>
            </a:fld>
            <a:endParaRPr lang="en-US"/>
          </a:p>
        </p:txBody>
      </p:sp>
      <p:sp>
        <p:nvSpPr>
          <p:cNvPr id="13" name="Platshållare för sidfot 4">
            <a:extLst>
              <a:ext uri="{FF2B5EF4-FFF2-40B4-BE49-F238E27FC236}">
                <a16:creationId xmlns:a16="http://schemas.microsoft.com/office/drawing/2014/main" id="{68DCE312-A27F-814F-BDDD-00D27A24DD8C}"/>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bg1"/>
                </a:solidFill>
              </a:defRPr>
            </a:lvl1pPr>
          </a:lstStyle>
          <a:p>
            <a:r>
              <a:rPr lang="en-US"/>
              <a:t>Go to header/footer to change text </a:t>
            </a:r>
          </a:p>
        </p:txBody>
      </p:sp>
      <p:sp>
        <p:nvSpPr>
          <p:cNvPr id="14" name="Platshållare för bildnummer 5">
            <a:extLst>
              <a:ext uri="{FF2B5EF4-FFF2-40B4-BE49-F238E27FC236}">
                <a16:creationId xmlns:a16="http://schemas.microsoft.com/office/drawing/2014/main" id="{BF3C2BA5-B91C-7142-BA3D-478DF85F221B}"/>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bg1"/>
                </a:solidFill>
              </a:defRPr>
            </a:lvl1pPr>
          </a:lstStyle>
          <a:p>
            <a:fld id="{EF8DBD5B-30F9-4F9C-AE39-E065C1AC514D}" type="slidenum">
              <a:rPr lang="en-US" smtClean="0"/>
              <a:pPr/>
              <a:t>‹#›</a:t>
            </a:fld>
            <a:endParaRPr lang="en-US"/>
          </a:p>
        </p:txBody>
      </p:sp>
      <p:sp>
        <p:nvSpPr>
          <p:cNvPr id="16" name="Text Placeholder 4">
            <a:extLst>
              <a:ext uri="{FF2B5EF4-FFF2-40B4-BE49-F238E27FC236}">
                <a16:creationId xmlns:a16="http://schemas.microsoft.com/office/drawing/2014/main" id="{E37CECB8-B1B6-D144-BD70-CFF979706847}"/>
              </a:ext>
            </a:extLst>
          </p:cNvPr>
          <p:cNvSpPr>
            <a:spLocks noGrp="1"/>
          </p:cNvSpPr>
          <p:nvPr>
            <p:ph type="body" sz="quarter" idx="14" hasCustomPrompt="1"/>
          </p:nvPr>
        </p:nvSpPr>
        <p:spPr>
          <a:xfrm rot="5400000">
            <a:off x="10901730" y="803644"/>
            <a:ext cx="2093913" cy="486626"/>
          </a:xfrm>
        </p:spPr>
        <p:txBody>
          <a:bodyPr lIns="180000" tIns="180000" rIns="0" bIns="180000" anchor="ctr">
            <a:spAutoFit/>
          </a:bodyPr>
          <a:lstStyle>
            <a:lvl1pPr marL="6350" indent="0" algn="l">
              <a:buNone/>
              <a:defRPr sz="800"/>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Tree>
    <p:extLst>
      <p:ext uri="{BB962C8B-B14F-4D97-AF65-F5344CB8AC3E}">
        <p14:creationId xmlns:p14="http://schemas.microsoft.com/office/powerpoint/2010/main" val="3831931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5 Full video">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7A464D3A-71AD-CC4E-A666-6026DBFB2FDC}"/>
              </a:ext>
            </a:extLst>
          </p:cNvPr>
          <p:cNvSpPr>
            <a:spLocks noGrp="1"/>
          </p:cNvSpPr>
          <p:nvPr>
            <p:ph type="media" sz="quarter" idx="13" hasCustomPrompt="1"/>
          </p:nvPr>
        </p:nvSpPr>
        <p:spPr>
          <a:xfrm>
            <a:off x="0" y="0"/>
            <a:ext cx="12192000" cy="6858000"/>
          </a:xfrm>
          <a:solidFill>
            <a:srgbClr val="ECECEC"/>
          </a:solidFill>
        </p:spPr>
        <p:txBody>
          <a:bodyPr lIns="36000" tIns="36000" rIns="36000" bIns="36000"/>
          <a:lstStyle>
            <a:lvl1pPr marL="12700" indent="0" algn="ctr">
              <a:buNone/>
              <a:defRPr sz="1300"/>
            </a:lvl1pPr>
          </a:lstStyle>
          <a:p>
            <a:r>
              <a:rPr lang="en-US" noProof="0"/>
              <a:t>Click to add media</a:t>
            </a:r>
          </a:p>
        </p:txBody>
      </p:sp>
      <p:sp>
        <p:nvSpPr>
          <p:cNvPr id="7" name="Platshållare för datum 3">
            <a:extLst>
              <a:ext uri="{FF2B5EF4-FFF2-40B4-BE49-F238E27FC236}">
                <a16:creationId xmlns:a16="http://schemas.microsoft.com/office/drawing/2014/main" id="{A1BA11B1-CD86-5C4E-BECF-D3D588767D09}"/>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tx2"/>
                </a:solidFill>
              </a:defRPr>
            </a:lvl1pPr>
          </a:lstStyle>
          <a:p>
            <a:fld id="{2F9806AD-009B-8D45-82A9-B9E8234B6322}" type="datetime1">
              <a:rPr lang="en-US" noProof="0" smtClean="0"/>
              <a:t>10/17/2023</a:t>
            </a:fld>
            <a:endParaRPr lang="en-US" noProof="0"/>
          </a:p>
        </p:txBody>
      </p:sp>
      <p:sp>
        <p:nvSpPr>
          <p:cNvPr id="8" name="Platshållare för sidfot 4">
            <a:extLst>
              <a:ext uri="{FF2B5EF4-FFF2-40B4-BE49-F238E27FC236}">
                <a16:creationId xmlns:a16="http://schemas.microsoft.com/office/drawing/2014/main" id="{6DC7E00E-15FF-1D48-9B00-D5BE75E2493A}"/>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tx2"/>
                </a:solidFill>
              </a:defRPr>
            </a:lvl1pPr>
          </a:lstStyle>
          <a:p>
            <a:r>
              <a:rPr lang="en-US" noProof="0"/>
              <a:t>Go to header/footer to change text </a:t>
            </a:r>
          </a:p>
        </p:txBody>
      </p:sp>
      <p:sp>
        <p:nvSpPr>
          <p:cNvPr id="9" name="Platshållare för bildnummer 5">
            <a:extLst>
              <a:ext uri="{FF2B5EF4-FFF2-40B4-BE49-F238E27FC236}">
                <a16:creationId xmlns:a16="http://schemas.microsoft.com/office/drawing/2014/main" id="{E27C82DA-ED11-C248-AB29-689C22549E61}"/>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tx2"/>
                </a:solidFill>
              </a:defRPr>
            </a:lvl1pPr>
          </a:lstStyle>
          <a:p>
            <a:fld id="{EF8DBD5B-30F9-4F9C-AE39-E065C1AC514D}" type="slidenum">
              <a:rPr lang="en-US" noProof="0" smtClean="0"/>
              <a:pPr/>
              <a:t>‹#›</a:t>
            </a:fld>
            <a:endParaRPr lang="en-US" noProof="0"/>
          </a:p>
        </p:txBody>
      </p:sp>
    </p:spTree>
    <p:extLst>
      <p:ext uri="{BB962C8B-B14F-4D97-AF65-F5344CB8AC3E}">
        <p14:creationId xmlns:p14="http://schemas.microsoft.com/office/powerpoint/2010/main" val="94826070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5 Three Images Text">
    <p:bg>
      <p:bgPr>
        <a:solidFill>
          <a:schemeClr val="bg1"/>
        </a:solidFill>
        <a:effectLst/>
      </p:bgPr>
    </p:bg>
    <p:spTree>
      <p:nvGrpSpPr>
        <p:cNvPr id="1" name=""/>
        <p:cNvGrpSpPr/>
        <p:nvPr/>
      </p:nvGrpSpPr>
      <p:grpSpPr>
        <a:xfrm>
          <a:off x="0" y="0"/>
          <a:ext cx="0" cy="0"/>
          <a:chOff x="0" y="0"/>
          <a:chExt cx="0" cy="0"/>
        </a:xfrm>
      </p:grpSpPr>
      <p:sp>
        <p:nvSpPr>
          <p:cNvPr id="21" name="Picture Placeholder 17">
            <a:extLst>
              <a:ext uri="{FF2B5EF4-FFF2-40B4-BE49-F238E27FC236}">
                <a16:creationId xmlns:a16="http://schemas.microsoft.com/office/drawing/2014/main" id="{D5A74226-F457-F043-94EE-661CB4E40ED2}"/>
              </a:ext>
            </a:extLst>
          </p:cNvPr>
          <p:cNvSpPr>
            <a:spLocks noGrp="1"/>
          </p:cNvSpPr>
          <p:nvPr>
            <p:ph type="pic" sz="quarter" idx="27" hasCustomPrompt="1"/>
          </p:nvPr>
        </p:nvSpPr>
        <p:spPr>
          <a:xfrm>
            <a:off x="4062560" y="0"/>
            <a:ext cx="4076277" cy="6858000"/>
          </a:xfrm>
          <a:custGeom>
            <a:avLst/>
            <a:gdLst>
              <a:gd name="connsiteX0" fmla="*/ 0 w 6095997"/>
              <a:gd name="connsiteY0" fmla="*/ 0 h 3428998"/>
              <a:gd name="connsiteX1" fmla="*/ 6095997 w 6095997"/>
              <a:gd name="connsiteY1" fmla="*/ 0 h 3428998"/>
              <a:gd name="connsiteX2" fmla="*/ 6095997 w 6095997"/>
              <a:gd name="connsiteY2" fmla="*/ 3428998 h 3428998"/>
              <a:gd name="connsiteX3" fmla="*/ 0 w 6095997"/>
              <a:gd name="connsiteY3" fmla="*/ 3428998 h 3428998"/>
            </a:gdLst>
            <a:ahLst/>
            <a:cxnLst>
              <a:cxn ang="0">
                <a:pos x="connsiteX0" y="connsiteY0"/>
              </a:cxn>
              <a:cxn ang="0">
                <a:pos x="connsiteX1" y="connsiteY1"/>
              </a:cxn>
              <a:cxn ang="0">
                <a:pos x="connsiteX2" y="connsiteY2"/>
              </a:cxn>
              <a:cxn ang="0">
                <a:pos x="connsiteX3" y="connsiteY3"/>
              </a:cxn>
            </a:cxnLst>
            <a:rect l="l" t="t" r="r" b="b"/>
            <a:pathLst>
              <a:path w="6095997" h="3428998">
                <a:moveTo>
                  <a:pt x="0" y="0"/>
                </a:moveTo>
                <a:lnTo>
                  <a:pt x="6095997" y="0"/>
                </a:lnTo>
                <a:lnTo>
                  <a:pt x="6095997" y="3428998"/>
                </a:lnTo>
                <a:lnTo>
                  <a:pt x="0" y="3428998"/>
                </a:lnTo>
                <a:close/>
              </a:path>
            </a:pathLst>
          </a:custGeom>
          <a:solidFill>
            <a:srgbClr val="ECECEC"/>
          </a:solidFill>
        </p:spPr>
        <p:txBody>
          <a:bodyPr wrap="square" lIns="36000" tIns="36000" rIns="36000" bIns="36000" anchor="t">
            <a:noAutofit/>
          </a:bodyPr>
          <a:lstStyle>
            <a:lvl1pPr marL="0" indent="0" algn="ctr">
              <a:buNone/>
              <a:defRPr sz="1300">
                <a:solidFill>
                  <a:schemeClr val="tx2"/>
                </a:solidFill>
              </a:defRPr>
            </a:lvl1pPr>
          </a:lstStyle>
          <a:p>
            <a:r>
              <a:rPr lang="en-US" noProof="0"/>
              <a:t>If the image placeholder icon is underneath the text box, select the gray placeholder box and then go to insert in the top menu and add picture. Do NOT move the textbox!</a:t>
            </a:r>
          </a:p>
          <a:p>
            <a:endParaRPr lang="en-US" noProof="0"/>
          </a:p>
        </p:txBody>
      </p:sp>
      <p:sp>
        <p:nvSpPr>
          <p:cNvPr id="25" name="Picture Placeholder 24">
            <a:extLst>
              <a:ext uri="{FF2B5EF4-FFF2-40B4-BE49-F238E27FC236}">
                <a16:creationId xmlns:a16="http://schemas.microsoft.com/office/drawing/2014/main" id="{7FFAF88D-4CA3-474F-A41C-BB68F020FECF}"/>
              </a:ext>
            </a:extLst>
          </p:cNvPr>
          <p:cNvSpPr>
            <a:spLocks noGrp="1"/>
          </p:cNvSpPr>
          <p:nvPr>
            <p:ph type="pic" sz="quarter" idx="13" hasCustomPrompt="1"/>
          </p:nvPr>
        </p:nvSpPr>
        <p:spPr>
          <a:xfrm>
            <a:off x="5" y="5"/>
            <a:ext cx="4072023" cy="6857997"/>
          </a:xfrm>
          <a:custGeom>
            <a:avLst/>
            <a:gdLst>
              <a:gd name="connsiteX0" fmla="*/ 1146049 w 4072023"/>
              <a:gd name="connsiteY0" fmla="*/ 6470534 h 6857997"/>
              <a:gd name="connsiteX1" fmla="*/ 1157832 w 4072023"/>
              <a:gd name="connsiteY1" fmla="*/ 6505507 h 6857997"/>
              <a:gd name="connsiteX2" fmla="*/ 1134642 w 4072023"/>
              <a:gd name="connsiteY2" fmla="*/ 6505507 h 6857997"/>
              <a:gd name="connsiteX3" fmla="*/ 788170 w 4072023"/>
              <a:gd name="connsiteY3" fmla="*/ 6470534 h 6857997"/>
              <a:gd name="connsiteX4" fmla="*/ 799953 w 4072023"/>
              <a:gd name="connsiteY4" fmla="*/ 6505507 h 6857997"/>
              <a:gd name="connsiteX5" fmla="*/ 776763 w 4072023"/>
              <a:gd name="connsiteY5" fmla="*/ 6505507 h 6857997"/>
              <a:gd name="connsiteX6" fmla="*/ 1132323 w 4072023"/>
              <a:gd name="connsiteY6" fmla="*/ 6451543 h 6857997"/>
              <a:gd name="connsiteX7" fmla="*/ 1100860 w 4072023"/>
              <a:gd name="connsiteY7" fmla="*/ 6542674 h 6857997"/>
              <a:gd name="connsiteX8" fmla="*/ 1123110 w 4072023"/>
              <a:gd name="connsiteY8" fmla="*/ 6542674 h 6857997"/>
              <a:gd name="connsiteX9" fmla="*/ 1128876 w 4072023"/>
              <a:gd name="connsiteY9" fmla="*/ 6524060 h 6857997"/>
              <a:gd name="connsiteX10" fmla="*/ 1163786 w 4072023"/>
              <a:gd name="connsiteY10" fmla="*/ 6524060 h 6857997"/>
              <a:gd name="connsiteX11" fmla="*/ 1169741 w 4072023"/>
              <a:gd name="connsiteY11" fmla="*/ 6542674 h 6857997"/>
              <a:gd name="connsiteX12" fmla="*/ 1191615 w 4072023"/>
              <a:gd name="connsiteY12" fmla="*/ 6542674 h 6857997"/>
              <a:gd name="connsiteX13" fmla="*/ 1159148 w 4072023"/>
              <a:gd name="connsiteY13" fmla="*/ 6451543 h 6857997"/>
              <a:gd name="connsiteX14" fmla="*/ 961907 w 4072023"/>
              <a:gd name="connsiteY14" fmla="*/ 6451543 h 6857997"/>
              <a:gd name="connsiteX15" fmla="*/ 933640 w 4072023"/>
              <a:gd name="connsiteY15" fmla="*/ 6479246 h 6857997"/>
              <a:gd name="connsiteX16" fmla="*/ 961907 w 4072023"/>
              <a:gd name="connsiteY16" fmla="*/ 6505821 h 6857997"/>
              <a:gd name="connsiteX17" fmla="*/ 983468 w 4072023"/>
              <a:gd name="connsiteY17" fmla="*/ 6505821 h 6857997"/>
              <a:gd name="connsiteX18" fmla="*/ 991678 w 4072023"/>
              <a:gd name="connsiteY18" fmla="*/ 6514282 h 6857997"/>
              <a:gd name="connsiteX19" fmla="*/ 983468 w 4072023"/>
              <a:gd name="connsiteY19" fmla="*/ 6522743 h 6857997"/>
              <a:gd name="connsiteX20" fmla="*/ 937338 w 4072023"/>
              <a:gd name="connsiteY20" fmla="*/ 6522743 h 6857997"/>
              <a:gd name="connsiteX21" fmla="*/ 937338 w 4072023"/>
              <a:gd name="connsiteY21" fmla="*/ 6542674 h 6857997"/>
              <a:gd name="connsiteX22" fmla="*/ 982716 w 4072023"/>
              <a:gd name="connsiteY22" fmla="*/ 6542674 h 6857997"/>
              <a:gd name="connsiteX23" fmla="*/ 1011358 w 4072023"/>
              <a:gd name="connsiteY23" fmla="*/ 6514282 h 6857997"/>
              <a:gd name="connsiteX24" fmla="*/ 986727 w 4072023"/>
              <a:gd name="connsiteY24" fmla="*/ 6487707 h 6857997"/>
              <a:gd name="connsiteX25" fmla="*/ 961907 w 4072023"/>
              <a:gd name="connsiteY25" fmla="*/ 6487707 h 6857997"/>
              <a:gd name="connsiteX26" fmla="*/ 953321 w 4072023"/>
              <a:gd name="connsiteY26" fmla="*/ 6479246 h 6857997"/>
              <a:gd name="connsiteX27" fmla="*/ 961907 w 4072023"/>
              <a:gd name="connsiteY27" fmla="*/ 6470785 h 6857997"/>
              <a:gd name="connsiteX28" fmla="*/ 1004965 w 4072023"/>
              <a:gd name="connsiteY28" fmla="*/ 6470785 h 6857997"/>
              <a:gd name="connsiteX29" fmla="*/ 1004965 w 4072023"/>
              <a:gd name="connsiteY29" fmla="*/ 6451543 h 6857997"/>
              <a:gd name="connsiteX30" fmla="*/ 841570 w 4072023"/>
              <a:gd name="connsiteY30" fmla="*/ 6451543 h 6857997"/>
              <a:gd name="connsiteX31" fmla="*/ 841570 w 4072023"/>
              <a:gd name="connsiteY31" fmla="*/ 6542674 h 6857997"/>
              <a:gd name="connsiteX32" fmla="*/ 862692 w 4072023"/>
              <a:gd name="connsiteY32" fmla="*/ 6542674 h 6857997"/>
              <a:gd name="connsiteX33" fmla="*/ 862692 w 4072023"/>
              <a:gd name="connsiteY33" fmla="*/ 6486454 h 6857997"/>
              <a:gd name="connsiteX34" fmla="*/ 898981 w 4072023"/>
              <a:gd name="connsiteY34" fmla="*/ 6542486 h 6857997"/>
              <a:gd name="connsiteX35" fmla="*/ 898981 w 4072023"/>
              <a:gd name="connsiteY35" fmla="*/ 6542674 h 6857997"/>
              <a:gd name="connsiteX36" fmla="*/ 920855 w 4072023"/>
              <a:gd name="connsiteY36" fmla="*/ 6542674 h 6857997"/>
              <a:gd name="connsiteX37" fmla="*/ 920793 w 4072023"/>
              <a:gd name="connsiteY37" fmla="*/ 6522994 h 6857997"/>
              <a:gd name="connsiteX38" fmla="*/ 920667 w 4072023"/>
              <a:gd name="connsiteY38" fmla="*/ 6451543 h 6857997"/>
              <a:gd name="connsiteX39" fmla="*/ 899671 w 4072023"/>
              <a:gd name="connsiteY39" fmla="*/ 6451543 h 6857997"/>
              <a:gd name="connsiteX40" fmla="*/ 899671 w 4072023"/>
              <a:gd name="connsiteY40" fmla="*/ 6508829 h 6857997"/>
              <a:gd name="connsiteX41" fmla="*/ 863068 w 4072023"/>
              <a:gd name="connsiteY41" fmla="*/ 6451543 h 6857997"/>
              <a:gd name="connsiteX42" fmla="*/ 774444 w 4072023"/>
              <a:gd name="connsiteY42" fmla="*/ 6451543 h 6857997"/>
              <a:gd name="connsiteX43" fmla="*/ 742918 w 4072023"/>
              <a:gd name="connsiteY43" fmla="*/ 6542674 h 6857997"/>
              <a:gd name="connsiteX44" fmla="*/ 765168 w 4072023"/>
              <a:gd name="connsiteY44" fmla="*/ 6542674 h 6857997"/>
              <a:gd name="connsiteX45" fmla="*/ 770934 w 4072023"/>
              <a:gd name="connsiteY45" fmla="*/ 6524060 h 6857997"/>
              <a:gd name="connsiteX46" fmla="*/ 805845 w 4072023"/>
              <a:gd name="connsiteY46" fmla="*/ 6524060 h 6857997"/>
              <a:gd name="connsiteX47" fmla="*/ 811799 w 4072023"/>
              <a:gd name="connsiteY47" fmla="*/ 6542674 h 6857997"/>
              <a:gd name="connsiteX48" fmla="*/ 833735 w 4072023"/>
              <a:gd name="connsiteY48" fmla="*/ 6542674 h 6857997"/>
              <a:gd name="connsiteX49" fmla="*/ 801269 w 4072023"/>
              <a:gd name="connsiteY49" fmla="*/ 6451543 h 6857997"/>
              <a:gd name="connsiteX50" fmla="*/ 604404 w 4072023"/>
              <a:gd name="connsiteY50" fmla="*/ 6451543 h 6857997"/>
              <a:gd name="connsiteX51" fmla="*/ 576137 w 4072023"/>
              <a:gd name="connsiteY51" fmla="*/ 6479246 h 6857997"/>
              <a:gd name="connsiteX52" fmla="*/ 604404 w 4072023"/>
              <a:gd name="connsiteY52" fmla="*/ 6505821 h 6857997"/>
              <a:gd name="connsiteX53" fmla="*/ 625964 w 4072023"/>
              <a:gd name="connsiteY53" fmla="*/ 6505821 h 6857997"/>
              <a:gd name="connsiteX54" fmla="*/ 634174 w 4072023"/>
              <a:gd name="connsiteY54" fmla="*/ 6514282 h 6857997"/>
              <a:gd name="connsiteX55" fmla="*/ 625964 w 4072023"/>
              <a:gd name="connsiteY55" fmla="*/ 6522743 h 6857997"/>
              <a:gd name="connsiteX56" fmla="*/ 579772 w 4072023"/>
              <a:gd name="connsiteY56" fmla="*/ 6522743 h 6857997"/>
              <a:gd name="connsiteX57" fmla="*/ 579772 w 4072023"/>
              <a:gd name="connsiteY57" fmla="*/ 6542674 h 6857997"/>
              <a:gd name="connsiteX58" fmla="*/ 625149 w 4072023"/>
              <a:gd name="connsiteY58" fmla="*/ 6542674 h 6857997"/>
              <a:gd name="connsiteX59" fmla="*/ 653792 w 4072023"/>
              <a:gd name="connsiteY59" fmla="*/ 6514282 h 6857997"/>
              <a:gd name="connsiteX60" fmla="*/ 629223 w 4072023"/>
              <a:gd name="connsiteY60" fmla="*/ 6487707 h 6857997"/>
              <a:gd name="connsiteX61" fmla="*/ 604404 w 4072023"/>
              <a:gd name="connsiteY61" fmla="*/ 6487707 h 6857997"/>
              <a:gd name="connsiteX62" fmla="*/ 595817 w 4072023"/>
              <a:gd name="connsiteY62" fmla="*/ 6479246 h 6857997"/>
              <a:gd name="connsiteX63" fmla="*/ 604404 w 4072023"/>
              <a:gd name="connsiteY63" fmla="*/ 6470785 h 6857997"/>
              <a:gd name="connsiteX64" fmla="*/ 647462 w 4072023"/>
              <a:gd name="connsiteY64" fmla="*/ 6470785 h 6857997"/>
              <a:gd name="connsiteX65" fmla="*/ 647462 w 4072023"/>
              <a:gd name="connsiteY65" fmla="*/ 6451543 h 6857997"/>
              <a:gd name="connsiteX66" fmla="*/ 1023956 w 4072023"/>
              <a:gd name="connsiteY66" fmla="*/ 6451480 h 6857997"/>
              <a:gd name="connsiteX67" fmla="*/ 1023956 w 4072023"/>
              <a:gd name="connsiteY67" fmla="*/ 6542674 h 6857997"/>
              <a:gd name="connsiteX68" fmla="*/ 1045016 w 4072023"/>
              <a:gd name="connsiteY68" fmla="*/ 6542674 h 6857997"/>
              <a:gd name="connsiteX69" fmla="*/ 1045016 w 4072023"/>
              <a:gd name="connsiteY69" fmla="*/ 6504191 h 6857997"/>
              <a:gd name="connsiteX70" fmla="*/ 1074975 w 4072023"/>
              <a:gd name="connsiteY70" fmla="*/ 6542674 h 6857997"/>
              <a:gd name="connsiteX71" fmla="*/ 1099481 w 4072023"/>
              <a:gd name="connsiteY71" fmla="*/ 6542674 h 6857997"/>
              <a:gd name="connsiteX72" fmla="*/ 1065009 w 4072023"/>
              <a:gd name="connsiteY72" fmla="*/ 6497109 h 6857997"/>
              <a:gd name="connsiteX73" fmla="*/ 1099481 w 4072023"/>
              <a:gd name="connsiteY73" fmla="*/ 6451480 h 6857997"/>
              <a:gd name="connsiteX74" fmla="*/ 1074975 w 4072023"/>
              <a:gd name="connsiteY74" fmla="*/ 6451480 h 6857997"/>
              <a:gd name="connsiteX75" fmla="*/ 1045016 w 4072023"/>
              <a:gd name="connsiteY75" fmla="*/ 6489963 h 6857997"/>
              <a:gd name="connsiteX76" fmla="*/ 1045016 w 4072023"/>
              <a:gd name="connsiteY76" fmla="*/ 6451480 h 6857997"/>
              <a:gd name="connsiteX77" fmla="*/ 666077 w 4072023"/>
              <a:gd name="connsiteY77" fmla="*/ 6451480 h 6857997"/>
              <a:gd name="connsiteX78" fmla="*/ 666077 w 4072023"/>
              <a:gd name="connsiteY78" fmla="*/ 6542674 h 6857997"/>
              <a:gd name="connsiteX79" fmla="*/ 687073 w 4072023"/>
              <a:gd name="connsiteY79" fmla="*/ 6542674 h 6857997"/>
              <a:gd name="connsiteX80" fmla="*/ 687073 w 4072023"/>
              <a:gd name="connsiteY80" fmla="*/ 6504191 h 6857997"/>
              <a:gd name="connsiteX81" fmla="*/ 717033 w 4072023"/>
              <a:gd name="connsiteY81" fmla="*/ 6542674 h 6857997"/>
              <a:gd name="connsiteX82" fmla="*/ 741602 w 4072023"/>
              <a:gd name="connsiteY82" fmla="*/ 6542674 h 6857997"/>
              <a:gd name="connsiteX83" fmla="*/ 707067 w 4072023"/>
              <a:gd name="connsiteY83" fmla="*/ 6497109 h 6857997"/>
              <a:gd name="connsiteX84" fmla="*/ 741602 w 4072023"/>
              <a:gd name="connsiteY84" fmla="*/ 6451480 h 6857997"/>
              <a:gd name="connsiteX85" fmla="*/ 717033 w 4072023"/>
              <a:gd name="connsiteY85" fmla="*/ 6451480 h 6857997"/>
              <a:gd name="connsiteX86" fmla="*/ 687073 w 4072023"/>
              <a:gd name="connsiteY86" fmla="*/ 6489963 h 6857997"/>
              <a:gd name="connsiteX87" fmla="*/ 687073 w 4072023"/>
              <a:gd name="connsiteY87" fmla="*/ 6451480 h 6857997"/>
              <a:gd name="connsiteX88" fmla="*/ 0 w 4072023"/>
              <a:gd name="connsiteY88" fmla="*/ 0 h 6857997"/>
              <a:gd name="connsiteX89" fmla="*/ 4072023 w 4072023"/>
              <a:gd name="connsiteY89" fmla="*/ 0 h 6857997"/>
              <a:gd name="connsiteX90" fmla="*/ 4072023 w 4072023"/>
              <a:gd name="connsiteY90" fmla="*/ 6857997 h 6857997"/>
              <a:gd name="connsiteX91" fmla="*/ 0 w 4072023"/>
              <a:gd name="connsiteY91" fmla="*/ 6857997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4072023" h="6857997">
                <a:moveTo>
                  <a:pt x="1146049" y="6470534"/>
                </a:moveTo>
                <a:lnTo>
                  <a:pt x="1157832" y="6505507"/>
                </a:lnTo>
                <a:lnTo>
                  <a:pt x="1134642" y="6505507"/>
                </a:lnTo>
                <a:close/>
                <a:moveTo>
                  <a:pt x="788170" y="6470534"/>
                </a:moveTo>
                <a:lnTo>
                  <a:pt x="799953" y="6505507"/>
                </a:lnTo>
                <a:lnTo>
                  <a:pt x="776763" y="6505507"/>
                </a:lnTo>
                <a:close/>
                <a:moveTo>
                  <a:pt x="1132323" y="6451543"/>
                </a:moveTo>
                <a:lnTo>
                  <a:pt x="1100860" y="6542674"/>
                </a:lnTo>
                <a:lnTo>
                  <a:pt x="1123110" y="6542674"/>
                </a:lnTo>
                <a:lnTo>
                  <a:pt x="1128876" y="6524060"/>
                </a:lnTo>
                <a:lnTo>
                  <a:pt x="1163786" y="6524060"/>
                </a:lnTo>
                <a:lnTo>
                  <a:pt x="1169741" y="6542674"/>
                </a:lnTo>
                <a:lnTo>
                  <a:pt x="1191615" y="6542674"/>
                </a:lnTo>
                <a:lnTo>
                  <a:pt x="1159148" y="6451543"/>
                </a:lnTo>
                <a:close/>
                <a:moveTo>
                  <a:pt x="961907" y="6451543"/>
                </a:moveTo>
                <a:cubicBezTo>
                  <a:pt x="944358" y="6451543"/>
                  <a:pt x="933640" y="6461822"/>
                  <a:pt x="933640" y="6479246"/>
                </a:cubicBezTo>
                <a:cubicBezTo>
                  <a:pt x="933640" y="6496670"/>
                  <a:pt x="945987" y="6505821"/>
                  <a:pt x="961907" y="6505821"/>
                </a:cubicBezTo>
                <a:lnTo>
                  <a:pt x="983468" y="6505821"/>
                </a:lnTo>
                <a:cubicBezTo>
                  <a:pt x="988921" y="6505821"/>
                  <a:pt x="991678" y="6509957"/>
                  <a:pt x="991678" y="6514282"/>
                </a:cubicBezTo>
                <a:cubicBezTo>
                  <a:pt x="991678" y="6518732"/>
                  <a:pt x="988921" y="6522743"/>
                  <a:pt x="983468" y="6522743"/>
                </a:cubicBezTo>
                <a:lnTo>
                  <a:pt x="937338" y="6522743"/>
                </a:lnTo>
                <a:lnTo>
                  <a:pt x="937338" y="6542674"/>
                </a:lnTo>
                <a:lnTo>
                  <a:pt x="982716" y="6542674"/>
                </a:lnTo>
                <a:cubicBezTo>
                  <a:pt x="1000704" y="6542674"/>
                  <a:pt x="1011358" y="6532772"/>
                  <a:pt x="1011358" y="6514282"/>
                </a:cubicBezTo>
                <a:cubicBezTo>
                  <a:pt x="1011358" y="6497610"/>
                  <a:pt x="1000641" y="6487707"/>
                  <a:pt x="986727" y="6487707"/>
                </a:cubicBezTo>
                <a:lnTo>
                  <a:pt x="961907" y="6487707"/>
                </a:lnTo>
                <a:cubicBezTo>
                  <a:pt x="956078" y="6487707"/>
                  <a:pt x="953321" y="6483696"/>
                  <a:pt x="953321" y="6479246"/>
                </a:cubicBezTo>
                <a:cubicBezTo>
                  <a:pt x="953321" y="6474796"/>
                  <a:pt x="956078" y="6470785"/>
                  <a:pt x="961907" y="6470785"/>
                </a:cubicBezTo>
                <a:lnTo>
                  <a:pt x="1004965" y="6470785"/>
                </a:lnTo>
                <a:lnTo>
                  <a:pt x="1004965" y="6451543"/>
                </a:lnTo>
                <a:close/>
                <a:moveTo>
                  <a:pt x="841570" y="6451543"/>
                </a:moveTo>
                <a:lnTo>
                  <a:pt x="841570" y="6542674"/>
                </a:lnTo>
                <a:lnTo>
                  <a:pt x="862692" y="6542674"/>
                </a:lnTo>
                <a:lnTo>
                  <a:pt x="862692" y="6486454"/>
                </a:lnTo>
                <a:lnTo>
                  <a:pt x="898981" y="6542486"/>
                </a:lnTo>
                <a:lnTo>
                  <a:pt x="898981" y="6542674"/>
                </a:lnTo>
                <a:lnTo>
                  <a:pt x="920855" y="6542674"/>
                </a:lnTo>
                <a:lnTo>
                  <a:pt x="920793" y="6522994"/>
                </a:lnTo>
                <a:lnTo>
                  <a:pt x="920667" y="6451543"/>
                </a:lnTo>
                <a:lnTo>
                  <a:pt x="899671" y="6451543"/>
                </a:lnTo>
                <a:lnTo>
                  <a:pt x="899671" y="6508829"/>
                </a:lnTo>
                <a:lnTo>
                  <a:pt x="863068" y="6451543"/>
                </a:lnTo>
                <a:close/>
                <a:moveTo>
                  <a:pt x="774444" y="6451543"/>
                </a:moveTo>
                <a:lnTo>
                  <a:pt x="742918" y="6542674"/>
                </a:lnTo>
                <a:lnTo>
                  <a:pt x="765168" y="6542674"/>
                </a:lnTo>
                <a:lnTo>
                  <a:pt x="770934" y="6524060"/>
                </a:lnTo>
                <a:lnTo>
                  <a:pt x="805845" y="6524060"/>
                </a:lnTo>
                <a:lnTo>
                  <a:pt x="811799" y="6542674"/>
                </a:lnTo>
                <a:lnTo>
                  <a:pt x="833735" y="6542674"/>
                </a:lnTo>
                <a:lnTo>
                  <a:pt x="801269" y="6451543"/>
                </a:lnTo>
                <a:close/>
                <a:moveTo>
                  <a:pt x="604404" y="6451543"/>
                </a:moveTo>
                <a:cubicBezTo>
                  <a:pt x="586792" y="6451543"/>
                  <a:pt x="576137" y="6461822"/>
                  <a:pt x="576137" y="6479246"/>
                </a:cubicBezTo>
                <a:cubicBezTo>
                  <a:pt x="576137" y="6496670"/>
                  <a:pt x="588484" y="6505821"/>
                  <a:pt x="604404" y="6505821"/>
                </a:cubicBezTo>
                <a:lnTo>
                  <a:pt x="625964" y="6505821"/>
                </a:lnTo>
                <a:cubicBezTo>
                  <a:pt x="631417" y="6505821"/>
                  <a:pt x="634174" y="6509957"/>
                  <a:pt x="634174" y="6514282"/>
                </a:cubicBezTo>
                <a:cubicBezTo>
                  <a:pt x="634174" y="6518732"/>
                  <a:pt x="631417" y="6522743"/>
                  <a:pt x="625964" y="6522743"/>
                </a:cubicBezTo>
                <a:lnTo>
                  <a:pt x="579772" y="6522743"/>
                </a:lnTo>
                <a:lnTo>
                  <a:pt x="579772" y="6542674"/>
                </a:lnTo>
                <a:lnTo>
                  <a:pt x="625149" y="6542674"/>
                </a:lnTo>
                <a:cubicBezTo>
                  <a:pt x="643137" y="6542674"/>
                  <a:pt x="653792" y="6532772"/>
                  <a:pt x="653792" y="6514282"/>
                </a:cubicBezTo>
                <a:cubicBezTo>
                  <a:pt x="653792" y="6497610"/>
                  <a:pt x="643137" y="6487707"/>
                  <a:pt x="629223" y="6487707"/>
                </a:cubicBezTo>
                <a:lnTo>
                  <a:pt x="604404" y="6487707"/>
                </a:lnTo>
                <a:cubicBezTo>
                  <a:pt x="598575" y="6487707"/>
                  <a:pt x="595817" y="6483696"/>
                  <a:pt x="595817" y="6479246"/>
                </a:cubicBezTo>
                <a:cubicBezTo>
                  <a:pt x="595817" y="6474796"/>
                  <a:pt x="598575" y="6470785"/>
                  <a:pt x="604404" y="6470785"/>
                </a:cubicBezTo>
                <a:lnTo>
                  <a:pt x="647462" y="6470785"/>
                </a:lnTo>
                <a:lnTo>
                  <a:pt x="647462" y="6451543"/>
                </a:lnTo>
                <a:close/>
                <a:moveTo>
                  <a:pt x="1023956" y="6451480"/>
                </a:moveTo>
                <a:lnTo>
                  <a:pt x="1023956" y="6542674"/>
                </a:lnTo>
                <a:lnTo>
                  <a:pt x="1045016" y="6542674"/>
                </a:lnTo>
                <a:lnTo>
                  <a:pt x="1045016" y="6504191"/>
                </a:lnTo>
                <a:lnTo>
                  <a:pt x="1074975" y="6542674"/>
                </a:lnTo>
                <a:lnTo>
                  <a:pt x="1099481" y="6542674"/>
                </a:lnTo>
                <a:lnTo>
                  <a:pt x="1065009" y="6497109"/>
                </a:lnTo>
                <a:lnTo>
                  <a:pt x="1099481" y="6451480"/>
                </a:lnTo>
                <a:lnTo>
                  <a:pt x="1074975" y="6451480"/>
                </a:lnTo>
                <a:lnTo>
                  <a:pt x="1045016" y="6489963"/>
                </a:lnTo>
                <a:lnTo>
                  <a:pt x="1045016" y="6451480"/>
                </a:lnTo>
                <a:close/>
                <a:moveTo>
                  <a:pt x="666077" y="6451480"/>
                </a:moveTo>
                <a:lnTo>
                  <a:pt x="666077" y="6542674"/>
                </a:lnTo>
                <a:lnTo>
                  <a:pt x="687073" y="6542674"/>
                </a:lnTo>
                <a:lnTo>
                  <a:pt x="687073" y="6504191"/>
                </a:lnTo>
                <a:lnTo>
                  <a:pt x="717033" y="6542674"/>
                </a:lnTo>
                <a:lnTo>
                  <a:pt x="741602" y="6542674"/>
                </a:lnTo>
                <a:lnTo>
                  <a:pt x="707067" y="6497109"/>
                </a:lnTo>
                <a:lnTo>
                  <a:pt x="741602" y="6451480"/>
                </a:lnTo>
                <a:lnTo>
                  <a:pt x="717033" y="6451480"/>
                </a:lnTo>
                <a:lnTo>
                  <a:pt x="687073" y="6489963"/>
                </a:lnTo>
                <a:lnTo>
                  <a:pt x="687073" y="6451480"/>
                </a:lnTo>
                <a:close/>
                <a:moveTo>
                  <a:pt x="0" y="0"/>
                </a:moveTo>
                <a:lnTo>
                  <a:pt x="4072023" y="0"/>
                </a:lnTo>
                <a:lnTo>
                  <a:pt x="4072023" y="6857997"/>
                </a:lnTo>
                <a:lnTo>
                  <a:pt x="0" y="6857997"/>
                </a:lnTo>
                <a:close/>
              </a:path>
            </a:pathLst>
          </a:custGeom>
          <a:solidFill>
            <a:srgbClr val="ECECEC"/>
          </a:solidFill>
        </p:spPr>
        <p:txBody>
          <a:bodyPr wrap="square" lIns="36000" tIns="36000" rIns="36000" bIns="36000">
            <a:noAutofit/>
          </a:bodyPr>
          <a:lstStyle>
            <a:lvl1pPr marL="0" indent="0" algn="ctr">
              <a:buNone/>
              <a:defRPr sz="1300">
                <a:solidFill>
                  <a:schemeClr val="tx2"/>
                </a:solidFill>
              </a:defRPr>
            </a:lvl1pPr>
          </a:lstStyle>
          <a:p>
            <a:r>
              <a:rPr lang="en-US" noProof="0"/>
              <a:t>If the image placeholder icon is underneath the text box, select the gray placeholder box and then go to insert in the top menu and add picture. Do NOT move the textbox!</a:t>
            </a:r>
          </a:p>
          <a:p>
            <a:endParaRPr lang="en-US" noProof="0"/>
          </a:p>
        </p:txBody>
      </p:sp>
      <p:sp>
        <p:nvSpPr>
          <p:cNvPr id="18" name="Picture Placeholder 17">
            <a:extLst>
              <a:ext uri="{FF2B5EF4-FFF2-40B4-BE49-F238E27FC236}">
                <a16:creationId xmlns:a16="http://schemas.microsoft.com/office/drawing/2014/main" id="{1D8C10B2-C5B9-8C42-AAE6-7022794E8D33}"/>
              </a:ext>
            </a:extLst>
          </p:cNvPr>
          <p:cNvSpPr>
            <a:spLocks noGrp="1"/>
          </p:cNvSpPr>
          <p:nvPr>
            <p:ph type="pic" sz="quarter" idx="18" hasCustomPrompt="1"/>
          </p:nvPr>
        </p:nvSpPr>
        <p:spPr>
          <a:xfrm>
            <a:off x="8127999" y="0"/>
            <a:ext cx="4076277" cy="6858000"/>
          </a:xfrm>
          <a:custGeom>
            <a:avLst/>
            <a:gdLst>
              <a:gd name="connsiteX0" fmla="*/ 0 w 6095997"/>
              <a:gd name="connsiteY0" fmla="*/ 0 h 3428998"/>
              <a:gd name="connsiteX1" fmla="*/ 6095997 w 6095997"/>
              <a:gd name="connsiteY1" fmla="*/ 0 h 3428998"/>
              <a:gd name="connsiteX2" fmla="*/ 6095997 w 6095997"/>
              <a:gd name="connsiteY2" fmla="*/ 3428998 h 3428998"/>
              <a:gd name="connsiteX3" fmla="*/ 0 w 6095997"/>
              <a:gd name="connsiteY3" fmla="*/ 3428998 h 3428998"/>
            </a:gdLst>
            <a:ahLst/>
            <a:cxnLst>
              <a:cxn ang="0">
                <a:pos x="connsiteX0" y="connsiteY0"/>
              </a:cxn>
              <a:cxn ang="0">
                <a:pos x="connsiteX1" y="connsiteY1"/>
              </a:cxn>
              <a:cxn ang="0">
                <a:pos x="connsiteX2" y="connsiteY2"/>
              </a:cxn>
              <a:cxn ang="0">
                <a:pos x="connsiteX3" y="connsiteY3"/>
              </a:cxn>
            </a:cxnLst>
            <a:rect l="l" t="t" r="r" b="b"/>
            <a:pathLst>
              <a:path w="6095997" h="3428998">
                <a:moveTo>
                  <a:pt x="0" y="0"/>
                </a:moveTo>
                <a:lnTo>
                  <a:pt x="6095997" y="0"/>
                </a:lnTo>
                <a:lnTo>
                  <a:pt x="6095997" y="3428998"/>
                </a:lnTo>
                <a:lnTo>
                  <a:pt x="0" y="3428998"/>
                </a:lnTo>
                <a:close/>
              </a:path>
            </a:pathLst>
          </a:custGeom>
          <a:solidFill>
            <a:srgbClr val="ECECEC"/>
          </a:solidFill>
        </p:spPr>
        <p:txBody>
          <a:bodyPr wrap="square" lIns="36000" tIns="36000" rIns="36000" bIns="36000" anchor="t">
            <a:noAutofit/>
          </a:bodyPr>
          <a:lstStyle>
            <a:lvl1pPr marL="0" indent="0" algn="ctr">
              <a:buNone/>
              <a:defRPr sz="1300">
                <a:solidFill>
                  <a:schemeClr val="tx2"/>
                </a:solidFill>
              </a:defRPr>
            </a:lvl1pPr>
          </a:lstStyle>
          <a:p>
            <a:r>
              <a:rPr lang="en-US" noProof="0"/>
              <a:t>If the image placeholder icon is underneath the text box, select the gray placeholder box and then go to insert in the top menu and add picture. Do NOT move the textbox!</a:t>
            </a:r>
          </a:p>
          <a:p>
            <a:endParaRPr lang="en-US" noProof="0"/>
          </a:p>
        </p:txBody>
      </p:sp>
      <p:sp>
        <p:nvSpPr>
          <p:cNvPr id="16" name="Text Placeholder 18">
            <a:extLst>
              <a:ext uri="{FF2B5EF4-FFF2-40B4-BE49-F238E27FC236}">
                <a16:creationId xmlns:a16="http://schemas.microsoft.com/office/drawing/2014/main" id="{CAD788D9-156D-3B46-B27B-0C6E941B8270}"/>
              </a:ext>
            </a:extLst>
          </p:cNvPr>
          <p:cNvSpPr>
            <a:spLocks noGrp="1"/>
          </p:cNvSpPr>
          <p:nvPr>
            <p:ph type="body" sz="quarter" idx="21" hasCustomPrompt="1"/>
          </p:nvPr>
        </p:nvSpPr>
        <p:spPr>
          <a:xfrm>
            <a:off x="8146861" y="2600435"/>
            <a:ext cx="4057415" cy="1657129"/>
          </a:xfrm>
          <a:prstGeom prst="rect">
            <a:avLst/>
          </a:prstGeom>
        </p:spPr>
        <p:txBody>
          <a:bodyPr lIns="540000" rIns="540000" anchor="ctr">
            <a:noAutofit/>
          </a:bodyPr>
          <a:lstStyle>
            <a:lvl1pPr marL="0" indent="0" algn="ctr">
              <a:lnSpc>
                <a:spcPct val="85000"/>
              </a:lnSpc>
              <a:spcBef>
                <a:spcPts val="0"/>
              </a:spcBef>
              <a:buNone/>
              <a:defRPr sz="2600" spc="40" baseline="0">
                <a:solidFill>
                  <a:schemeClr val="bg1"/>
                </a:solidFill>
                <a:latin typeface="+mj-lt"/>
              </a:defRPr>
            </a:lvl1pPr>
          </a:lstStyle>
          <a:p>
            <a:pPr lvl="0"/>
            <a:r>
              <a:rPr lang="en-US" noProof="0"/>
              <a:t>Click to add text</a:t>
            </a:r>
          </a:p>
        </p:txBody>
      </p:sp>
      <p:sp>
        <p:nvSpPr>
          <p:cNvPr id="19" name="Text Placeholder 18">
            <a:extLst>
              <a:ext uri="{FF2B5EF4-FFF2-40B4-BE49-F238E27FC236}">
                <a16:creationId xmlns:a16="http://schemas.microsoft.com/office/drawing/2014/main" id="{9E751731-59C5-B049-9487-248BD0C40892}"/>
              </a:ext>
            </a:extLst>
          </p:cNvPr>
          <p:cNvSpPr>
            <a:spLocks noGrp="1"/>
          </p:cNvSpPr>
          <p:nvPr>
            <p:ph type="body" sz="quarter" idx="26" hasCustomPrompt="1"/>
          </p:nvPr>
        </p:nvSpPr>
        <p:spPr>
          <a:xfrm>
            <a:off x="-8834" y="2600435"/>
            <a:ext cx="4076276" cy="1657129"/>
          </a:xfrm>
          <a:prstGeom prst="rect">
            <a:avLst/>
          </a:prstGeom>
        </p:spPr>
        <p:txBody>
          <a:bodyPr lIns="540000" rIns="540000" anchor="ctr">
            <a:noAutofit/>
          </a:bodyPr>
          <a:lstStyle>
            <a:lvl1pPr marL="0" indent="0" algn="ctr">
              <a:lnSpc>
                <a:spcPct val="85000"/>
              </a:lnSpc>
              <a:spcBef>
                <a:spcPts val="0"/>
              </a:spcBef>
              <a:buNone/>
              <a:defRPr sz="2600" spc="40" baseline="0">
                <a:solidFill>
                  <a:schemeClr val="bg1"/>
                </a:solidFill>
                <a:latin typeface="+mj-lt"/>
              </a:defRPr>
            </a:lvl1pPr>
          </a:lstStyle>
          <a:p>
            <a:pPr lvl="0"/>
            <a:r>
              <a:rPr lang="en-US" noProof="0"/>
              <a:t>Click to add text</a:t>
            </a:r>
          </a:p>
        </p:txBody>
      </p:sp>
      <p:sp>
        <p:nvSpPr>
          <p:cNvPr id="22" name="Text Placeholder 18">
            <a:extLst>
              <a:ext uri="{FF2B5EF4-FFF2-40B4-BE49-F238E27FC236}">
                <a16:creationId xmlns:a16="http://schemas.microsoft.com/office/drawing/2014/main" id="{2DA0EC46-A30E-6E40-B15A-2A147BD09EBB}"/>
              </a:ext>
            </a:extLst>
          </p:cNvPr>
          <p:cNvSpPr>
            <a:spLocks noGrp="1"/>
          </p:cNvSpPr>
          <p:nvPr>
            <p:ph type="body" sz="quarter" idx="28" hasCustomPrompt="1"/>
          </p:nvPr>
        </p:nvSpPr>
        <p:spPr>
          <a:xfrm>
            <a:off x="4072836" y="2600435"/>
            <a:ext cx="4047138" cy="1657129"/>
          </a:xfrm>
          <a:prstGeom prst="rect">
            <a:avLst/>
          </a:prstGeom>
        </p:spPr>
        <p:txBody>
          <a:bodyPr lIns="540000" rIns="540000" anchor="ctr">
            <a:noAutofit/>
          </a:bodyPr>
          <a:lstStyle>
            <a:lvl1pPr marL="0" indent="0" algn="ctr">
              <a:lnSpc>
                <a:spcPct val="85000"/>
              </a:lnSpc>
              <a:spcBef>
                <a:spcPts val="0"/>
              </a:spcBef>
              <a:buNone/>
              <a:defRPr sz="2600" spc="40" baseline="0">
                <a:solidFill>
                  <a:schemeClr val="bg1"/>
                </a:solidFill>
                <a:latin typeface="+mj-lt"/>
              </a:defRPr>
            </a:lvl1pPr>
          </a:lstStyle>
          <a:p>
            <a:pPr lvl="0"/>
            <a:r>
              <a:rPr lang="en-US" noProof="0"/>
              <a:t>Click to add text</a:t>
            </a:r>
          </a:p>
        </p:txBody>
      </p:sp>
      <p:sp>
        <p:nvSpPr>
          <p:cNvPr id="11" name="textruta 5">
            <a:extLst>
              <a:ext uri="{FF2B5EF4-FFF2-40B4-BE49-F238E27FC236}">
                <a16:creationId xmlns:a16="http://schemas.microsoft.com/office/drawing/2014/main" id="{11454871-6E41-9045-84A7-31FC43D47801}"/>
              </a:ext>
            </a:extLst>
          </p:cNvPr>
          <p:cNvSpPr txBox="1"/>
          <p:nvPr userDrawn="1"/>
        </p:nvSpPr>
        <p:spPr>
          <a:xfrm>
            <a:off x="12395260" y="1453483"/>
            <a:ext cx="1681523" cy="646331"/>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the textboxes disappears after adding or changing an imag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right click the image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and use – </a:t>
            </a:r>
            <a:r>
              <a:rPr lang="en-US" sz="900" b="1" noProof="0">
                <a:solidFill>
                  <a:schemeClr val="tx1">
                    <a:lumMod val="65000"/>
                    <a:lumOff val="35000"/>
                  </a:schemeClr>
                </a:solidFill>
                <a:latin typeface="Arial" panose="020B0604020202020204" pitchFamily="34" charset="0"/>
                <a:cs typeface="Arial" panose="020B0604020202020204" pitchFamily="34" charset="0"/>
              </a:rPr>
              <a:t>S</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end to back</a:t>
            </a:r>
          </a:p>
        </p:txBody>
      </p:sp>
      <p:sp>
        <p:nvSpPr>
          <p:cNvPr id="12" name="textruta 11">
            <a:extLst>
              <a:ext uri="{FF2B5EF4-FFF2-40B4-BE49-F238E27FC236}">
                <a16:creationId xmlns:a16="http://schemas.microsoft.com/office/drawing/2014/main" id="{8E1720B2-EFAF-B84F-B64E-421B9C701D7D}"/>
              </a:ext>
            </a:extLst>
          </p:cNvPr>
          <p:cNvSpPr txBox="1"/>
          <p:nvPr userDrawn="1"/>
        </p:nvSpPr>
        <p:spPr>
          <a:xfrm>
            <a:off x="12395260" y="-12189"/>
            <a:ext cx="1681523" cy="1338828"/>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you need to change the color of the logo, right click outside work area,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Format Background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from context menu and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Solid fill</a:t>
            </a:r>
            <a:r>
              <a:rPr lang="en-US" sz="900" baseline="0" noProof="0">
                <a:solidFill>
                  <a:schemeClr val="tx1">
                    <a:lumMod val="65000"/>
                    <a:lumOff val="35000"/>
                  </a:schemeClr>
                </a:solidFill>
                <a:latin typeface="Arial" panose="020B0604020202020204" pitchFamily="34" charset="0"/>
                <a:cs typeface="Arial" panose="020B0604020202020204" pitchFamily="34" charset="0"/>
              </a:rPr>
              <a:t> –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White or Blue</a:t>
            </a: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p:txBody>
      </p:sp>
      <p:sp>
        <p:nvSpPr>
          <p:cNvPr id="13" name="Rektangel 12">
            <a:extLst>
              <a:ext uri="{FF2B5EF4-FFF2-40B4-BE49-F238E27FC236}">
                <a16:creationId xmlns:a16="http://schemas.microsoft.com/office/drawing/2014/main" id="{5A2B0DFE-5964-6446-982D-1886963B932D}"/>
              </a:ext>
            </a:extLst>
          </p:cNvPr>
          <p:cNvSpPr/>
          <p:nvPr userDrawn="1"/>
        </p:nvSpPr>
        <p:spPr>
          <a:xfrm>
            <a:off x="13255337" y="926211"/>
            <a:ext cx="341194" cy="305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Rektangel 13">
            <a:extLst>
              <a:ext uri="{FF2B5EF4-FFF2-40B4-BE49-F238E27FC236}">
                <a16:creationId xmlns:a16="http://schemas.microsoft.com/office/drawing/2014/main" id="{D05655AB-CE15-6D47-8CB8-6546336F9E01}"/>
              </a:ext>
            </a:extLst>
          </p:cNvPr>
          <p:cNvSpPr/>
          <p:nvPr userDrawn="1"/>
        </p:nvSpPr>
        <p:spPr>
          <a:xfrm>
            <a:off x="12833410" y="926211"/>
            <a:ext cx="341194" cy="30590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5" name="Platshållare för datum 3">
            <a:extLst>
              <a:ext uri="{FF2B5EF4-FFF2-40B4-BE49-F238E27FC236}">
                <a16:creationId xmlns:a16="http://schemas.microsoft.com/office/drawing/2014/main" id="{5F82BC1C-B4A5-2943-B1F7-2C1E6F11224B}"/>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bg1"/>
                </a:solidFill>
              </a:defRPr>
            </a:lvl1pPr>
          </a:lstStyle>
          <a:p>
            <a:fld id="{2F9806AD-009B-8D45-82A9-B9E8234B6322}" type="datetime1">
              <a:rPr lang="en-US" smtClean="0"/>
              <a:pPr/>
              <a:t>10/17/2023</a:t>
            </a:fld>
            <a:endParaRPr lang="en-US"/>
          </a:p>
        </p:txBody>
      </p:sp>
      <p:sp>
        <p:nvSpPr>
          <p:cNvPr id="17" name="Platshållare för sidfot 4">
            <a:extLst>
              <a:ext uri="{FF2B5EF4-FFF2-40B4-BE49-F238E27FC236}">
                <a16:creationId xmlns:a16="http://schemas.microsoft.com/office/drawing/2014/main" id="{34176E80-8CD3-D446-B2F2-66C3A2315ACE}"/>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bg1"/>
                </a:solidFill>
              </a:defRPr>
            </a:lvl1pPr>
          </a:lstStyle>
          <a:p>
            <a:r>
              <a:rPr lang="en-US"/>
              <a:t>Go to header/footer to change text </a:t>
            </a:r>
          </a:p>
        </p:txBody>
      </p:sp>
      <p:sp>
        <p:nvSpPr>
          <p:cNvPr id="20" name="Platshållare för bildnummer 5">
            <a:extLst>
              <a:ext uri="{FF2B5EF4-FFF2-40B4-BE49-F238E27FC236}">
                <a16:creationId xmlns:a16="http://schemas.microsoft.com/office/drawing/2014/main" id="{0452F84B-9D3A-DF46-B5DC-59D2BAE7C253}"/>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bg1"/>
                </a:solidFill>
              </a:defRPr>
            </a:lvl1pPr>
          </a:lstStyle>
          <a:p>
            <a:fld id="{EF8DBD5B-30F9-4F9C-AE39-E065C1AC514D}" type="slidenum">
              <a:rPr lang="en-US" smtClean="0"/>
              <a:pPr/>
              <a:t>‹#›</a:t>
            </a:fld>
            <a:endParaRPr lang="en-US"/>
          </a:p>
        </p:txBody>
      </p:sp>
      <p:sp>
        <p:nvSpPr>
          <p:cNvPr id="23" name="Text Placeholder 4">
            <a:extLst>
              <a:ext uri="{FF2B5EF4-FFF2-40B4-BE49-F238E27FC236}">
                <a16:creationId xmlns:a16="http://schemas.microsoft.com/office/drawing/2014/main" id="{DFEC13B5-DF4A-1E41-ADC4-C58B38BA57F6}"/>
              </a:ext>
            </a:extLst>
          </p:cNvPr>
          <p:cNvSpPr>
            <a:spLocks noGrp="1"/>
          </p:cNvSpPr>
          <p:nvPr>
            <p:ph type="body" sz="quarter" idx="16" hasCustomPrompt="1"/>
          </p:nvPr>
        </p:nvSpPr>
        <p:spPr>
          <a:xfrm rot="5400000">
            <a:off x="10901730" y="803644"/>
            <a:ext cx="2093913" cy="486626"/>
          </a:xfrm>
        </p:spPr>
        <p:txBody>
          <a:bodyPr lIns="180000" tIns="180000" rIns="0" bIns="180000" anchor="ctr">
            <a:spAutoFit/>
          </a:bodyPr>
          <a:lstStyle>
            <a:lvl1pPr marL="6350" indent="0" algn="l">
              <a:buNone/>
              <a:defRPr sz="800">
                <a:solidFill>
                  <a:schemeClr val="bg1"/>
                </a:solidFill>
              </a:defRPr>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
        <p:nvSpPr>
          <p:cNvPr id="24" name="Text Placeholder 4">
            <a:extLst>
              <a:ext uri="{FF2B5EF4-FFF2-40B4-BE49-F238E27FC236}">
                <a16:creationId xmlns:a16="http://schemas.microsoft.com/office/drawing/2014/main" id="{E2CCC3D8-EC70-8647-821E-C44326AA93C7}"/>
              </a:ext>
            </a:extLst>
          </p:cNvPr>
          <p:cNvSpPr>
            <a:spLocks noGrp="1"/>
          </p:cNvSpPr>
          <p:nvPr>
            <p:ph type="body" sz="quarter" idx="29" hasCustomPrompt="1"/>
          </p:nvPr>
        </p:nvSpPr>
        <p:spPr>
          <a:xfrm rot="5400000">
            <a:off x="6848567" y="803645"/>
            <a:ext cx="2093913" cy="486626"/>
          </a:xfrm>
        </p:spPr>
        <p:txBody>
          <a:bodyPr lIns="180000" tIns="180000" rIns="0" bIns="180000" anchor="ctr">
            <a:spAutoFit/>
          </a:bodyPr>
          <a:lstStyle>
            <a:lvl1pPr marL="6350" indent="0" algn="l">
              <a:buNone/>
              <a:defRPr sz="800">
                <a:solidFill>
                  <a:schemeClr val="bg1"/>
                </a:solidFill>
              </a:defRPr>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
        <p:nvSpPr>
          <p:cNvPr id="26" name="Text Placeholder 4">
            <a:extLst>
              <a:ext uri="{FF2B5EF4-FFF2-40B4-BE49-F238E27FC236}">
                <a16:creationId xmlns:a16="http://schemas.microsoft.com/office/drawing/2014/main" id="{B3AFB980-8481-1048-B1F9-E5F80CF85165}"/>
              </a:ext>
            </a:extLst>
          </p:cNvPr>
          <p:cNvSpPr>
            <a:spLocks noGrp="1"/>
          </p:cNvSpPr>
          <p:nvPr>
            <p:ph type="body" sz="quarter" idx="30" hasCustomPrompt="1"/>
          </p:nvPr>
        </p:nvSpPr>
        <p:spPr>
          <a:xfrm rot="5400000">
            <a:off x="2781758" y="803645"/>
            <a:ext cx="2093913" cy="486626"/>
          </a:xfrm>
        </p:spPr>
        <p:txBody>
          <a:bodyPr lIns="180000" tIns="180000" rIns="0" bIns="180000" anchor="ctr">
            <a:spAutoFit/>
          </a:bodyPr>
          <a:lstStyle>
            <a:lvl1pPr marL="6350" indent="0" algn="l">
              <a:buNone/>
              <a:defRPr sz="800">
                <a:solidFill>
                  <a:schemeClr val="bg1"/>
                </a:solidFill>
              </a:defRPr>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Tree>
    <p:extLst>
      <p:ext uri="{BB962C8B-B14F-4D97-AF65-F5344CB8AC3E}">
        <p14:creationId xmlns:p14="http://schemas.microsoft.com/office/powerpoint/2010/main" val="37798900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 Title Start Image">
    <p:bg>
      <p:bgPr>
        <a:solidFill>
          <a:schemeClr val="bg1"/>
        </a:solidFill>
        <a:effectLst/>
      </p:bgPr>
    </p:bg>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65EEAE91-E57E-6747-89AA-18B1431204B2}"/>
              </a:ext>
            </a:extLst>
          </p:cNvPr>
          <p:cNvSpPr>
            <a:spLocks noGrp="1"/>
          </p:cNvSpPr>
          <p:nvPr>
            <p:ph type="pic" sz="quarter" idx="13" hasCustomPrompt="1"/>
          </p:nvPr>
        </p:nvSpPr>
        <p:spPr>
          <a:xfrm>
            <a:off x="3" y="3"/>
            <a:ext cx="12191998" cy="6857998"/>
          </a:xfrm>
          <a:custGeom>
            <a:avLst/>
            <a:gdLst>
              <a:gd name="connsiteX0" fmla="*/ 936965 w 12191998"/>
              <a:gd name="connsiteY0" fmla="*/ 389410 h 6857998"/>
              <a:gd name="connsiteX1" fmla="*/ 957275 w 12191998"/>
              <a:gd name="connsiteY1" fmla="*/ 449691 h 6857998"/>
              <a:gd name="connsiteX2" fmla="*/ 917304 w 12191998"/>
              <a:gd name="connsiteY2" fmla="*/ 449691 h 6857998"/>
              <a:gd name="connsiteX3" fmla="*/ 1553818 w 12191998"/>
              <a:gd name="connsiteY3" fmla="*/ 389410 h 6857998"/>
              <a:gd name="connsiteX4" fmla="*/ 1574127 w 12191998"/>
              <a:gd name="connsiteY4" fmla="*/ 449690 h 6857998"/>
              <a:gd name="connsiteX5" fmla="*/ 1534156 w 12191998"/>
              <a:gd name="connsiteY5" fmla="*/ 449690 h 6857998"/>
              <a:gd name="connsiteX6" fmla="*/ 1029007 w 12191998"/>
              <a:gd name="connsiteY6" fmla="*/ 356677 h 6857998"/>
              <a:gd name="connsiteX7" fmla="*/ 1029007 w 12191998"/>
              <a:gd name="connsiteY7" fmla="*/ 513753 h 6857998"/>
              <a:gd name="connsiteX8" fmla="*/ 1065413 w 12191998"/>
              <a:gd name="connsiteY8" fmla="*/ 513753 h 6857998"/>
              <a:gd name="connsiteX9" fmla="*/ 1065413 w 12191998"/>
              <a:gd name="connsiteY9" fmla="*/ 416850 h 6857998"/>
              <a:gd name="connsiteX10" fmla="*/ 1127963 w 12191998"/>
              <a:gd name="connsiteY10" fmla="*/ 513429 h 6857998"/>
              <a:gd name="connsiteX11" fmla="*/ 1127963 w 12191998"/>
              <a:gd name="connsiteY11" fmla="*/ 513753 h 6857998"/>
              <a:gd name="connsiteX12" fmla="*/ 1165665 w 12191998"/>
              <a:gd name="connsiteY12" fmla="*/ 513753 h 6857998"/>
              <a:gd name="connsiteX13" fmla="*/ 1165557 w 12191998"/>
              <a:gd name="connsiteY13" fmla="*/ 479831 h 6857998"/>
              <a:gd name="connsiteX14" fmla="*/ 1165341 w 12191998"/>
              <a:gd name="connsiteY14" fmla="*/ 356677 h 6857998"/>
              <a:gd name="connsiteX15" fmla="*/ 1129151 w 12191998"/>
              <a:gd name="connsiteY15" fmla="*/ 356677 h 6857998"/>
              <a:gd name="connsiteX16" fmla="*/ 1129151 w 12191998"/>
              <a:gd name="connsiteY16" fmla="*/ 455416 h 6857998"/>
              <a:gd name="connsiteX17" fmla="*/ 1066062 w 12191998"/>
              <a:gd name="connsiteY17" fmla="*/ 356677 h 6857998"/>
              <a:gd name="connsiteX18" fmla="*/ 913306 w 12191998"/>
              <a:gd name="connsiteY18" fmla="*/ 356677 h 6857998"/>
              <a:gd name="connsiteX19" fmla="*/ 858967 w 12191998"/>
              <a:gd name="connsiteY19" fmla="*/ 513753 h 6857998"/>
              <a:gd name="connsiteX20" fmla="*/ 897318 w 12191998"/>
              <a:gd name="connsiteY20" fmla="*/ 513753 h 6857998"/>
              <a:gd name="connsiteX21" fmla="*/ 907257 w 12191998"/>
              <a:gd name="connsiteY21" fmla="*/ 481668 h 6857998"/>
              <a:gd name="connsiteX22" fmla="*/ 967430 w 12191998"/>
              <a:gd name="connsiteY22" fmla="*/ 481668 h 6857998"/>
              <a:gd name="connsiteX23" fmla="*/ 977693 w 12191998"/>
              <a:gd name="connsiteY23" fmla="*/ 513753 h 6857998"/>
              <a:gd name="connsiteX24" fmla="*/ 1015503 w 12191998"/>
              <a:gd name="connsiteY24" fmla="*/ 513753 h 6857998"/>
              <a:gd name="connsiteX25" fmla="*/ 959543 w 12191998"/>
              <a:gd name="connsiteY25" fmla="*/ 356677 h 6857998"/>
              <a:gd name="connsiteX26" fmla="*/ 620219 w 12191998"/>
              <a:gd name="connsiteY26" fmla="*/ 356677 h 6857998"/>
              <a:gd name="connsiteX27" fmla="*/ 571498 w 12191998"/>
              <a:gd name="connsiteY27" fmla="*/ 404426 h 6857998"/>
              <a:gd name="connsiteX28" fmla="*/ 620219 w 12191998"/>
              <a:gd name="connsiteY28" fmla="*/ 450231 h 6857998"/>
              <a:gd name="connsiteX29" fmla="*/ 657382 w 12191998"/>
              <a:gd name="connsiteY29" fmla="*/ 450231 h 6857998"/>
              <a:gd name="connsiteX30" fmla="*/ 671534 w 12191998"/>
              <a:gd name="connsiteY30" fmla="*/ 464815 h 6857998"/>
              <a:gd name="connsiteX31" fmla="*/ 657382 w 12191998"/>
              <a:gd name="connsiteY31" fmla="*/ 479399 h 6857998"/>
              <a:gd name="connsiteX32" fmla="*/ 577764 w 12191998"/>
              <a:gd name="connsiteY32" fmla="*/ 479399 h 6857998"/>
              <a:gd name="connsiteX33" fmla="*/ 577764 w 12191998"/>
              <a:gd name="connsiteY33" fmla="*/ 513753 h 6857998"/>
              <a:gd name="connsiteX34" fmla="*/ 655977 w 12191998"/>
              <a:gd name="connsiteY34" fmla="*/ 513753 h 6857998"/>
              <a:gd name="connsiteX35" fmla="*/ 705347 w 12191998"/>
              <a:gd name="connsiteY35" fmla="*/ 464815 h 6857998"/>
              <a:gd name="connsiteX36" fmla="*/ 662999 w 12191998"/>
              <a:gd name="connsiteY36" fmla="*/ 419010 h 6857998"/>
              <a:gd name="connsiteX37" fmla="*/ 620219 w 12191998"/>
              <a:gd name="connsiteY37" fmla="*/ 419010 h 6857998"/>
              <a:gd name="connsiteX38" fmla="*/ 605419 w 12191998"/>
              <a:gd name="connsiteY38" fmla="*/ 404426 h 6857998"/>
              <a:gd name="connsiteX39" fmla="*/ 620219 w 12191998"/>
              <a:gd name="connsiteY39" fmla="*/ 389842 h 6857998"/>
              <a:gd name="connsiteX40" fmla="*/ 694436 w 12191998"/>
              <a:gd name="connsiteY40" fmla="*/ 389842 h 6857998"/>
              <a:gd name="connsiteX41" fmla="*/ 694436 w 12191998"/>
              <a:gd name="connsiteY41" fmla="*/ 356677 h 6857998"/>
              <a:gd name="connsiteX42" fmla="*/ 1530159 w 12191998"/>
              <a:gd name="connsiteY42" fmla="*/ 356676 h 6857998"/>
              <a:gd name="connsiteX43" fmla="*/ 1475928 w 12191998"/>
              <a:gd name="connsiteY43" fmla="*/ 513752 h 6857998"/>
              <a:gd name="connsiteX44" fmla="*/ 1514278 w 12191998"/>
              <a:gd name="connsiteY44" fmla="*/ 513752 h 6857998"/>
              <a:gd name="connsiteX45" fmla="*/ 1524217 w 12191998"/>
              <a:gd name="connsiteY45" fmla="*/ 481668 h 6857998"/>
              <a:gd name="connsiteX46" fmla="*/ 1584390 w 12191998"/>
              <a:gd name="connsiteY46" fmla="*/ 481668 h 6857998"/>
              <a:gd name="connsiteX47" fmla="*/ 1594653 w 12191998"/>
              <a:gd name="connsiteY47" fmla="*/ 513752 h 6857998"/>
              <a:gd name="connsiteX48" fmla="*/ 1632356 w 12191998"/>
              <a:gd name="connsiteY48" fmla="*/ 513752 h 6857998"/>
              <a:gd name="connsiteX49" fmla="*/ 1576396 w 12191998"/>
              <a:gd name="connsiteY49" fmla="*/ 356676 h 6857998"/>
              <a:gd name="connsiteX50" fmla="*/ 1236424 w 12191998"/>
              <a:gd name="connsiteY50" fmla="*/ 356676 h 6857998"/>
              <a:gd name="connsiteX51" fmla="*/ 1187702 w 12191998"/>
              <a:gd name="connsiteY51" fmla="*/ 404426 h 6857998"/>
              <a:gd name="connsiteX52" fmla="*/ 1236424 w 12191998"/>
              <a:gd name="connsiteY52" fmla="*/ 450231 h 6857998"/>
              <a:gd name="connsiteX53" fmla="*/ 1273587 w 12191998"/>
              <a:gd name="connsiteY53" fmla="*/ 450231 h 6857998"/>
              <a:gd name="connsiteX54" fmla="*/ 1287739 w 12191998"/>
              <a:gd name="connsiteY54" fmla="*/ 464815 h 6857998"/>
              <a:gd name="connsiteX55" fmla="*/ 1273587 w 12191998"/>
              <a:gd name="connsiteY55" fmla="*/ 479399 h 6857998"/>
              <a:gd name="connsiteX56" fmla="*/ 1194076 w 12191998"/>
              <a:gd name="connsiteY56" fmla="*/ 479399 h 6857998"/>
              <a:gd name="connsiteX57" fmla="*/ 1194076 w 12191998"/>
              <a:gd name="connsiteY57" fmla="*/ 513752 h 6857998"/>
              <a:gd name="connsiteX58" fmla="*/ 1272290 w 12191998"/>
              <a:gd name="connsiteY58" fmla="*/ 513752 h 6857998"/>
              <a:gd name="connsiteX59" fmla="*/ 1321660 w 12191998"/>
              <a:gd name="connsiteY59" fmla="*/ 464815 h 6857998"/>
              <a:gd name="connsiteX60" fmla="*/ 1279204 w 12191998"/>
              <a:gd name="connsiteY60" fmla="*/ 419010 h 6857998"/>
              <a:gd name="connsiteX61" fmla="*/ 1236424 w 12191998"/>
              <a:gd name="connsiteY61" fmla="*/ 419010 h 6857998"/>
              <a:gd name="connsiteX62" fmla="*/ 1221624 w 12191998"/>
              <a:gd name="connsiteY62" fmla="*/ 404426 h 6857998"/>
              <a:gd name="connsiteX63" fmla="*/ 1236424 w 12191998"/>
              <a:gd name="connsiteY63" fmla="*/ 389842 h 6857998"/>
              <a:gd name="connsiteX64" fmla="*/ 1310641 w 12191998"/>
              <a:gd name="connsiteY64" fmla="*/ 389842 h 6857998"/>
              <a:gd name="connsiteX65" fmla="*/ 1310641 w 12191998"/>
              <a:gd name="connsiteY65" fmla="*/ 356676 h 6857998"/>
              <a:gd name="connsiteX66" fmla="*/ 726522 w 12191998"/>
              <a:gd name="connsiteY66" fmla="*/ 356568 h 6857998"/>
              <a:gd name="connsiteX67" fmla="*/ 726522 w 12191998"/>
              <a:gd name="connsiteY67" fmla="*/ 513752 h 6857998"/>
              <a:gd name="connsiteX68" fmla="*/ 762712 w 12191998"/>
              <a:gd name="connsiteY68" fmla="*/ 513752 h 6857998"/>
              <a:gd name="connsiteX69" fmla="*/ 762712 w 12191998"/>
              <a:gd name="connsiteY69" fmla="*/ 447422 h 6857998"/>
              <a:gd name="connsiteX70" fmla="*/ 814351 w 12191998"/>
              <a:gd name="connsiteY70" fmla="*/ 513752 h 6857998"/>
              <a:gd name="connsiteX71" fmla="*/ 856699 w 12191998"/>
              <a:gd name="connsiteY71" fmla="*/ 513752 h 6857998"/>
              <a:gd name="connsiteX72" fmla="*/ 797174 w 12191998"/>
              <a:gd name="connsiteY72" fmla="*/ 435214 h 6857998"/>
              <a:gd name="connsiteX73" fmla="*/ 856699 w 12191998"/>
              <a:gd name="connsiteY73" fmla="*/ 356568 h 6857998"/>
              <a:gd name="connsiteX74" fmla="*/ 814351 w 12191998"/>
              <a:gd name="connsiteY74" fmla="*/ 356568 h 6857998"/>
              <a:gd name="connsiteX75" fmla="*/ 762712 w 12191998"/>
              <a:gd name="connsiteY75" fmla="*/ 422899 h 6857998"/>
              <a:gd name="connsiteX76" fmla="*/ 762712 w 12191998"/>
              <a:gd name="connsiteY76" fmla="*/ 356568 h 6857998"/>
              <a:gd name="connsiteX77" fmla="*/ 1343374 w 12191998"/>
              <a:gd name="connsiteY77" fmla="*/ 356568 h 6857998"/>
              <a:gd name="connsiteX78" fmla="*/ 1343374 w 12191998"/>
              <a:gd name="connsiteY78" fmla="*/ 513752 h 6857998"/>
              <a:gd name="connsiteX79" fmla="*/ 1379673 w 12191998"/>
              <a:gd name="connsiteY79" fmla="*/ 513752 h 6857998"/>
              <a:gd name="connsiteX80" fmla="*/ 1379673 w 12191998"/>
              <a:gd name="connsiteY80" fmla="*/ 447422 h 6857998"/>
              <a:gd name="connsiteX81" fmla="*/ 1431311 w 12191998"/>
              <a:gd name="connsiteY81" fmla="*/ 513752 h 6857998"/>
              <a:gd name="connsiteX82" fmla="*/ 1473551 w 12191998"/>
              <a:gd name="connsiteY82" fmla="*/ 513752 h 6857998"/>
              <a:gd name="connsiteX83" fmla="*/ 1414134 w 12191998"/>
              <a:gd name="connsiteY83" fmla="*/ 435214 h 6857998"/>
              <a:gd name="connsiteX84" fmla="*/ 1473551 w 12191998"/>
              <a:gd name="connsiteY84" fmla="*/ 356568 h 6857998"/>
              <a:gd name="connsiteX85" fmla="*/ 1431311 w 12191998"/>
              <a:gd name="connsiteY85" fmla="*/ 356568 h 6857998"/>
              <a:gd name="connsiteX86" fmla="*/ 1379673 w 12191998"/>
              <a:gd name="connsiteY86" fmla="*/ 422899 h 6857998"/>
              <a:gd name="connsiteX87" fmla="*/ 1379673 w 12191998"/>
              <a:gd name="connsiteY87" fmla="*/ 356568 h 6857998"/>
              <a:gd name="connsiteX88" fmla="*/ 0 w 12191998"/>
              <a:gd name="connsiteY88" fmla="*/ 0 h 6857998"/>
              <a:gd name="connsiteX89" fmla="*/ 12191998 w 12191998"/>
              <a:gd name="connsiteY89" fmla="*/ 0 h 6857998"/>
              <a:gd name="connsiteX90" fmla="*/ 12191998 w 12191998"/>
              <a:gd name="connsiteY90" fmla="*/ 6857998 h 6857998"/>
              <a:gd name="connsiteX91" fmla="*/ 0 w 12191998"/>
              <a:gd name="connsiteY91" fmla="*/ 685799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2191998" h="6857998">
                <a:moveTo>
                  <a:pt x="936965" y="389410"/>
                </a:moveTo>
                <a:lnTo>
                  <a:pt x="957275" y="449691"/>
                </a:lnTo>
                <a:lnTo>
                  <a:pt x="917304" y="449691"/>
                </a:lnTo>
                <a:close/>
                <a:moveTo>
                  <a:pt x="1553818" y="389410"/>
                </a:moveTo>
                <a:lnTo>
                  <a:pt x="1574127" y="449690"/>
                </a:lnTo>
                <a:lnTo>
                  <a:pt x="1534156" y="449690"/>
                </a:lnTo>
                <a:close/>
                <a:moveTo>
                  <a:pt x="1029007" y="356677"/>
                </a:moveTo>
                <a:lnTo>
                  <a:pt x="1029007" y="513753"/>
                </a:lnTo>
                <a:lnTo>
                  <a:pt x="1065413" y="513753"/>
                </a:lnTo>
                <a:lnTo>
                  <a:pt x="1065413" y="416850"/>
                </a:lnTo>
                <a:lnTo>
                  <a:pt x="1127963" y="513429"/>
                </a:lnTo>
                <a:lnTo>
                  <a:pt x="1127963" y="513753"/>
                </a:lnTo>
                <a:lnTo>
                  <a:pt x="1165665" y="513753"/>
                </a:lnTo>
                <a:lnTo>
                  <a:pt x="1165557" y="479831"/>
                </a:lnTo>
                <a:lnTo>
                  <a:pt x="1165341" y="356677"/>
                </a:lnTo>
                <a:lnTo>
                  <a:pt x="1129151" y="356677"/>
                </a:lnTo>
                <a:lnTo>
                  <a:pt x="1129151" y="455416"/>
                </a:lnTo>
                <a:lnTo>
                  <a:pt x="1066062" y="356677"/>
                </a:lnTo>
                <a:close/>
                <a:moveTo>
                  <a:pt x="913306" y="356677"/>
                </a:moveTo>
                <a:lnTo>
                  <a:pt x="858967" y="513753"/>
                </a:lnTo>
                <a:lnTo>
                  <a:pt x="897318" y="513753"/>
                </a:lnTo>
                <a:lnTo>
                  <a:pt x="907257" y="481668"/>
                </a:lnTo>
                <a:lnTo>
                  <a:pt x="967430" y="481668"/>
                </a:lnTo>
                <a:lnTo>
                  <a:pt x="977693" y="513753"/>
                </a:lnTo>
                <a:lnTo>
                  <a:pt x="1015503" y="513753"/>
                </a:lnTo>
                <a:lnTo>
                  <a:pt x="959543" y="356677"/>
                </a:lnTo>
                <a:close/>
                <a:moveTo>
                  <a:pt x="620219" y="356677"/>
                </a:moveTo>
                <a:cubicBezTo>
                  <a:pt x="589863" y="356677"/>
                  <a:pt x="571498" y="374393"/>
                  <a:pt x="571498" y="404426"/>
                </a:cubicBezTo>
                <a:cubicBezTo>
                  <a:pt x="571498" y="434458"/>
                  <a:pt x="592780" y="450231"/>
                  <a:pt x="620219" y="450231"/>
                </a:cubicBezTo>
                <a:lnTo>
                  <a:pt x="657382" y="450231"/>
                </a:lnTo>
                <a:cubicBezTo>
                  <a:pt x="666780" y="450231"/>
                  <a:pt x="671534" y="457361"/>
                  <a:pt x="671534" y="464815"/>
                </a:cubicBezTo>
                <a:cubicBezTo>
                  <a:pt x="671534" y="472485"/>
                  <a:pt x="666780" y="479399"/>
                  <a:pt x="657382" y="479399"/>
                </a:cubicBezTo>
                <a:lnTo>
                  <a:pt x="577764" y="479399"/>
                </a:lnTo>
                <a:lnTo>
                  <a:pt x="577764" y="513753"/>
                </a:lnTo>
                <a:lnTo>
                  <a:pt x="655977" y="513753"/>
                </a:lnTo>
                <a:cubicBezTo>
                  <a:pt x="686982" y="513753"/>
                  <a:pt x="705347" y="496684"/>
                  <a:pt x="705347" y="464815"/>
                </a:cubicBezTo>
                <a:cubicBezTo>
                  <a:pt x="705347" y="436079"/>
                  <a:pt x="686982" y="419010"/>
                  <a:pt x="662999" y="419010"/>
                </a:cubicBezTo>
                <a:lnTo>
                  <a:pt x="620219" y="419010"/>
                </a:lnTo>
                <a:cubicBezTo>
                  <a:pt x="610173" y="419010"/>
                  <a:pt x="605419" y="412096"/>
                  <a:pt x="605419" y="404426"/>
                </a:cubicBezTo>
                <a:cubicBezTo>
                  <a:pt x="605419" y="396756"/>
                  <a:pt x="610173" y="389842"/>
                  <a:pt x="620219" y="389842"/>
                </a:cubicBezTo>
                <a:lnTo>
                  <a:pt x="694436" y="389842"/>
                </a:lnTo>
                <a:lnTo>
                  <a:pt x="694436" y="356677"/>
                </a:lnTo>
                <a:close/>
                <a:moveTo>
                  <a:pt x="1530159" y="356676"/>
                </a:moveTo>
                <a:lnTo>
                  <a:pt x="1475928" y="513752"/>
                </a:lnTo>
                <a:lnTo>
                  <a:pt x="1514278" y="513752"/>
                </a:lnTo>
                <a:lnTo>
                  <a:pt x="1524217" y="481668"/>
                </a:lnTo>
                <a:lnTo>
                  <a:pt x="1584390" y="481668"/>
                </a:lnTo>
                <a:lnTo>
                  <a:pt x="1594653" y="513752"/>
                </a:lnTo>
                <a:lnTo>
                  <a:pt x="1632356" y="513752"/>
                </a:lnTo>
                <a:lnTo>
                  <a:pt x="1576396" y="356676"/>
                </a:lnTo>
                <a:close/>
                <a:moveTo>
                  <a:pt x="1236424" y="356676"/>
                </a:moveTo>
                <a:cubicBezTo>
                  <a:pt x="1206176" y="356676"/>
                  <a:pt x="1187702" y="374393"/>
                  <a:pt x="1187702" y="404426"/>
                </a:cubicBezTo>
                <a:cubicBezTo>
                  <a:pt x="1187702" y="434458"/>
                  <a:pt x="1208984" y="450231"/>
                  <a:pt x="1236424" y="450231"/>
                </a:cubicBezTo>
                <a:lnTo>
                  <a:pt x="1273587" y="450231"/>
                </a:lnTo>
                <a:cubicBezTo>
                  <a:pt x="1282985" y="450231"/>
                  <a:pt x="1287739" y="457360"/>
                  <a:pt x="1287739" y="464815"/>
                </a:cubicBezTo>
                <a:cubicBezTo>
                  <a:pt x="1287739" y="472485"/>
                  <a:pt x="1282985" y="479399"/>
                  <a:pt x="1273587" y="479399"/>
                </a:cubicBezTo>
                <a:lnTo>
                  <a:pt x="1194076" y="479399"/>
                </a:lnTo>
                <a:lnTo>
                  <a:pt x="1194076" y="513752"/>
                </a:lnTo>
                <a:lnTo>
                  <a:pt x="1272290" y="513752"/>
                </a:lnTo>
                <a:cubicBezTo>
                  <a:pt x="1303295" y="513752"/>
                  <a:pt x="1321660" y="496684"/>
                  <a:pt x="1321660" y="464815"/>
                </a:cubicBezTo>
                <a:cubicBezTo>
                  <a:pt x="1321660" y="436079"/>
                  <a:pt x="1303187" y="419010"/>
                  <a:pt x="1279204" y="419010"/>
                </a:cubicBezTo>
                <a:lnTo>
                  <a:pt x="1236424" y="419010"/>
                </a:lnTo>
                <a:cubicBezTo>
                  <a:pt x="1226377" y="419010"/>
                  <a:pt x="1221624" y="412096"/>
                  <a:pt x="1221624" y="404426"/>
                </a:cubicBezTo>
                <a:cubicBezTo>
                  <a:pt x="1221624" y="396756"/>
                  <a:pt x="1226377" y="389842"/>
                  <a:pt x="1236424" y="389842"/>
                </a:cubicBezTo>
                <a:lnTo>
                  <a:pt x="1310641" y="389842"/>
                </a:lnTo>
                <a:lnTo>
                  <a:pt x="1310641" y="356676"/>
                </a:lnTo>
                <a:close/>
                <a:moveTo>
                  <a:pt x="726522" y="356568"/>
                </a:moveTo>
                <a:lnTo>
                  <a:pt x="726522" y="513752"/>
                </a:lnTo>
                <a:lnTo>
                  <a:pt x="762712" y="513752"/>
                </a:lnTo>
                <a:lnTo>
                  <a:pt x="762712" y="447422"/>
                </a:lnTo>
                <a:lnTo>
                  <a:pt x="814351" y="513752"/>
                </a:lnTo>
                <a:lnTo>
                  <a:pt x="856699" y="513752"/>
                </a:lnTo>
                <a:lnTo>
                  <a:pt x="797174" y="435214"/>
                </a:lnTo>
                <a:lnTo>
                  <a:pt x="856699" y="356568"/>
                </a:lnTo>
                <a:lnTo>
                  <a:pt x="814351" y="356568"/>
                </a:lnTo>
                <a:lnTo>
                  <a:pt x="762712" y="422899"/>
                </a:lnTo>
                <a:lnTo>
                  <a:pt x="762712" y="356568"/>
                </a:lnTo>
                <a:close/>
                <a:moveTo>
                  <a:pt x="1343374" y="356568"/>
                </a:moveTo>
                <a:lnTo>
                  <a:pt x="1343374" y="513752"/>
                </a:lnTo>
                <a:lnTo>
                  <a:pt x="1379673" y="513752"/>
                </a:lnTo>
                <a:lnTo>
                  <a:pt x="1379673" y="447422"/>
                </a:lnTo>
                <a:lnTo>
                  <a:pt x="1431311" y="513752"/>
                </a:lnTo>
                <a:lnTo>
                  <a:pt x="1473551" y="513752"/>
                </a:lnTo>
                <a:lnTo>
                  <a:pt x="1414134" y="435214"/>
                </a:lnTo>
                <a:lnTo>
                  <a:pt x="1473551" y="356568"/>
                </a:lnTo>
                <a:lnTo>
                  <a:pt x="1431311" y="356568"/>
                </a:lnTo>
                <a:lnTo>
                  <a:pt x="1379673" y="422899"/>
                </a:lnTo>
                <a:lnTo>
                  <a:pt x="1379673" y="356568"/>
                </a:lnTo>
                <a:close/>
                <a:moveTo>
                  <a:pt x="0" y="0"/>
                </a:moveTo>
                <a:lnTo>
                  <a:pt x="12191998" y="0"/>
                </a:lnTo>
                <a:lnTo>
                  <a:pt x="12191998" y="6857998"/>
                </a:lnTo>
                <a:lnTo>
                  <a:pt x="0" y="6857998"/>
                </a:lnTo>
                <a:close/>
              </a:path>
            </a:pathLst>
          </a:custGeom>
          <a:solidFill>
            <a:srgbClr val="ECECEC"/>
          </a:solidFill>
        </p:spPr>
        <p:txBody>
          <a:bodyPr wrap="square" lIns="36000" tIns="36000" rIns="36000" bIns="36000">
            <a:noAutofit/>
          </a:bodyPr>
          <a:lstStyle>
            <a:lvl1pPr marL="0" indent="0" algn="ctr">
              <a:buNone/>
              <a:defRPr sz="1300">
                <a:solidFill>
                  <a:schemeClr val="tx2"/>
                </a:solidFill>
              </a:defRPr>
            </a:lvl1pPr>
          </a:lstStyle>
          <a:p>
            <a:r>
              <a:rPr lang="en-US" noProof="0"/>
              <a:t>If the image placeholder icon is underneath the text box, select the gray placeholder box and then go to insert in the top menu and add picture. Do NOT move the textbox!</a:t>
            </a:r>
          </a:p>
          <a:p>
            <a:endParaRPr lang="en-US" noProof="0"/>
          </a:p>
        </p:txBody>
      </p:sp>
      <p:sp>
        <p:nvSpPr>
          <p:cNvPr id="14" name="Text Placeholder 18">
            <a:extLst>
              <a:ext uri="{FF2B5EF4-FFF2-40B4-BE49-F238E27FC236}">
                <a16:creationId xmlns:a16="http://schemas.microsoft.com/office/drawing/2014/main" id="{CB22D302-BA64-604C-A387-9C7AFEFF2E74}"/>
              </a:ext>
            </a:extLst>
          </p:cNvPr>
          <p:cNvSpPr>
            <a:spLocks noGrp="1"/>
          </p:cNvSpPr>
          <p:nvPr>
            <p:ph type="body" sz="quarter" idx="14" hasCustomPrompt="1"/>
          </p:nvPr>
        </p:nvSpPr>
        <p:spPr>
          <a:xfrm>
            <a:off x="576000" y="1845591"/>
            <a:ext cx="5665788" cy="1903912"/>
          </a:xfrm>
          <a:prstGeom prst="rect">
            <a:avLst/>
          </a:prstGeom>
        </p:spPr>
        <p:txBody>
          <a:bodyPr anchor="b">
            <a:noAutofit/>
          </a:bodyPr>
          <a:lstStyle>
            <a:lvl1pPr marL="0" indent="0">
              <a:lnSpc>
                <a:spcPct val="85000"/>
              </a:lnSpc>
              <a:spcBef>
                <a:spcPts val="0"/>
              </a:spcBef>
              <a:buNone/>
              <a:defRPr sz="4200" spc="40" baseline="0">
                <a:solidFill>
                  <a:schemeClr val="bg1"/>
                </a:solidFill>
                <a:latin typeface="+mj-lt"/>
              </a:defRPr>
            </a:lvl1pPr>
          </a:lstStyle>
          <a:p>
            <a:pPr lvl="0"/>
            <a:r>
              <a:rPr lang="en-US" noProof="0"/>
              <a:t>Click to add a headline </a:t>
            </a:r>
            <a:br>
              <a:rPr lang="en-US" noProof="0"/>
            </a:br>
            <a:r>
              <a:rPr lang="en-US" noProof="0"/>
              <a:t>of maximum two lines</a:t>
            </a:r>
          </a:p>
        </p:txBody>
      </p:sp>
      <p:sp>
        <p:nvSpPr>
          <p:cNvPr id="15" name="Text Placeholder 18">
            <a:extLst>
              <a:ext uri="{FF2B5EF4-FFF2-40B4-BE49-F238E27FC236}">
                <a16:creationId xmlns:a16="http://schemas.microsoft.com/office/drawing/2014/main" id="{4ADADDBC-B851-244D-89BA-2589CA8A6CD4}"/>
              </a:ext>
            </a:extLst>
          </p:cNvPr>
          <p:cNvSpPr>
            <a:spLocks noGrp="1"/>
          </p:cNvSpPr>
          <p:nvPr>
            <p:ph type="body" sz="quarter" idx="15" hasCustomPrompt="1"/>
          </p:nvPr>
        </p:nvSpPr>
        <p:spPr>
          <a:xfrm>
            <a:off x="576000" y="3915585"/>
            <a:ext cx="3773171" cy="646331"/>
          </a:xfrm>
          <a:prstGeom prst="rect">
            <a:avLst/>
          </a:prstGeom>
        </p:spPr>
        <p:txBody>
          <a:bodyPr anchor="t">
            <a:noAutofit/>
          </a:bodyPr>
          <a:lstStyle>
            <a:lvl1pPr marL="0" indent="0">
              <a:lnSpc>
                <a:spcPct val="100000"/>
              </a:lnSpc>
              <a:spcBef>
                <a:spcPts val="0"/>
              </a:spcBef>
              <a:buNone/>
              <a:defRPr sz="1400" spc="70" baseline="0">
                <a:solidFill>
                  <a:schemeClr val="bg1"/>
                </a:solidFill>
              </a:defRPr>
            </a:lvl1pPr>
          </a:lstStyle>
          <a:p>
            <a:pPr lvl="0"/>
            <a:r>
              <a:rPr lang="en-US" noProof="0"/>
              <a:t>Click to add name </a:t>
            </a:r>
            <a:br>
              <a:rPr lang="en-US" noProof="0"/>
            </a:br>
            <a:r>
              <a:rPr lang="en-US" noProof="0"/>
              <a:t>Title, Business Unit</a:t>
            </a:r>
          </a:p>
          <a:p>
            <a:pPr lvl="0"/>
            <a:r>
              <a:rPr lang="en-US" noProof="0"/>
              <a:t>And Date</a:t>
            </a:r>
          </a:p>
        </p:txBody>
      </p:sp>
      <p:sp>
        <p:nvSpPr>
          <p:cNvPr id="8" name="textruta 5">
            <a:extLst>
              <a:ext uri="{FF2B5EF4-FFF2-40B4-BE49-F238E27FC236}">
                <a16:creationId xmlns:a16="http://schemas.microsoft.com/office/drawing/2014/main" id="{51D675F3-1889-4447-B0F4-FBE407433188}"/>
              </a:ext>
            </a:extLst>
          </p:cNvPr>
          <p:cNvSpPr txBox="1"/>
          <p:nvPr userDrawn="1"/>
        </p:nvSpPr>
        <p:spPr>
          <a:xfrm>
            <a:off x="12395260" y="1453483"/>
            <a:ext cx="1681523" cy="646331"/>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the textboxes disappears after adding or changing an imag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right click the image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and use – </a:t>
            </a:r>
            <a:r>
              <a:rPr lang="en-US" sz="900" b="1" noProof="0">
                <a:solidFill>
                  <a:schemeClr val="tx1">
                    <a:lumMod val="65000"/>
                    <a:lumOff val="35000"/>
                  </a:schemeClr>
                </a:solidFill>
                <a:latin typeface="Arial" panose="020B0604020202020204" pitchFamily="34" charset="0"/>
                <a:cs typeface="Arial" panose="020B0604020202020204" pitchFamily="34" charset="0"/>
              </a:rPr>
              <a:t>S</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end to back</a:t>
            </a:r>
          </a:p>
        </p:txBody>
      </p:sp>
      <p:sp>
        <p:nvSpPr>
          <p:cNvPr id="9" name="textruta 8">
            <a:extLst>
              <a:ext uri="{FF2B5EF4-FFF2-40B4-BE49-F238E27FC236}">
                <a16:creationId xmlns:a16="http://schemas.microsoft.com/office/drawing/2014/main" id="{018DEEF0-DD94-5249-9246-FD6718231BD2}"/>
              </a:ext>
            </a:extLst>
          </p:cNvPr>
          <p:cNvSpPr txBox="1"/>
          <p:nvPr userDrawn="1"/>
        </p:nvSpPr>
        <p:spPr>
          <a:xfrm>
            <a:off x="12395260" y="-12189"/>
            <a:ext cx="1681523" cy="1338828"/>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you need to change the color of the logo, right click outside work area,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Format Background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from context menu and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Solid fill</a:t>
            </a:r>
            <a:r>
              <a:rPr lang="en-US" sz="900" baseline="0" noProof="0">
                <a:solidFill>
                  <a:schemeClr val="tx1">
                    <a:lumMod val="65000"/>
                    <a:lumOff val="35000"/>
                  </a:schemeClr>
                </a:solidFill>
                <a:latin typeface="Arial" panose="020B0604020202020204" pitchFamily="34" charset="0"/>
                <a:cs typeface="Arial" panose="020B0604020202020204" pitchFamily="34" charset="0"/>
              </a:rPr>
              <a:t> –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White or Blue</a:t>
            </a: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p:txBody>
      </p:sp>
      <p:sp>
        <p:nvSpPr>
          <p:cNvPr id="10" name="Rektangel 9">
            <a:extLst>
              <a:ext uri="{FF2B5EF4-FFF2-40B4-BE49-F238E27FC236}">
                <a16:creationId xmlns:a16="http://schemas.microsoft.com/office/drawing/2014/main" id="{0C1C4400-D3B5-244D-A4E9-12F13E258CD7}"/>
              </a:ext>
            </a:extLst>
          </p:cNvPr>
          <p:cNvSpPr/>
          <p:nvPr userDrawn="1"/>
        </p:nvSpPr>
        <p:spPr>
          <a:xfrm>
            <a:off x="13255337" y="926211"/>
            <a:ext cx="341194" cy="305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 name="Rektangel 10">
            <a:extLst>
              <a:ext uri="{FF2B5EF4-FFF2-40B4-BE49-F238E27FC236}">
                <a16:creationId xmlns:a16="http://schemas.microsoft.com/office/drawing/2014/main" id="{862FDDFE-BBE6-8844-9178-35DB0AD8FE9D}"/>
              </a:ext>
            </a:extLst>
          </p:cNvPr>
          <p:cNvSpPr/>
          <p:nvPr userDrawn="1"/>
        </p:nvSpPr>
        <p:spPr>
          <a:xfrm>
            <a:off x="12833410" y="926211"/>
            <a:ext cx="341194" cy="30590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Platshållare för datum 3">
            <a:extLst>
              <a:ext uri="{FF2B5EF4-FFF2-40B4-BE49-F238E27FC236}">
                <a16:creationId xmlns:a16="http://schemas.microsoft.com/office/drawing/2014/main" id="{195EB315-6F9E-484B-A621-D47DB0C06E40}"/>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bg1"/>
                </a:solidFill>
              </a:defRPr>
            </a:lvl1pPr>
          </a:lstStyle>
          <a:p>
            <a:fld id="{2F9806AD-009B-8D45-82A9-B9E8234B6322}" type="datetime1">
              <a:rPr lang="en-US" smtClean="0"/>
              <a:pPr/>
              <a:t>10/17/2023</a:t>
            </a:fld>
            <a:endParaRPr lang="en-US"/>
          </a:p>
        </p:txBody>
      </p:sp>
      <p:sp>
        <p:nvSpPr>
          <p:cNvPr id="13" name="Platshållare för sidfot 4">
            <a:extLst>
              <a:ext uri="{FF2B5EF4-FFF2-40B4-BE49-F238E27FC236}">
                <a16:creationId xmlns:a16="http://schemas.microsoft.com/office/drawing/2014/main" id="{4A76CA1A-DCA3-D54D-9099-F20574E0CA54}"/>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bg1"/>
                </a:solidFill>
              </a:defRPr>
            </a:lvl1pPr>
          </a:lstStyle>
          <a:p>
            <a:r>
              <a:rPr lang="en-US"/>
              <a:t>Go to header/footer to change text </a:t>
            </a:r>
          </a:p>
        </p:txBody>
      </p:sp>
      <p:sp>
        <p:nvSpPr>
          <p:cNvPr id="17" name="Platshållare för bildnummer 5">
            <a:extLst>
              <a:ext uri="{FF2B5EF4-FFF2-40B4-BE49-F238E27FC236}">
                <a16:creationId xmlns:a16="http://schemas.microsoft.com/office/drawing/2014/main" id="{0EF7CEB3-535F-8445-A05D-266E083AD066}"/>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bg1"/>
                </a:solidFill>
              </a:defRPr>
            </a:lvl1pPr>
          </a:lstStyle>
          <a:p>
            <a:fld id="{EF8DBD5B-30F9-4F9C-AE39-E065C1AC514D}" type="slidenum">
              <a:rPr lang="en-US" smtClean="0"/>
              <a:pPr/>
              <a:t>‹#›</a:t>
            </a:fld>
            <a:endParaRPr lang="en-US"/>
          </a:p>
        </p:txBody>
      </p:sp>
      <p:sp>
        <p:nvSpPr>
          <p:cNvPr id="19" name="Text Placeholder 4">
            <a:extLst>
              <a:ext uri="{FF2B5EF4-FFF2-40B4-BE49-F238E27FC236}">
                <a16:creationId xmlns:a16="http://schemas.microsoft.com/office/drawing/2014/main" id="{781C0485-B54D-504A-8E1C-DA7CC3C0FF1B}"/>
              </a:ext>
            </a:extLst>
          </p:cNvPr>
          <p:cNvSpPr>
            <a:spLocks noGrp="1"/>
          </p:cNvSpPr>
          <p:nvPr>
            <p:ph type="body" sz="quarter" idx="16" hasCustomPrompt="1"/>
          </p:nvPr>
        </p:nvSpPr>
        <p:spPr>
          <a:xfrm rot="5400000">
            <a:off x="10901730" y="803644"/>
            <a:ext cx="2093913" cy="486626"/>
          </a:xfrm>
        </p:spPr>
        <p:txBody>
          <a:bodyPr lIns="180000" tIns="180000" rIns="0" bIns="180000" anchor="ctr">
            <a:spAutoFit/>
          </a:bodyPr>
          <a:lstStyle>
            <a:lvl1pPr marL="6350" indent="0" algn="l">
              <a:buNone/>
              <a:defRPr sz="800">
                <a:solidFill>
                  <a:schemeClr val="bg1"/>
                </a:solidFill>
              </a:defRPr>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Tree>
    <p:extLst>
      <p:ext uri="{BB962C8B-B14F-4D97-AF65-F5344CB8AC3E}">
        <p14:creationId xmlns:p14="http://schemas.microsoft.com/office/powerpoint/2010/main" val="408678048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5 Four Images Text">
    <p:bg>
      <p:bgPr>
        <a:solidFill>
          <a:schemeClr val="bg1"/>
        </a:solidFill>
        <a:effectLst/>
      </p:bgPr>
    </p:bg>
    <p:spTree>
      <p:nvGrpSpPr>
        <p:cNvPr id="1" name=""/>
        <p:cNvGrpSpPr/>
        <p:nvPr/>
      </p:nvGrpSpPr>
      <p:grpSpPr>
        <a:xfrm>
          <a:off x="0" y="0"/>
          <a:ext cx="0" cy="0"/>
          <a:chOff x="0" y="0"/>
          <a:chExt cx="0" cy="0"/>
        </a:xfrm>
      </p:grpSpPr>
      <p:sp>
        <p:nvSpPr>
          <p:cNvPr id="33" name="Picture Placeholder 17">
            <a:extLst>
              <a:ext uri="{FF2B5EF4-FFF2-40B4-BE49-F238E27FC236}">
                <a16:creationId xmlns:a16="http://schemas.microsoft.com/office/drawing/2014/main" id="{91BA1C63-2CDA-0D4F-B07B-0D835EE08330}"/>
              </a:ext>
            </a:extLst>
          </p:cNvPr>
          <p:cNvSpPr>
            <a:spLocks noGrp="1"/>
          </p:cNvSpPr>
          <p:nvPr>
            <p:ph type="pic" sz="quarter" idx="18" hasCustomPrompt="1"/>
          </p:nvPr>
        </p:nvSpPr>
        <p:spPr>
          <a:xfrm>
            <a:off x="6096557" y="3429002"/>
            <a:ext cx="6095997" cy="3428998"/>
          </a:xfrm>
          <a:custGeom>
            <a:avLst/>
            <a:gdLst>
              <a:gd name="connsiteX0" fmla="*/ 0 w 6095997"/>
              <a:gd name="connsiteY0" fmla="*/ 0 h 3428998"/>
              <a:gd name="connsiteX1" fmla="*/ 6095997 w 6095997"/>
              <a:gd name="connsiteY1" fmla="*/ 0 h 3428998"/>
              <a:gd name="connsiteX2" fmla="*/ 6095997 w 6095997"/>
              <a:gd name="connsiteY2" fmla="*/ 3428998 h 3428998"/>
              <a:gd name="connsiteX3" fmla="*/ 0 w 6095997"/>
              <a:gd name="connsiteY3" fmla="*/ 3428998 h 3428998"/>
            </a:gdLst>
            <a:ahLst/>
            <a:cxnLst>
              <a:cxn ang="0">
                <a:pos x="connsiteX0" y="connsiteY0"/>
              </a:cxn>
              <a:cxn ang="0">
                <a:pos x="connsiteX1" y="connsiteY1"/>
              </a:cxn>
              <a:cxn ang="0">
                <a:pos x="connsiteX2" y="connsiteY2"/>
              </a:cxn>
              <a:cxn ang="0">
                <a:pos x="connsiteX3" y="connsiteY3"/>
              </a:cxn>
            </a:cxnLst>
            <a:rect l="l" t="t" r="r" b="b"/>
            <a:pathLst>
              <a:path w="6095997" h="3428998">
                <a:moveTo>
                  <a:pt x="0" y="0"/>
                </a:moveTo>
                <a:lnTo>
                  <a:pt x="6095997" y="0"/>
                </a:lnTo>
                <a:lnTo>
                  <a:pt x="6095997" y="3428998"/>
                </a:lnTo>
                <a:lnTo>
                  <a:pt x="0" y="3428998"/>
                </a:lnTo>
                <a:close/>
              </a:path>
            </a:pathLst>
          </a:custGeom>
          <a:solidFill>
            <a:srgbClr val="ECECEC"/>
          </a:solidFill>
        </p:spPr>
        <p:txBody>
          <a:bodyPr wrap="square" lIns="36000" tIns="36000" rIns="36000" bIns="36000" anchor="t">
            <a:noAutofit/>
          </a:bodyPr>
          <a:lstStyle>
            <a:lvl1pPr marL="0" indent="0" algn="ctr">
              <a:buNone/>
              <a:defRPr sz="1300">
                <a:solidFill>
                  <a:schemeClr val="tx2"/>
                </a:solidFill>
              </a:defRPr>
            </a:lvl1pPr>
          </a:lstStyle>
          <a:p>
            <a:r>
              <a:rPr lang="en-US" noProof="0"/>
              <a:t>If the image placeholder icon is underneath the text box, select the gray placeholder box and then go to insert in the top menu and add picture. Do NOT move the textbox!</a:t>
            </a:r>
          </a:p>
          <a:p>
            <a:endParaRPr lang="en-US" noProof="0"/>
          </a:p>
        </p:txBody>
      </p:sp>
      <p:sp>
        <p:nvSpPr>
          <p:cNvPr id="32" name="Picture Placeholder 31">
            <a:extLst>
              <a:ext uri="{FF2B5EF4-FFF2-40B4-BE49-F238E27FC236}">
                <a16:creationId xmlns:a16="http://schemas.microsoft.com/office/drawing/2014/main" id="{511CEB27-B422-504F-B7BF-31E339BFB94A}"/>
              </a:ext>
            </a:extLst>
          </p:cNvPr>
          <p:cNvSpPr>
            <a:spLocks noGrp="1"/>
          </p:cNvSpPr>
          <p:nvPr>
            <p:ph type="pic" sz="quarter" idx="25" hasCustomPrompt="1"/>
          </p:nvPr>
        </p:nvSpPr>
        <p:spPr>
          <a:xfrm>
            <a:off x="5" y="3429000"/>
            <a:ext cx="6096552" cy="3429002"/>
          </a:xfrm>
          <a:custGeom>
            <a:avLst/>
            <a:gdLst>
              <a:gd name="connsiteX0" fmla="*/ 1146049 w 6096552"/>
              <a:gd name="connsiteY0" fmla="*/ 3041539 h 3429002"/>
              <a:gd name="connsiteX1" fmla="*/ 1157832 w 6096552"/>
              <a:gd name="connsiteY1" fmla="*/ 3076512 h 3429002"/>
              <a:gd name="connsiteX2" fmla="*/ 1134642 w 6096552"/>
              <a:gd name="connsiteY2" fmla="*/ 3076512 h 3429002"/>
              <a:gd name="connsiteX3" fmla="*/ 788170 w 6096552"/>
              <a:gd name="connsiteY3" fmla="*/ 3041539 h 3429002"/>
              <a:gd name="connsiteX4" fmla="*/ 799953 w 6096552"/>
              <a:gd name="connsiteY4" fmla="*/ 3076512 h 3429002"/>
              <a:gd name="connsiteX5" fmla="*/ 776763 w 6096552"/>
              <a:gd name="connsiteY5" fmla="*/ 3076512 h 3429002"/>
              <a:gd name="connsiteX6" fmla="*/ 1132323 w 6096552"/>
              <a:gd name="connsiteY6" fmla="*/ 3022548 h 3429002"/>
              <a:gd name="connsiteX7" fmla="*/ 1100860 w 6096552"/>
              <a:gd name="connsiteY7" fmla="*/ 3113679 h 3429002"/>
              <a:gd name="connsiteX8" fmla="*/ 1123110 w 6096552"/>
              <a:gd name="connsiteY8" fmla="*/ 3113679 h 3429002"/>
              <a:gd name="connsiteX9" fmla="*/ 1128876 w 6096552"/>
              <a:gd name="connsiteY9" fmla="*/ 3095065 h 3429002"/>
              <a:gd name="connsiteX10" fmla="*/ 1163786 w 6096552"/>
              <a:gd name="connsiteY10" fmla="*/ 3095065 h 3429002"/>
              <a:gd name="connsiteX11" fmla="*/ 1169741 w 6096552"/>
              <a:gd name="connsiteY11" fmla="*/ 3113679 h 3429002"/>
              <a:gd name="connsiteX12" fmla="*/ 1191615 w 6096552"/>
              <a:gd name="connsiteY12" fmla="*/ 3113679 h 3429002"/>
              <a:gd name="connsiteX13" fmla="*/ 1159148 w 6096552"/>
              <a:gd name="connsiteY13" fmla="*/ 3022548 h 3429002"/>
              <a:gd name="connsiteX14" fmla="*/ 961907 w 6096552"/>
              <a:gd name="connsiteY14" fmla="*/ 3022548 h 3429002"/>
              <a:gd name="connsiteX15" fmla="*/ 933640 w 6096552"/>
              <a:gd name="connsiteY15" fmla="*/ 3050251 h 3429002"/>
              <a:gd name="connsiteX16" fmla="*/ 961907 w 6096552"/>
              <a:gd name="connsiteY16" fmla="*/ 3076826 h 3429002"/>
              <a:gd name="connsiteX17" fmla="*/ 983468 w 6096552"/>
              <a:gd name="connsiteY17" fmla="*/ 3076826 h 3429002"/>
              <a:gd name="connsiteX18" fmla="*/ 991678 w 6096552"/>
              <a:gd name="connsiteY18" fmla="*/ 3085287 h 3429002"/>
              <a:gd name="connsiteX19" fmla="*/ 983468 w 6096552"/>
              <a:gd name="connsiteY19" fmla="*/ 3093748 h 3429002"/>
              <a:gd name="connsiteX20" fmla="*/ 937338 w 6096552"/>
              <a:gd name="connsiteY20" fmla="*/ 3093748 h 3429002"/>
              <a:gd name="connsiteX21" fmla="*/ 937338 w 6096552"/>
              <a:gd name="connsiteY21" fmla="*/ 3113679 h 3429002"/>
              <a:gd name="connsiteX22" fmla="*/ 982716 w 6096552"/>
              <a:gd name="connsiteY22" fmla="*/ 3113679 h 3429002"/>
              <a:gd name="connsiteX23" fmla="*/ 1011358 w 6096552"/>
              <a:gd name="connsiteY23" fmla="*/ 3085287 h 3429002"/>
              <a:gd name="connsiteX24" fmla="*/ 986727 w 6096552"/>
              <a:gd name="connsiteY24" fmla="*/ 3058712 h 3429002"/>
              <a:gd name="connsiteX25" fmla="*/ 961907 w 6096552"/>
              <a:gd name="connsiteY25" fmla="*/ 3058712 h 3429002"/>
              <a:gd name="connsiteX26" fmla="*/ 953321 w 6096552"/>
              <a:gd name="connsiteY26" fmla="*/ 3050251 h 3429002"/>
              <a:gd name="connsiteX27" fmla="*/ 961907 w 6096552"/>
              <a:gd name="connsiteY27" fmla="*/ 3041790 h 3429002"/>
              <a:gd name="connsiteX28" fmla="*/ 1004965 w 6096552"/>
              <a:gd name="connsiteY28" fmla="*/ 3041790 h 3429002"/>
              <a:gd name="connsiteX29" fmla="*/ 1004965 w 6096552"/>
              <a:gd name="connsiteY29" fmla="*/ 3022548 h 3429002"/>
              <a:gd name="connsiteX30" fmla="*/ 841570 w 6096552"/>
              <a:gd name="connsiteY30" fmla="*/ 3022548 h 3429002"/>
              <a:gd name="connsiteX31" fmla="*/ 841570 w 6096552"/>
              <a:gd name="connsiteY31" fmla="*/ 3113679 h 3429002"/>
              <a:gd name="connsiteX32" fmla="*/ 862692 w 6096552"/>
              <a:gd name="connsiteY32" fmla="*/ 3113679 h 3429002"/>
              <a:gd name="connsiteX33" fmla="*/ 862692 w 6096552"/>
              <a:gd name="connsiteY33" fmla="*/ 3057459 h 3429002"/>
              <a:gd name="connsiteX34" fmla="*/ 898981 w 6096552"/>
              <a:gd name="connsiteY34" fmla="*/ 3113491 h 3429002"/>
              <a:gd name="connsiteX35" fmla="*/ 898981 w 6096552"/>
              <a:gd name="connsiteY35" fmla="*/ 3113679 h 3429002"/>
              <a:gd name="connsiteX36" fmla="*/ 920855 w 6096552"/>
              <a:gd name="connsiteY36" fmla="*/ 3113679 h 3429002"/>
              <a:gd name="connsiteX37" fmla="*/ 920793 w 6096552"/>
              <a:gd name="connsiteY37" fmla="*/ 3093999 h 3429002"/>
              <a:gd name="connsiteX38" fmla="*/ 920667 w 6096552"/>
              <a:gd name="connsiteY38" fmla="*/ 3022548 h 3429002"/>
              <a:gd name="connsiteX39" fmla="*/ 899671 w 6096552"/>
              <a:gd name="connsiteY39" fmla="*/ 3022548 h 3429002"/>
              <a:gd name="connsiteX40" fmla="*/ 899671 w 6096552"/>
              <a:gd name="connsiteY40" fmla="*/ 3079834 h 3429002"/>
              <a:gd name="connsiteX41" fmla="*/ 863068 w 6096552"/>
              <a:gd name="connsiteY41" fmla="*/ 3022548 h 3429002"/>
              <a:gd name="connsiteX42" fmla="*/ 774444 w 6096552"/>
              <a:gd name="connsiteY42" fmla="*/ 3022548 h 3429002"/>
              <a:gd name="connsiteX43" fmla="*/ 742918 w 6096552"/>
              <a:gd name="connsiteY43" fmla="*/ 3113679 h 3429002"/>
              <a:gd name="connsiteX44" fmla="*/ 765168 w 6096552"/>
              <a:gd name="connsiteY44" fmla="*/ 3113679 h 3429002"/>
              <a:gd name="connsiteX45" fmla="*/ 770934 w 6096552"/>
              <a:gd name="connsiteY45" fmla="*/ 3095065 h 3429002"/>
              <a:gd name="connsiteX46" fmla="*/ 805845 w 6096552"/>
              <a:gd name="connsiteY46" fmla="*/ 3095065 h 3429002"/>
              <a:gd name="connsiteX47" fmla="*/ 811799 w 6096552"/>
              <a:gd name="connsiteY47" fmla="*/ 3113679 h 3429002"/>
              <a:gd name="connsiteX48" fmla="*/ 833735 w 6096552"/>
              <a:gd name="connsiteY48" fmla="*/ 3113679 h 3429002"/>
              <a:gd name="connsiteX49" fmla="*/ 801269 w 6096552"/>
              <a:gd name="connsiteY49" fmla="*/ 3022548 h 3429002"/>
              <a:gd name="connsiteX50" fmla="*/ 604404 w 6096552"/>
              <a:gd name="connsiteY50" fmla="*/ 3022548 h 3429002"/>
              <a:gd name="connsiteX51" fmla="*/ 576137 w 6096552"/>
              <a:gd name="connsiteY51" fmla="*/ 3050251 h 3429002"/>
              <a:gd name="connsiteX52" fmla="*/ 604404 w 6096552"/>
              <a:gd name="connsiteY52" fmla="*/ 3076826 h 3429002"/>
              <a:gd name="connsiteX53" fmla="*/ 625964 w 6096552"/>
              <a:gd name="connsiteY53" fmla="*/ 3076826 h 3429002"/>
              <a:gd name="connsiteX54" fmla="*/ 634174 w 6096552"/>
              <a:gd name="connsiteY54" fmla="*/ 3085287 h 3429002"/>
              <a:gd name="connsiteX55" fmla="*/ 625964 w 6096552"/>
              <a:gd name="connsiteY55" fmla="*/ 3093748 h 3429002"/>
              <a:gd name="connsiteX56" fmla="*/ 579772 w 6096552"/>
              <a:gd name="connsiteY56" fmla="*/ 3093748 h 3429002"/>
              <a:gd name="connsiteX57" fmla="*/ 579772 w 6096552"/>
              <a:gd name="connsiteY57" fmla="*/ 3113679 h 3429002"/>
              <a:gd name="connsiteX58" fmla="*/ 625149 w 6096552"/>
              <a:gd name="connsiteY58" fmla="*/ 3113679 h 3429002"/>
              <a:gd name="connsiteX59" fmla="*/ 653792 w 6096552"/>
              <a:gd name="connsiteY59" fmla="*/ 3085287 h 3429002"/>
              <a:gd name="connsiteX60" fmla="*/ 629223 w 6096552"/>
              <a:gd name="connsiteY60" fmla="*/ 3058712 h 3429002"/>
              <a:gd name="connsiteX61" fmla="*/ 604404 w 6096552"/>
              <a:gd name="connsiteY61" fmla="*/ 3058712 h 3429002"/>
              <a:gd name="connsiteX62" fmla="*/ 595817 w 6096552"/>
              <a:gd name="connsiteY62" fmla="*/ 3050251 h 3429002"/>
              <a:gd name="connsiteX63" fmla="*/ 604404 w 6096552"/>
              <a:gd name="connsiteY63" fmla="*/ 3041790 h 3429002"/>
              <a:gd name="connsiteX64" fmla="*/ 647462 w 6096552"/>
              <a:gd name="connsiteY64" fmla="*/ 3041790 h 3429002"/>
              <a:gd name="connsiteX65" fmla="*/ 647462 w 6096552"/>
              <a:gd name="connsiteY65" fmla="*/ 3022548 h 3429002"/>
              <a:gd name="connsiteX66" fmla="*/ 1023956 w 6096552"/>
              <a:gd name="connsiteY66" fmla="*/ 3022485 h 3429002"/>
              <a:gd name="connsiteX67" fmla="*/ 1023956 w 6096552"/>
              <a:gd name="connsiteY67" fmla="*/ 3113679 h 3429002"/>
              <a:gd name="connsiteX68" fmla="*/ 1045016 w 6096552"/>
              <a:gd name="connsiteY68" fmla="*/ 3113679 h 3429002"/>
              <a:gd name="connsiteX69" fmla="*/ 1045016 w 6096552"/>
              <a:gd name="connsiteY69" fmla="*/ 3075196 h 3429002"/>
              <a:gd name="connsiteX70" fmla="*/ 1074975 w 6096552"/>
              <a:gd name="connsiteY70" fmla="*/ 3113679 h 3429002"/>
              <a:gd name="connsiteX71" fmla="*/ 1099481 w 6096552"/>
              <a:gd name="connsiteY71" fmla="*/ 3113679 h 3429002"/>
              <a:gd name="connsiteX72" fmla="*/ 1065009 w 6096552"/>
              <a:gd name="connsiteY72" fmla="*/ 3068114 h 3429002"/>
              <a:gd name="connsiteX73" fmla="*/ 1099481 w 6096552"/>
              <a:gd name="connsiteY73" fmla="*/ 3022485 h 3429002"/>
              <a:gd name="connsiteX74" fmla="*/ 1074975 w 6096552"/>
              <a:gd name="connsiteY74" fmla="*/ 3022485 h 3429002"/>
              <a:gd name="connsiteX75" fmla="*/ 1045016 w 6096552"/>
              <a:gd name="connsiteY75" fmla="*/ 3060968 h 3429002"/>
              <a:gd name="connsiteX76" fmla="*/ 1045016 w 6096552"/>
              <a:gd name="connsiteY76" fmla="*/ 3022485 h 3429002"/>
              <a:gd name="connsiteX77" fmla="*/ 666077 w 6096552"/>
              <a:gd name="connsiteY77" fmla="*/ 3022485 h 3429002"/>
              <a:gd name="connsiteX78" fmla="*/ 666077 w 6096552"/>
              <a:gd name="connsiteY78" fmla="*/ 3113679 h 3429002"/>
              <a:gd name="connsiteX79" fmla="*/ 687073 w 6096552"/>
              <a:gd name="connsiteY79" fmla="*/ 3113679 h 3429002"/>
              <a:gd name="connsiteX80" fmla="*/ 687073 w 6096552"/>
              <a:gd name="connsiteY80" fmla="*/ 3075196 h 3429002"/>
              <a:gd name="connsiteX81" fmla="*/ 717033 w 6096552"/>
              <a:gd name="connsiteY81" fmla="*/ 3113679 h 3429002"/>
              <a:gd name="connsiteX82" fmla="*/ 741602 w 6096552"/>
              <a:gd name="connsiteY82" fmla="*/ 3113679 h 3429002"/>
              <a:gd name="connsiteX83" fmla="*/ 707067 w 6096552"/>
              <a:gd name="connsiteY83" fmla="*/ 3068114 h 3429002"/>
              <a:gd name="connsiteX84" fmla="*/ 741602 w 6096552"/>
              <a:gd name="connsiteY84" fmla="*/ 3022485 h 3429002"/>
              <a:gd name="connsiteX85" fmla="*/ 717033 w 6096552"/>
              <a:gd name="connsiteY85" fmla="*/ 3022485 h 3429002"/>
              <a:gd name="connsiteX86" fmla="*/ 687073 w 6096552"/>
              <a:gd name="connsiteY86" fmla="*/ 3060968 h 3429002"/>
              <a:gd name="connsiteX87" fmla="*/ 687073 w 6096552"/>
              <a:gd name="connsiteY87" fmla="*/ 3022485 h 3429002"/>
              <a:gd name="connsiteX88" fmla="*/ 0 w 6096552"/>
              <a:gd name="connsiteY88" fmla="*/ 0 h 3429002"/>
              <a:gd name="connsiteX89" fmla="*/ 6096552 w 6096552"/>
              <a:gd name="connsiteY89" fmla="*/ 0 h 3429002"/>
              <a:gd name="connsiteX90" fmla="*/ 6096552 w 6096552"/>
              <a:gd name="connsiteY90" fmla="*/ 1 h 3429002"/>
              <a:gd name="connsiteX91" fmla="*/ 6096552 w 6096552"/>
              <a:gd name="connsiteY91" fmla="*/ 2 h 3429002"/>
              <a:gd name="connsiteX92" fmla="*/ 6096552 w 6096552"/>
              <a:gd name="connsiteY92" fmla="*/ 3429000 h 3429002"/>
              <a:gd name="connsiteX93" fmla="*/ 6096552 w 6096552"/>
              <a:gd name="connsiteY93" fmla="*/ 3429002 h 3429002"/>
              <a:gd name="connsiteX94" fmla="*/ 0 w 6096552"/>
              <a:gd name="connsiteY94" fmla="*/ 3429002 h 3429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6096552" h="3429002">
                <a:moveTo>
                  <a:pt x="1146049" y="3041539"/>
                </a:moveTo>
                <a:lnTo>
                  <a:pt x="1157832" y="3076512"/>
                </a:lnTo>
                <a:lnTo>
                  <a:pt x="1134642" y="3076512"/>
                </a:lnTo>
                <a:close/>
                <a:moveTo>
                  <a:pt x="788170" y="3041539"/>
                </a:moveTo>
                <a:lnTo>
                  <a:pt x="799953" y="3076512"/>
                </a:lnTo>
                <a:lnTo>
                  <a:pt x="776763" y="3076512"/>
                </a:lnTo>
                <a:close/>
                <a:moveTo>
                  <a:pt x="1132323" y="3022548"/>
                </a:moveTo>
                <a:lnTo>
                  <a:pt x="1100860" y="3113679"/>
                </a:lnTo>
                <a:lnTo>
                  <a:pt x="1123110" y="3113679"/>
                </a:lnTo>
                <a:lnTo>
                  <a:pt x="1128876" y="3095065"/>
                </a:lnTo>
                <a:lnTo>
                  <a:pt x="1163786" y="3095065"/>
                </a:lnTo>
                <a:lnTo>
                  <a:pt x="1169741" y="3113679"/>
                </a:lnTo>
                <a:lnTo>
                  <a:pt x="1191615" y="3113679"/>
                </a:lnTo>
                <a:lnTo>
                  <a:pt x="1159148" y="3022548"/>
                </a:lnTo>
                <a:close/>
                <a:moveTo>
                  <a:pt x="961907" y="3022548"/>
                </a:moveTo>
                <a:cubicBezTo>
                  <a:pt x="944358" y="3022548"/>
                  <a:pt x="933640" y="3032827"/>
                  <a:pt x="933640" y="3050251"/>
                </a:cubicBezTo>
                <a:cubicBezTo>
                  <a:pt x="933640" y="3067675"/>
                  <a:pt x="945987" y="3076826"/>
                  <a:pt x="961907" y="3076826"/>
                </a:cubicBezTo>
                <a:lnTo>
                  <a:pt x="983468" y="3076826"/>
                </a:lnTo>
                <a:cubicBezTo>
                  <a:pt x="988921" y="3076826"/>
                  <a:pt x="991678" y="3080962"/>
                  <a:pt x="991678" y="3085287"/>
                </a:cubicBezTo>
                <a:cubicBezTo>
                  <a:pt x="991678" y="3089737"/>
                  <a:pt x="988921" y="3093748"/>
                  <a:pt x="983468" y="3093748"/>
                </a:cubicBezTo>
                <a:lnTo>
                  <a:pt x="937338" y="3093748"/>
                </a:lnTo>
                <a:lnTo>
                  <a:pt x="937338" y="3113679"/>
                </a:lnTo>
                <a:lnTo>
                  <a:pt x="982716" y="3113679"/>
                </a:lnTo>
                <a:cubicBezTo>
                  <a:pt x="1000704" y="3113679"/>
                  <a:pt x="1011358" y="3103777"/>
                  <a:pt x="1011358" y="3085287"/>
                </a:cubicBezTo>
                <a:cubicBezTo>
                  <a:pt x="1011358" y="3068615"/>
                  <a:pt x="1000641" y="3058712"/>
                  <a:pt x="986727" y="3058712"/>
                </a:cubicBezTo>
                <a:lnTo>
                  <a:pt x="961907" y="3058712"/>
                </a:lnTo>
                <a:cubicBezTo>
                  <a:pt x="956078" y="3058712"/>
                  <a:pt x="953321" y="3054701"/>
                  <a:pt x="953321" y="3050251"/>
                </a:cubicBezTo>
                <a:cubicBezTo>
                  <a:pt x="953321" y="3045801"/>
                  <a:pt x="956078" y="3041790"/>
                  <a:pt x="961907" y="3041790"/>
                </a:cubicBezTo>
                <a:lnTo>
                  <a:pt x="1004965" y="3041790"/>
                </a:lnTo>
                <a:lnTo>
                  <a:pt x="1004965" y="3022548"/>
                </a:lnTo>
                <a:close/>
                <a:moveTo>
                  <a:pt x="841570" y="3022548"/>
                </a:moveTo>
                <a:lnTo>
                  <a:pt x="841570" y="3113679"/>
                </a:lnTo>
                <a:lnTo>
                  <a:pt x="862692" y="3113679"/>
                </a:lnTo>
                <a:lnTo>
                  <a:pt x="862692" y="3057459"/>
                </a:lnTo>
                <a:lnTo>
                  <a:pt x="898981" y="3113491"/>
                </a:lnTo>
                <a:lnTo>
                  <a:pt x="898981" y="3113679"/>
                </a:lnTo>
                <a:lnTo>
                  <a:pt x="920855" y="3113679"/>
                </a:lnTo>
                <a:lnTo>
                  <a:pt x="920793" y="3093999"/>
                </a:lnTo>
                <a:lnTo>
                  <a:pt x="920667" y="3022548"/>
                </a:lnTo>
                <a:lnTo>
                  <a:pt x="899671" y="3022548"/>
                </a:lnTo>
                <a:lnTo>
                  <a:pt x="899671" y="3079834"/>
                </a:lnTo>
                <a:lnTo>
                  <a:pt x="863068" y="3022548"/>
                </a:lnTo>
                <a:close/>
                <a:moveTo>
                  <a:pt x="774444" y="3022548"/>
                </a:moveTo>
                <a:lnTo>
                  <a:pt x="742918" y="3113679"/>
                </a:lnTo>
                <a:lnTo>
                  <a:pt x="765168" y="3113679"/>
                </a:lnTo>
                <a:lnTo>
                  <a:pt x="770934" y="3095065"/>
                </a:lnTo>
                <a:lnTo>
                  <a:pt x="805845" y="3095065"/>
                </a:lnTo>
                <a:lnTo>
                  <a:pt x="811799" y="3113679"/>
                </a:lnTo>
                <a:lnTo>
                  <a:pt x="833735" y="3113679"/>
                </a:lnTo>
                <a:lnTo>
                  <a:pt x="801269" y="3022548"/>
                </a:lnTo>
                <a:close/>
                <a:moveTo>
                  <a:pt x="604404" y="3022548"/>
                </a:moveTo>
                <a:cubicBezTo>
                  <a:pt x="586792" y="3022548"/>
                  <a:pt x="576137" y="3032827"/>
                  <a:pt x="576137" y="3050251"/>
                </a:cubicBezTo>
                <a:cubicBezTo>
                  <a:pt x="576137" y="3067675"/>
                  <a:pt x="588484" y="3076826"/>
                  <a:pt x="604404" y="3076826"/>
                </a:cubicBezTo>
                <a:lnTo>
                  <a:pt x="625964" y="3076826"/>
                </a:lnTo>
                <a:cubicBezTo>
                  <a:pt x="631417" y="3076826"/>
                  <a:pt x="634174" y="3080962"/>
                  <a:pt x="634174" y="3085287"/>
                </a:cubicBezTo>
                <a:cubicBezTo>
                  <a:pt x="634174" y="3089737"/>
                  <a:pt x="631417" y="3093748"/>
                  <a:pt x="625964" y="3093748"/>
                </a:cubicBezTo>
                <a:lnTo>
                  <a:pt x="579772" y="3093748"/>
                </a:lnTo>
                <a:lnTo>
                  <a:pt x="579772" y="3113679"/>
                </a:lnTo>
                <a:lnTo>
                  <a:pt x="625149" y="3113679"/>
                </a:lnTo>
                <a:cubicBezTo>
                  <a:pt x="643137" y="3113679"/>
                  <a:pt x="653792" y="3103777"/>
                  <a:pt x="653792" y="3085287"/>
                </a:cubicBezTo>
                <a:cubicBezTo>
                  <a:pt x="653792" y="3068615"/>
                  <a:pt x="643137" y="3058712"/>
                  <a:pt x="629223" y="3058712"/>
                </a:cubicBezTo>
                <a:lnTo>
                  <a:pt x="604404" y="3058712"/>
                </a:lnTo>
                <a:cubicBezTo>
                  <a:pt x="598575" y="3058712"/>
                  <a:pt x="595817" y="3054701"/>
                  <a:pt x="595817" y="3050251"/>
                </a:cubicBezTo>
                <a:cubicBezTo>
                  <a:pt x="595817" y="3045801"/>
                  <a:pt x="598575" y="3041790"/>
                  <a:pt x="604404" y="3041790"/>
                </a:cubicBezTo>
                <a:lnTo>
                  <a:pt x="647462" y="3041790"/>
                </a:lnTo>
                <a:lnTo>
                  <a:pt x="647462" y="3022548"/>
                </a:lnTo>
                <a:close/>
                <a:moveTo>
                  <a:pt x="1023956" y="3022485"/>
                </a:moveTo>
                <a:lnTo>
                  <a:pt x="1023956" y="3113679"/>
                </a:lnTo>
                <a:lnTo>
                  <a:pt x="1045016" y="3113679"/>
                </a:lnTo>
                <a:lnTo>
                  <a:pt x="1045016" y="3075196"/>
                </a:lnTo>
                <a:lnTo>
                  <a:pt x="1074975" y="3113679"/>
                </a:lnTo>
                <a:lnTo>
                  <a:pt x="1099481" y="3113679"/>
                </a:lnTo>
                <a:lnTo>
                  <a:pt x="1065009" y="3068114"/>
                </a:lnTo>
                <a:lnTo>
                  <a:pt x="1099481" y="3022485"/>
                </a:lnTo>
                <a:lnTo>
                  <a:pt x="1074975" y="3022485"/>
                </a:lnTo>
                <a:lnTo>
                  <a:pt x="1045016" y="3060968"/>
                </a:lnTo>
                <a:lnTo>
                  <a:pt x="1045016" y="3022485"/>
                </a:lnTo>
                <a:close/>
                <a:moveTo>
                  <a:pt x="666077" y="3022485"/>
                </a:moveTo>
                <a:lnTo>
                  <a:pt x="666077" y="3113679"/>
                </a:lnTo>
                <a:lnTo>
                  <a:pt x="687073" y="3113679"/>
                </a:lnTo>
                <a:lnTo>
                  <a:pt x="687073" y="3075196"/>
                </a:lnTo>
                <a:lnTo>
                  <a:pt x="717033" y="3113679"/>
                </a:lnTo>
                <a:lnTo>
                  <a:pt x="741602" y="3113679"/>
                </a:lnTo>
                <a:lnTo>
                  <a:pt x="707067" y="3068114"/>
                </a:lnTo>
                <a:lnTo>
                  <a:pt x="741602" y="3022485"/>
                </a:lnTo>
                <a:lnTo>
                  <a:pt x="717033" y="3022485"/>
                </a:lnTo>
                <a:lnTo>
                  <a:pt x="687073" y="3060968"/>
                </a:lnTo>
                <a:lnTo>
                  <a:pt x="687073" y="3022485"/>
                </a:lnTo>
                <a:close/>
                <a:moveTo>
                  <a:pt x="0" y="0"/>
                </a:moveTo>
                <a:lnTo>
                  <a:pt x="6096552" y="0"/>
                </a:lnTo>
                <a:lnTo>
                  <a:pt x="6096552" y="1"/>
                </a:lnTo>
                <a:lnTo>
                  <a:pt x="6096552" y="2"/>
                </a:lnTo>
                <a:lnTo>
                  <a:pt x="6096552" y="3429000"/>
                </a:lnTo>
                <a:lnTo>
                  <a:pt x="6096552" y="3429002"/>
                </a:lnTo>
                <a:lnTo>
                  <a:pt x="0" y="3429002"/>
                </a:lnTo>
                <a:close/>
              </a:path>
            </a:pathLst>
          </a:custGeom>
          <a:solidFill>
            <a:srgbClr val="ECECEC"/>
          </a:solidFill>
        </p:spPr>
        <p:txBody>
          <a:bodyPr wrap="square" lIns="36000" tIns="36000" rIns="36000" bIns="36000">
            <a:noAutofit/>
          </a:bodyPr>
          <a:lstStyle>
            <a:lvl1pPr marL="0" indent="0" algn="ctr">
              <a:buNone/>
              <a:defRPr sz="1300">
                <a:solidFill>
                  <a:schemeClr val="tx2"/>
                </a:solidFill>
              </a:defRPr>
            </a:lvl1pPr>
          </a:lstStyle>
          <a:p>
            <a:r>
              <a:rPr lang="en-US" noProof="0"/>
              <a:t>If the image placeholder icon is underneath the text box, select the gray placeholder box and then go to insert in the top menu and add picture. Do NOT move the textbox!</a:t>
            </a:r>
          </a:p>
          <a:p>
            <a:endParaRPr lang="en-US" noProof="0"/>
          </a:p>
        </p:txBody>
      </p:sp>
      <p:sp>
        <p:nvSpPr>
          <p:cNvPr id="20" name="Picture Placeholder 11">
            <a:extLst>
              <a:ext uri="{FF2B5EF4-FFF2-40B4-BE49-F238E27FC236}">
                <a16:creationId xmlns:a16="http://schemas.microsoft.com/office/drawing/2014/main" id="{E26C3E65-10F6-D14C-A4C6-B9C29EF3382F}"/>
              </a:ext>
            </a:extLst>
          </p:cNvPr>
          <p:cNvSpPr>
            <a:spLocks noGrp="1"/>
          </p:cNvSpPr>
          <p:nvPr>
            <p:ph type="pic" sz="quarter" idx="13" hasCustomPrompt="1"/>
          </p:nvPr>
        </p:nvSpPr>
        <p:spPr>
          <a:xfrm>
            <a:off x="3" y="3"/>
            <a:ext cx="6095997" cy="3428998"/>
          </a:xfrm>
          <a:custGeom>
            <a:avLst/>
            <a:gdLst>
              <a:gd name="connsiteX0" fmla="*/ 0 w 6095997"/>
              <a:gd name="connsiteY0" fmla="*/ 0 h 3428998"/>
              <a:gd name="connsiteX1" fmla="*/ 6095997 w 6095997"/>
              <a:gd name="connsiteY1" fmla="*/ 0 h 3428998"/>
              <a:gd name="connsiteX2" fmla="*/ 6095997 w 6095997"/>
              <a:gd name="connsiteY2" fmla="*/ 3428998 h 3428998"/>
              <a:gd name="connsiteX3" fmla="*/ 0 w 6095997"/>
              <a:gd name="connsiteY3" fmla="*/ 3428998 h 3428998"/>
            </a:gdLst>
            <a:ahLst/>
            <a:cxnLst>
              <a:cxn ang="0">
                <a:pos x="connsiteX0" y="connsiteY0"/>
              </a:cxn>
              <a:cxn ang="0">
                <a:pos x="connsiteX1" y="connsiteY1"/>
              </a:cxn>
              <a:cxn ang="0">
                <a:pos x="connsiteX2" y="connsiteY2"/>
              </a:cxn>
              <a:cxn ang="0">
                <a:pos x="connsiteX3" y="connsiteY3"/>
              </a:cxn>
            </a:cxnLst>
            <a:rect l="l" t="t" r="r" b="b"/>
            <a:pathLst>
              <a:path w="6095997" h="3428998">
                <a:moveTo>
                  <a:pt x="0" y="0"/>
                </a:moveTo>
                <a:lnTo>
                  <a:pt x="6095997" y="0"/>
                </a:lnTo>
                <a:lnTo>
                  <a:pt x="6095997" y="3428998"/>
                </a:lnTo>
                <a:lnTo>
                  <a:pt x="0" y="3428998"/>
                </a:lnTo>
                <a:close/>
              </a:path>
            </a:pathLst>
          </a:custGeom>
          <a:solidFill>
            <a:srgbClr val="ECECEC"/>
          </a:solidFill>
        </p:spPr>
        <p:txBody>
          <a:bodyPr wrap="square" lIns="36000" tIns="36000" rIns="36000" bIns="36000" anchor="t">
            <a:noAutofit/>
          </a:bodyPr>
          <a:lstStyle>
            <a:lvl1pPr marL="0" indent="0" algn="ctr">
              <a:buNone/>
              <a:defRPr sz="1300">
                <a:solidFill>
                  <a:schemeClr val="tx2"/>
                </a:solidFill>
              </a:defRPr>
            </a:lvl1pPr>
          </a:lstStyle>
          <a:p>
            <a:r>
              <a:rPr lang="en-US" noProof="0"/>
              <a:t>If the image placeholder icon is underneath the text box, select the gray placeholder box and then go to insert in the top menu and add picture. Do NOT move the textbox!</a:t>
            </a:r>
          </a:p>
          <a:p>
            <a:endParaRPr lang="en-US" noProof="0"/>
          </a:p>
        </p:txBody>
      </p:sp>
      <p:sp>
        <p:nvSpPr>
          <p:cNvPr id="21" name="Picture Placeholder 13">
            <a:extLst>
              <a:ext uri="{FF2B5EF4-FFF2-40B4-BE49-F238E27FC236}">
                <a16:creationId xmlns:a16="http://schemas.microsoft.com/office/drawing/2014/main" id="{6478AEAD-2263-1A47-A959-55E27B18824E}"/>
              </a:ext>
            </a:extLst>
          </p:cNvPr>
          <p:cNvSpPr>
            <a:spLocks noGrp="1"/>
          </p:cNvSpPr>
          <p:nvPr>
            <p:ph type="pic" sz="quarter" idx="16" hasCustomPrompt="1"/>
          </p:nvPr>
        </p:nvSpPr>
        <p:spPr>
          <a:xfrm>
            <a:off x="6096557" y="3"/>
            <a:ext cx="6095997" cy="3428998"/>
          </a:xfrm>
          <a:custGeom>
            <a:avLst/>
            <a:gdLst>
              <a:gd name="connsiteX0" fmla="*/ 0 w 6095997"/>
              <a:gd name="connsiteY0" fmla="*/ 0 h 3428998"/>
              <a:gd name="connsiteX1" fmla="*/ 6095997 w 6095997"/>
              <a:gd name="connsiteY1" fmla="*/ 0 h 3428998"/>
              <a:gd name="connsiteX2" fmla="*/ 6095997 w 6095997"/>
              <a:gd name="connsiteY2" fmla="*/ 3428998 h 3428998"/>
              <a:gd name="connsiteX3" fmla="*/ 0 w 6095997"/>
              <a:gd name="connsiteY3" fmla="*/ 3428998 h 3428998"/>
            </a:gdLst>
            <a:ahLst/>
            <a:cxnLst>
              <a:cxn ang="0">
                <a:pos x="connsiteX0" y="connsiteY0"/>
              </a:cxn>
              <a:cxn ang="0">
                <a:pos x="connsiteX1" y="connsiteY1"/>
              </a:cxn>
              <a:cxn ang="0">
                <a:pos x="connsiteX2" y="connsiteY2"/>
              </a:cxn>
              <a:cxn ang="0">
                <a:pos x="connsiteX3" y="connsiteY3"/>
              </a:cxn>
            </a:cxnLst>
            <a:rect l="l" t="t" r="r" b="b"/>
            <a:pathLst>
              <a:path w="6095997" h="3428998">
                <a:moveTo>
                  <a:pt x="0" y="0"/>
                </a:moveTo>
                <a:lnTo>
                  <a:pt x="6095997" y="0"/>
                </a:lnTo>
                <a:lnTo>
                  <a:pt x="6095997" y="3428998"/>
                </a:lnTo>
                <a:lnTo>
                  <a:pt x="0" y="3428998"/>
                </a:lnTo>
                <a:close/>
              </a:path>
            </a:pathLst>
          </a:custGeom>
          <a:solidFill>
            <a:srgbClr val="ECECEC"/>
          </a:solidFill>
        </p:spPr>
        <p:txBody>
          <a:bodyPr wrap="square" lIns="36000" tIns="36000" rIns="36000" bIns="36000" anchor="t">
            <a:noAutofit/>
          </a:bodyPr>
          <a:lstStyle>
            <a:lvl1pPr marL="0" indent="0" algn="ctr">
              <a:buNone/>
              <a:defRPr sz="1300">
                <a:solidFill>
                  <a:schemeClr val="tx2"/>
                </a:solidFill>
              </a:defRPr>
            </a:lvl1pPr>
          </a:lstStyle>
          <a:p>
            <a:r>
              <a:rPr lang="en-US" noProof="0"/>
              <a:t>If the image placeholder icon is underneath the text box, select the gray placeholder box and then go to insert in the top menu and add picture. Do NOT move the textbox!</a:t>
            </a:r>
          </a:p>
          <a:p>
            <a:endParaRPr lang="en-US" noProof="0"/>
          </a:p>
        </p:txBody>
      </p:sp>
      <p:sp>
        <p:nvSpPr>
          <p:cNvPr id="13" name="Text Placeholder 18">
            <a:extLst>
              <a:ext uri="{FF2B5EF4-FFF2-40B4-BE49-F238E27FC236}">
                <a16:creationId xmlns:a16="http://schemas.microsoft.com/office/drawing/2014/main" id="{AE36B329-0BE6-7A49-8654-DDEA7932EC4D}"/>
              </a:ext>
            </a:extLst>
          </p:cNvPr>
          <p:cNvSpPr>
            <a:spLocks noGrp="1"/>
          </p:cNvSpPr>
          <p:nvPr>
            <p:ph type="body" sz="quarter" idx="19" hasCustomPrompt="1"/>
          </p:nvPr>
        </p:nvSpPr>
        <p:spPr>
          <a:xfrm>
            <a:off x="6102156" y="1300220"/>
            <a:ext cx="6096552" cy="828564"/>
          </a:xfrm>
          <a:prstGeom prst="rect">
            <a:avLst/>
          </a:prstGeom>
        </p:spPr>
        <p:txBody>
          <a:bodyPr lIns="540000" rIns="540000" anchor="ctr">
            <a:noAutofit/>
          </a:bodyPr>
          <a:lstStyle>
            <a:lvl1pPr marL="0" indent="0" algn="ctr">
              <a:lnSpc>
                <a:spcPct val="85000"/>
              </a:lnSpc>
              <a:spcBef>
                <a:spcPts val="0"/>
              </a:spcBef>
              <a:buNone/>
              <a:defRPr sz="2600" spc="40" baseline="0">
                <a:solidFill>
                  <a:schemeClr val="bg1"/>
                </a:solidFill>
                <a:latin typeface="+mj-lt"/>
              </a:defRPr>
            </a:lvl1pPr>
          </a:lstStyle>
          <a:p>
            <a:pPr lvl="0"/>
            <a:r>
              <a:rPr lang="en-US" noProof="0"/>
              <a:t>Click to add text</a:t>
            </a:r>
          </a:p>
        </p:txBody>
      </p:sp>
      <p:sp>
        <p:nvSpPr>
          <p:cNvPr id="16" name="Text Placeholder 18">
            <a:extLst>
              <a:ext uri="{FF2B5EF4-FFF2-40B4-BE49-F238E27FC236}">
                <a16:creationId xmlns:a16="http://schemas.microsoft.com/office/drawing/2014/main" id="{CAD788D9-156D-3B46-B27B-0C6E941B8270}"/>
              </a:ext>
            </a:extLst>
          </p:cNvPr>
          <p:cNvSpPr>
            <a:spLocks noGrp="1"/>
          </p:cNvSpPr>
          <p:nvPr>
            <p:ph type="body" sz="quarter" idx="21" hasCustomPrompt="1"/>
          </p:nvPr>
        </p:nvSpPr>
        <p:spPr>
          <a:xfrm>
            <a:off x="6102155" y="4729219"/>
            <a:ext cx="6089839" cy="828564"/>
          </a:xfrm>
          <a:prstGeom prst="rect">
            <a:avLst/>
          </a:prstGeom>
        </p:spPr>
        <p:txBody>
          <a:bodyPr lIns="540000" rIns="540000" anchor="ctr">
            <a:noAutofit/>
          </a:bodyPr>
          <a:lstStyle>
            <a:lvl1pPr marL="0" indent="0" algn="ctr">
              <a:lnSpc>
                <a:spcPct val="85000"/>
              </a:lnSpc>
              <a:spcBef>
                <a:spcPts val="0"/>
              </a:spcBef>
              <a:buNone/>
              <a:defRPr sz="2600" spc="40" baseline="0">
                <a:solidFill>
                  <a:schemeClr val="bg1"/>
                </a:solidFill>
                <a:latin typeface="+mj-lt"/>
              </a:defRPr>
            </a:lvl1pPr>
          </a:lstStyle>
          <a:p>
            <a:pPr lvl="0"/>
            <a:r>
              <a:rPr lang="en-US" noProof="0"/>
              <a:t>Click to add text</a:t>
            </a:r>
          </a:p>
        </p:txBody>
      </p:sp>
      <p:sp>
        <p:nvSpPr>
          <p:cNvPr id="11" name="Text Placeholder 18">
            <a:extLst>
              <a:ext uri="{FF2B5EF4-FFF2-40B4-BE49-F238E27FC236}">
                <a16:creationId xmlns:a16="http://schemas.microsoft.com/office/drawing/2014/main" id="{CAE0F1B9-C51D-2C4C-8657-A80AEC2E3D1F}"/>
              </a:ext>
            </a:extLst>
          </p:cNvPr>
          <p:cNvSpPr>
            <a:spLocks noGrp="1"/>
          </p:cNvSpPr>
          <p:nvPr>
            <p:ph type="body" sz="quarter" idx="14" hasCustomPrompt="1"/>
          </p:nvPr>
        </p:nvSpPr>
        <p:spPr>
          <a:xfrm>
            <a:off x="0" y="1300220"/>
            <a:ext cx="6096000" cy="828564"/>
          </a:xfrm>
          <a:prstGeom prst="rect">
            <a:avLst/>
          </a:prstGeom>
        </p:spPr>
        <p:txBody>
          <a:bodyPr lIns="540000" rIns="540000" anchor="ctr">
            <a:noAutofit/>
          </a:bodyPr>
          <a:lstStyle>
            <a:lvl1pPr marL="0" indent="0" algn="ctr">
              <a:lnSpc>
                <a:spcPct val="85000"/>
              </a:lnSpc>
              <a:spcBef>
                <a:spcPts val="0"/>
              </a:spcBef>
              <a:buNone/>
              <a:defRPr sz="2600" spc="40" baseline="0">
                <a:solidFill>
                  <a:schemeClr val="bg1"/>
                </a:solidFill>
                <a:latin typeface="+mj-lt"/>
              </a:defRPr>
            </a:lvl1pPr>
          </a:lstStyle>
          <a:p>
            <a:pPr lvl="0"/>
            <a:r>
              <a:rPr lang="en-US" noProof="0"/>
              <a:t>Click to add text</a:t>
            </a:r>
          </a:p>
        </p:txBody>
      </p:sp>
      <p:sp>
        <p:nvSpPr>
          <p:cNvPr id="15" name="Text Placeholder 18">
            <a:extLst>
              <a:ext uri="{FF2B5EF4-FFF2-40B4-BE49-F238E27FC236}">
                <a16:creationId xmlns:a16="http://schemas.microsoft.com/office/drawing/2014/main" id="{7744189A-DC50-C443-9FD4-A84FC60A0108}"/>
              </a:ext>
            </a:extLst>
          </p:cNvPr>
          <p:cNvSpPr>
            <a:spLocks noGrp="1"/>
          </p:cNvSpPr>
          <p:nvPr>
            <p:ph type="body" sz="quarter" idx="20" hasCustomPrompt="1"/>
          </p:nvPr>
        </p:nvSpPr>
        <p:spPr>
          <a:xfrm>
            <a:off x="-5594" y="4729219"/>
            <a:ext cx="6101594" cy="828564"/>
          </a:xfrm>
          <a:prstGeom prst="rect">
            <a:avLst/>
          </a:prstGeom>
        </p:spPr>
        <p:txBody>
          <a:bodyPr lIns="540000" rIns="540000" anchor="ctr">
            <a:noAutofit/>
          </a:bodyPr>
          <a:lstStyle>
            <a:lvl1pPr marL="0" indent="0" algn="ctr">
              <a:lnSpc>
                <a:spcPct val="85000"/>
              </a:lnSpc>
              <a:spcBef>
                <a:spcPts val="0"/>
              </a:spcBef>
              <a:buNone/>
              <a:defRPr sz="2600" spc="40" baseline="0">
                <a:solidFill>
                  <a:schemeClr val="bg1"/>
                </a:solidFill>
                <a:latin typeface="+mj-lt"/>
              </a:defRPr>
            </a:lvl1pPr>
          </a:lstStyle>
          <a:p>
            <a:pPr lvl="0"/>
            <a:r>
              <a:rPr lang="en-US" noProof="0"/>
              <a:t>Click to add text</a:t>
            </a:r>
          </a:p>
        </p:txBody>
      </p:sp>
      <p:sp>
        <p:nvSpPr>
          <p:cNvPr id="14" name="textruta 5">
            <a:extLst>
              <a:ext uri="{FF2B5EF4-FFF2-40B4-BE49-F238E27FC236}">
                <a16:creationId xmlns:a16="http://schemas.microsoft.com/office/drawing/2014/main" id="{19FBFB5A-FFAC-8E48-BE9F-8171ABD4A956}"/>
              </a:ext>
            </a:extLst>
          </p:cNvPr>
          <p:cNvSpPr txBox="1"/>
          <p:nvPr userDrawn="1"/>
        </p:nvSpPr>
        <p:spPr>
          <a:xfrm>
            <a:off x="12395260" y="1453483"/>
            <a:ext cx="1681523" cy="646331"/>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the textboxes disappears after adding or changing an imag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right click the image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and use – </a:t>
            </a:r>
            <a:r>
              <a:rPr lang="en-US" sz="900" b="1" noProof="0">
                <a:solidFill>
                  <a:schemeClr val="tx1">
                    <a:lumMod val="65000"/>
                    <a:lumOff val="35000"/>
                  </a:schemeClr>
                </a:solidFill>
                <a:latin typeface="Arial" panose="020B0604020202020204" pitchFamily="34" charset="0"/>
                <a:cs typeface="Arial" panose="020B0604020202020204" pitchFamily="34" charset="0"/>
              </a:rPr>
              <a:t>S</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end to back</a:t>
            </a:r>
          </a:p>
        </p:txBody>
      </p:sp>
      <p:sp>
        <p:nvSpPr>
          <p:cNvPr id="17" name="textruta 16">
            <a:extLst>
              <a:ext uri="{FF2B5EF4-FFF2-40B4-BE49-F238E27FC236}">
                <a16:creationId xmlns:a16="http://schemas.microsoft.com/office/drawing/2014/main" id="{75DFCBE9-EE68-0440-97A2-234715FAABCE}"/>
              </a:ext>
            </a:extLst>
          </p:cNvPr>
          <p:cNvSpPr txBox="1"/>
          <p:nvPr userDrawn="1"/>
        </p:nvSpPr>
        <p:spPr>
          <a:xfrm>
            <a:off x="12395260" y="-12189"/>
            <a:ext cx="1681523" cy="1338828"/>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you need to change the color of the logo, right click outside work area,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Format Background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from context menu and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Solid fill</a:t>
            </a:r>
            <a:r>
              <a:rPr lang="en-US" sz="900" baseline="0" noProof="0">
                <a:solidFill>
                  <a:schemeClr val="tx1">
                    <a:lumMod val="65000"/>
                    <a:lumOff val="35000"/>
                  </a:schemeClr>
                </a:solidFill>
                <a:latin typeface="Arial" panose="020B0604020202020204" pitchFamily="34" charset="0"/>
                <a:cs typeface="Arial" panose="020B0604020202020204" pitchFamily="34" charset="0"/>
              </a:rPr>
              <a:t> –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White or Blue</a:t>
            </a: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p:txBody>
      </p:sp>
      <p:sp>
        <p:nvSpPr>
          <p:cNvPr id="18" name="Rektangel 17">
            <a:extLst>
              <a:ext uri="{FF2B5EF4-FFF2-40B4-BE49-F238E27FC236}">
                <a16:creationId xmlns:a16="http://schemas.microsoft.com/office/drawing/2014/main" id="{559F1CA4-11DF-CD41-9092-56CD49479BD3}"/>
              </a:ext>
            </a:extLst>
          </p:cNvPr>
          <p:cNvSpPr/>
          <p:nvPr userDrawn="1"/>
        </p:nvSpPr>
        <p:spPr>
          <a:xfrm>
            <a:off x="13255337" y="926211"/>
            <a:ext cx="341194" cy="305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9" name="Rektangel 18">
            <a:extLst>
              <a:ext uri="{FF2B5EF4-FFF2-40B4-BE49-F238E27FC236}">
                <a16:creationId xmlns:a16="http://schemas.microsoft.com/office/drawing/2014/main" id="{420B4BDA-12DF-064A-BD9D-7A5CBB0BD6CB}"/>
              </a:ext>
            </a:extLst>
          </p:cNvPr>
          <p:cNvSpPr/>
          <p:nvPr userDrawn="1"/>
        </p:nvSpPr>
        <p:spPr>
          <a:xfrm>
            <a:off x="12833410" y="926211"/>
            <a:ext cx="341194" cy="30590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2" name="Platshållare för datum 3">
            <a:extLst>
              <a:ext uri="{FF2B5EF4-FFF2-40B4-BE49-F238E27FC236}">
                <a16:creationId xmlns:a16="http://schemas.microsoft.com/office/drawing/2014/main" id="{095D123A-AEDC-BC4D-9CB3-3B6510387C2B}"/>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bg1"/>
                </a:solidFill>
              </a:defRPr>
            </a:lvl1pPr>
          </a:lstStyle>
          <a:p>
            <a:fld id="{2F9806AD-009B-8D45-82A9-B9E8234B6322}" type="datetime1">
              <a:rPr lang="en-US" smtClean="0"/>
              <a:pPr/>
              <a:t>10/17/2023</a:t>
            </a:fld>
            <a:endParaRPr lang="en-US"/>
          </a:p>
        </p:txBody>
      </p:sp>
      <p:sp>
        <p:nvSpPr>
          <p:cNvPr id="23" name="Platshållare för sidfot 4">
            <a:extLst>
              <a:ext uri="{FF2B5EF4-FFF2-40B4-BE49-F238E27FC236}">
                <a16:creationId xmlns:a16="http://schemas.microsoft.com/office/drawing/2014/main" id="{2C79257B-832F-5742-855F-0AA0C3381084}"/>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bg1"/>
                </a:solidFill>
              </a:defRPr>
            </a:lvl1pPr>
          </a:lstStyle>
          <a:p>
            <a:r>
              <a:rPr lang="en-US"/>
              <a:t>Go to header/footer to change text </a:t>
            </a:r>
          </a:p>
        </p:txBody>
      </p:sp>
      <p:sp>
        <p:nvSpPr>
          <p:cNvPr id="24" name="Platshållare för bildnummer 5">
            <a:extLst>
              <a:ext uri="{FF2B5EF4-FFF2-40B4-BE49-F238E27FC236}">
                <a16:creationId xmlns:a16="http://schemas.microsoft.com/office/drawing/2014/main" id="{EFDD78FE-8BED-3F40-B84D-A849758983FC}"/>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bg1"/>
                </a:solidFill>
              </a:defRPr>
            </a:lvl1pPr>
          </a:lstStyle>
          <a:p>
            <a:fld id="{EF8DBD5B-30F9-4F9C-AE39-E065C1AC514D}" type="slidenum">
              <a:rPr lang="en-US" smtClean="0"/>
              <a:pPr/>
              <a:t>‹#›</a:t>
            </a:fld>
            <a:endParaRPr lang="en-US"/>
          </a:p>
        </p:txBody>
      </p:sp>
      <p:sp>
        <p:nvSpPr>
          <p:cNvPr id="25" name="Text Placeholder 4">
            <a:extLst>
              <a:ext uri="{FF2B5EF4-FFF2-40B4-BE49-F238E27FC236}">
                <a16:creationId xmlns:a16="http://schemas.microsoft.com/office/drawing/2014/main" id="{71A9C98A-4687-4040-B606-2087DF2A2EFC}"/>
              </a:ext>
            </a:extLst>
          </p:cNvPr>
          <p:cNvSpPr>
            <a:spLocks noGrp="1"/>
          </p:cNvSpPr>
          <p:nvPr>
            <p:ph type="body" sz="quarter" idx="26" hasCustomPrompt="1"/>
          </p:nvPr>
        </p:nvSpPr>
        <p:spPr>
          <a:xfrm rot="5400000">
            <a:off x="10901730" y="803644"/>
            <a:ext cx="2093913" cy="486626"/>
          </a:xfrm>
        </p:spPr>
        <p:txBody>
          <a:bodyPr lIns="180000" tIns="180000" rIns="0" bIns="180000" anchor="ctr">
            <a:spAutoFit/>
          </a:bodyPr>
          <a:lstStyle>
            <a:lvl1pPr marL="6350" indent="0" algn="l">
              <a:buNone/>
              <a:defRPr sz="800">
                <a:solidFill>
                  <a:schemeClr val="bg1"/>
                </a:solidFill>
              </a:defRPr>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
        <p:nvSpPr>
          <p:cNvPr id="26" name="Text Placeholder 4">
            <a:extLst>
              <a:ext uri="{FF2B5EF4-FFF2-40B4-BE49-F238E27FC236}">
                <a16:creationId xmlns:a16="http://schemas.microsoft.com/office/drawing/2014/main" id="{173D70AB-BF8E-C648-AAC9-4F8B819A8EA1}"/>
              </a:ext>
            </a:extLst>
          </p:cNvPr>
          <p:cNvSpPr>
            <a:spLocks noGrp="1"/>
          </p:cNvSpPr>
          <p:nvPr>
            <p:ph type="body" sz="quarter" idx="27" hasCustomPrompt="1"/>
          </p:nvPr>
        </p:nvSpPr>
        <p:spPr>
          <a:xfrm rot="5400000">
            <a:off x="4805730" y="803644"/>
            <a:ext cx="2093913" cy="486626"/>
          </a:xfrm>
        </p:spPr>
        <p:txBody>
          <a:bodyPr lIns="180000" tIns="180000" rIns="0" bIns="180000" anchor="ctr">
            <a:spAutoFit/>
          </a:bodyPr>
          <a:lstStyle>
            <a:lvl1pPr marL="6350" indent="0" algn="l">
              <a:buNone/>
              <a:defRPr sz="800">
                <a:solidFill>
                  <a:schemeClr val="bg1"/>
                </a:solidFill>
              </a:defRPr>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
        <p:nvSpPr>
          <p:cNvPr id="27" name="Text Placeholder 4">
            <a:extLst>
              <a:ext uri="{FF2B5EF4-FFF2-40B4-BE49-F238E27FC236}">
                <a16:creationId xmlns:a16="http://schemas.microsoft.com/office/drawing/2014/main" id="{71F88B05-AE87-C844-A8AD-6E40968EBE38}"/>
              </a:ext>
            </a:extLst>
          </p:cNvPr>
          <p:cNvSpPr>
            <a:spLocks noGrp="1"/>
          </p:cNvSpPr>
          <p:nvPr>
            <p:ph type="body" sz="quarter" idx="28" hasCustomPrompt="1"/>
          </p:nvPr>
        </p:nvSpPr>
        <p:spPr>
          <a:xfrm rot="5400000">
            <a:off x="4805730" y="4232644"/>
            <a:ext cx="2093913" cy="486626"/>
          </a:xfrm>
        </p:spPr>
        <p:txBody>
          <a:bodyPr lIns="180000" tIns="180000" rIns="0" bIns="180000" anchor="ctr">
            <a:spAutoFit/>
          </a:bodyPr>
          <a:lstStyle>
            <a:lvl1pPr marL="6350" indent="0" algn="l">
              <a:buNone/>
              <a:defRPr sz="800"/>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
        <p:nvSpPr>
          <p:cNvPr id="28" name="Text Placeholder 4">
            <a:extLst>
              <a:ext uri="{FF2B5EF4-FFF2-40B4-BE49-F238E27FC236}">
                <a16:creationId xmlns:a16="http://schemas.microsoft.com/office/drawing/2014/main" id="{57F2AD48-4016-D14A-BC63-41C3D6B3BDF0}"/>
              </a:ext>
            </a:extLst>
          </p:cNvPr>
          <p:cNvSpPr>
            <a:spLocks noGrp="1"/>
          </p:cNvSpPr>
          <p:nvPr>
            <p:ph type="body" sz="quarter" idx="29" hasCustomPrompt="1"/>
          </p:nvPr>
        </p:nvSpPr>
        <p:spPr>
          <a:xfrm rot="5400000">
            <a:off x="10902284" y="4232645"/>
            <a:ext cx="2093913" cy="486626"/>
          </a:xfrm>
        </p:spPr>
        <p:txBody>
          <a:bodyPr lIns="180000" tIns="180000" rIns="0" bIns="180000" anchor="ctr">
            <a:spAutoFit/>
          </a:bodyPr>
          <a:lstStyle>
            <a:lvl1pPr marL="6350" indent="0" algn="l">
              <a:buNone/>
              <a:defRPr sz="800">
                <a:solidFill>
                  <a:schemeClr val="bg1"/>
                </a:solidFill>
              </a:defRPr>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Tree>
    <p:extLst>
      <p:ext uri="{BB962C8B-B14F-4D97-AF65-F5344CB8AC3E}">
        <p14:creationId xmlns:p14="http://schemas.microsoft.com/office/powerpoint/2010/main" val="90419948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5 Three images">
    <p:bg>
      <p:bgPr>
        <a:solidFill>
          <a:schemeClr val="bg1"/>
        </a:solidFill>
        <a:effectLst/>
      </p:bgPr>
    </p:bg>
    <p:spTree>
      <p:nvGrpSpPr>
        <p:cNvPr id="1" name=""/>
        <p:cNvGrpSpPr/>
        <p:nvPr/>
      </p:nvGrpSpPr>
      <p:grpSpPr>
        <a:xfrm>
          <a:off x="0" y="0"/>
          <a:ext cx="0" cy="0"/>
          <a:chOff x="0" y="0"/>
          <a:chExt cx="0" cy="0"/>
        </a:xfrm>
      </p:grpSpPr>
      <p:sp>
        <p:nvSpPr>
          <p:cNvPr id="31" name="Picture Placeholder 30">
            <a:extLst>
              <a:ext uri="{FF2B5EF4-FFF2-40B4-BE49-F238E27FC236}">
                <a16:creationId xmlns:a16="http://schemas.microsoft.com/office/drawing/2014/main" id="{67A803C1-5E85-5C45-B84F-9737F92F8DDF}"/>
              </a:ext>
            </a:extLst>
          </p:cNvPr>
          <p:cNvSpPr>
            <a:spLocks noGrp="1"/>
          </p:cNvSpPr>
          <p:nvPr>
            <p:ph type="pic" sz="quarter" idx="13" hasCustomPrompt="1"/>
          </p:nvPr>
        </p:nvSpPr>
        <p:spPr>
          <a:xfrm>
            <a:off x="5" y="5"/>
            <a:ext cx="6109247" cy="6857997"/>
          </a:xfrm>
          <a:custGeom>
            <a:avLst/>
            <a:gdLst>
              <a:gd name="connsiteX0" fmla="*/ 1146049 w 6094408"/>
              <a:gd name="connsiteY0" fmla="*/ 6470534 h 6857997"/>
              <a:gd name="connsiteX1" fmla="*/ 1157832 w 6094408"/>
              <a:gd name="connsiteY1" fmla="*/ 6505507 h 6857997"/>
              <a:gd name="connsiteX2" fmla="*/ 1134642 w 6094408"/>
              <a:gd name="connsiteY2" fmla="*/ 6505507 h 6857997"/>
              <a:gd name="connsiteX3" fmla="*/ 788170 w 6094408"/>
              <a:gd name="connsiteY3" fmla="*/ 6470534 h 6857997"/>
              <a:gd name="connsiteX4" fmla="*/ 799953 w 6094408"/>
              <a:gd name="connsiteY4" fmla="*/ 6505507 h 6857997"/>
              <a:gd name="connsiteX5" fmla="*/ 776763 w 6094408"/>
              <a:gd name="connsiteY5" fmla="*/ 6505507 h 6857997"/>
              <a:gd name="connsiteX6" fmla="*/ 1132323 w 6094408"/>
              <a:gd name="connsiteY6" fmla="*/ 6451543 h 6857997"/>
              <a:gd name="connsiteX7" fmla="*/ 1100860 w 6094408"/>
              <a:gd name="connsiteY7" fmla="*/ 6542674 h 6857997"/>
              <a:gd name="connsiteX8" fmla="*/ 1123110 w 6094408"/>
              <a:gd name="connsiteY8" fmla="*/ 6542674 h 6857997"/>
              <a:gd name="connsiteX9" fmla="*/ 1128876 w 6094408"/>
              <a:gd name="connsiteY9" fmla="*/ 6524060 h 6857997"/>
              <a:gd name="connsiteX10" fmla="*/ 1163786 w 6094408"/>
              <a:gd name="connsiteY10" fmla="*/ 6524060 h 6857997"/>
              <a:gd name="connsiteX11" fmla="*/ 1169741 w 6094408"/>
              <a:gd name="connsiteY11" fmla="*/ 6542674 h 6857997"/>
              <a:gd name="connsiteX12" fmla="*/ 1191615 w 6094408"/>
              <a:gd name="connsiteY12" fmla="*/ 6542674 h 6857997"/>
              <a:gd name="connsiteX13" fmla="*/ 1159148 w 6094408"/>
              <a:gd name="connsiteY13" fmla="*/ 6451543 h 6857997"/>
              <a:gd name="connsiteX14" fmla="*/ 961907 w 6094408"/>
              <a:gd name="connsiteY14" fmla="*/ 6451543 h 6857997"/>
              <a:gd name="connsiteX15" fmla="*/ 933640 w 6094408"/>
              <a:gd name="connsiteY15" fmla="*/ 6479246 h 6857997"/>
              <a:gd name="connsiteX16" fmla="*/ 961907 w 6094408"/>
              <a:gd name="connsiteY16" fmla="*/ 6505821 h 6857997"/>
              <a:gd name="connsiteX17" fmla="*/ 983468 w 6094408"/>
              <a:gd name="connsiteY17" fmla="*/ 6505821 h 6857997"/>
              <a:gd name="connsiteX18" fmla="*/ 991678 w 6094408"/>
              <a:gd name="connsiteY18" fmla="*/ 6514282 h 6857997"/>
              <a:gd name="connsiteX19" fmla="*/ 983468 w 6094408"/>
              <a:gd name="connsiteY19" fmla="*/ 6522743 h 6857997"/>
              <a:gd name="connsiteX20" fmla="*/ 937338 w 6094408"/>
              <a:gd name="connsiteY20" fmla="*/ 6522743 h 6857997"/>
              <a:gd name="connsiteX21" fmla="*/ 937338 w 6094408"/>
              <a:gd name="connsiteY21" fmla="*/ 6542674 h 6857997"/>
              <a:gd name="connsiteX22" fmla="*/ 982716 w 6094408"/>
              <a:gd name="connsiteY22" fmla="*/ 6542674 h 6857997"/>
              <a:gd name="connsiteX23" fmla="*/ 1011358 w 6094408"/>
              <a:gd name="connsiteY23" fmla="*/ 6514282 h 6857997"/>
              <a:gd name="connsiteX24" fmla="*/ 986727 w 6094408"/>
              <a:gd name="connsiteY24" fmla="*/ 6487707 h 6857997"/>
              <a:gd name="connsiteX25" fmla="*/ 961907 w 6094408"/>
              <a:gd name="connsiteY25" fmla="*/ 6487707 h 6857997"/>
              <a:gd name="connsiteX26" fmla="*/ 953321 w 6094408"/>
              <a:gd name="connsiteY26" fmla="*/ 6479246 h 6857997"/>
              <a:gd name="connsiteX27" fmla="*/ 961907 w 6094408"/>
              <a:gd name="connsiteY27" fmla="*/ 6470785 h 6857997"/>
              <a:gd name="connsiteX28" fmla="*/ 1004965 w 6094408"/>
              <a:gd name="connsiteY28" fmla="*/ 6470785 h 6857997"/>
              <a:gd name="connsiteX29" fmla="*/ 1004965 w 6094408"/>
              <a:gd name="connsiteY29" fmla="*/ 6451543 h 6857997"/>
              <a:gd name="connsiteX30" fmla="*/ 841570 w 6094408"/>
              <a:gd name="connsiteY30" fmla="*/ 6451543 h 6857997"/>
              <a:gd name="connsiteX31" fmla="*/ 841570 w 6094408"/>
              <a:gd name="connsiteY31" fmla="*/ 6542674 h 6857997"/>
              <a:gd name="connsiteX32" fmla="*/ 862692 w 6094408"/>
              <a:gd name="connsiteY32" fmla="*/ 6542674 h 6857997"/>
              <a:gd name="connsiteX33" fmla="*/ 862692 w 6094408"/>
              <a:gd name="connsiteY33" fmla="*/ 6486454 h 6857997"/>
              <a:gd name="connsiteX34" fmla="*/ 898981 w 6094408"/>
              <a:gd name="connsiteY34" fmla="*/ 6542486 h 6857997"/>
              <a:gd name="connsiteX35" fmla="*/ 898981 w 6094408"/>
              <a:gd name="connsiteY35" fmla="*/ 6542674 h 6857997"/>
              <a:gd name="connsiteX36" fmla="*/ 920855 w 6094408"/>
              <a:gd name="connsiteY36" fmla="*/ 6542674 h 6857997"/>
              <a:gd name="connsiteX37" fmla="*/ 920793 w 6094408"/>
              <a:gd name="connsiteY37" fmla="*/ 6522994 h 6857997"/>
              <a:gd name="connsiteX38" fmla="*/ 920667 w 6094408"/>
              <a:gd name="connsiteY38" fmla="*/ 6451543 h 6857997"/>
              <a:gd name="connsiteX39" fmla="*/ 899671 w 6094408"/>
              <a:gd name="connsiteY39" fmla="*/ 6451543 h 6857997"/>
              <a:gd name="connsiteX40" fmla="*/ 899671 w 6094408"/>
              <a:gd name="connsiteY40" fmla="*/ 6508829 h 6857997"/>
              <a:gd name="connsiteX41" fmla="*/ 863068 w 6094408"/>
              <a:gd name="connsiteY41" fmla="*/ 6451543 h 6857997"/>
              <a:gd name="connsiteX42" fmla="*/ 774444 w 6094408"/>
              <a:gd name="connsiteY42" fmla="*/ 6451543 h 6857997"/>
              <a:gd name="connsiteX43" fmla="*/ 742918 w 6094408"/>
              <a:gd name="connsiteY43" fmla="*/ 6542674 h 6857997"/>
              <a:gd name="connsiteX44" fmla="*/ 765168 w 6094408"/>
              <a:gd name="connsiteY44" fmla="*/ 6542674 h 6857997"/>
              <a:gd name="connsiteX45" fmla="*/ 770934 w 6094408"/>
              <a:gd name="connsiteY45" fmla="*/ 6524060 h 6857997"/>
              <a:gd name="connsiteX46" fmla="*/ 805845 w 6094408"/>
              <a:gd name="connsiteY46" fmla="*/ 6524060 h 6857997"/>
              <a:gd name="connsiteX47" fmla="*/ 811799 w 6094408"/>
              <a:gd name="connsiteY47" fmla="*/ 6542674 h 6857997"/>
              <a:gd name="connsiteX48" fmla="*/ 833735 w 6094408"/>
              <a:gd name="connsiteY48" fmla="*/ 6542674 h 6857997"/>
              <a:gd name="connsiteX49" fmla="*/ 801269 w 6094408"/>
              <a:gd name="connsiteY49" fmla="*/ 6451543 h 6857997"/>
              <a:gd name="connsiteX50" fmla="*/ 604404 w 6094408"/>
              <a:gd name="connsiteY50" fmla="*/ 6451543 h 6857997"/>
              <a:gd name="connsiteX51" fmla="*/ 576137 w 6094408"/>
              <a:gd name="connsiteY51" fmla="*/ 6479246 h 6857997"/>
              <a:gd name="connsiteX52" fmla="*/ 604404 w 6094408"/>
              <a:gd name="connsiteY52" fmla="*/ 6505821 h 6857997"/>
              <a:gd name="connsiteX53" fmla="*/ 625964 w 6094408"/>
              <a:gd name="connsiteY53" fmla="*/ 6505821 h 6857997"/>
              <a:gd name="connsiteX54" fmla="*/ 634174 w 6094408"/>
              <a:gd name="connsiteY54" fmla="*/ 6514282 h 6857997"/>
              <a:gd name="connsiteX55" fmla="*/ 625964 w 6094408"/>
              <a:gd name="connsiteY55" fmla="*/ 6522743 h 6857997"/>
              <a:gd name="connsiteX56" fmla="*/ 579772 w 6094408"/>
              <a:gd name="connsiteY56" fmla="*/ 6522743 h 6857997"/>
              <a:gd name="connsiteX57" fmla="*/ 579772 w 6094408"/>
              <a:gd name="connsiteY57" fmla="*/ 6542674 h 6857997"/>
              <a:gd name="connsiteX58" fmla="*/ 625149 w 6094408"/>
              <a:gd name="connsiteY58" fmla="*/ 6542674 h 6857997"/>
              <a:gd name="connsiteX59" fmla="*/ 653792 w 6094408"/>
              <a:gd name="connsiteY59" fmla="*/ 6514282 h 6857997"/>
              <a:gd name="connsiteX60" fmla="*/ 629223 w 6094408"/>
              <a:gd name="connsiteY60" fmla="*/ 6487707 h 6857997"/>
              <a:gd name="connsiteX61" fmla="*/ 604404 w 6094408"/>
              <a:gd name="connsiteY61" fmla="*/ 6487707 h 6857997"/>
              <a:gd name="connsiteX62" fmla="*/ 595817 w 6094408"/>
              <a:gd name="connsiteY62" fmla="*/ 6479246 h 6857997"/>
              <a:gd name="connsiteX63" fmla="*/ 604404 w 6094408"/>
              <a:gd name="connsiteY63" fmla="*/ 6470785 h 6857997"/>
              <a:gd name="connsiteX64" fmla="*/ 647462 w 6094408"/>
              <a:gd name="connsiteY64" fmla="*/ 6470785 h 6857997"/>
              <a:gd name="connsiteX65" fmla="*/ 647462 w 6094408"/>
              <a:gd name="connsiteY65" fmla="*/ 6451543 h 6857997"/>
              <a:gd name="connsiteX66" fmla="*/ 1023956 w 6094408"/>
              <a:gd name="connsiteY66" fmla="*/ 6451480 h 6857997"/>
              <a:gd name="connsiteX67" fmla="*/ 1023956 w 6094408"/>
              <a:gd name="connsiteY67" fmla="*/ 6542674 h 6857997"/>
              <a:gd name="connsiteX68" fmla="*/ 1045016 w 6094408"/>
              <a:gd name="connsiteY68" fmla="*/ 6542674 h 6857997"/>
              <a:gd name="connsiteX69" fmla="*/ 1045016 w 6094408"/>
              <a:gd name="connsiteY69" fmla="*/ 6504191 h 6857997"/>
              <a:gd name="connsiteX70" fmla="*/ 1074975 w 6094408"/>
              <a:gd name="connsiteY70" fmla="*/ 6542674 h 6857997"/>
              <a:gd name="connsiteX71" fmla="*/ 1099481 w 6094408"/>
              <a:gd name="connsiteY71" fmla="*/ 6542674 h 6857997"/>
              <a:gd name="connsiteX72" fmla="*/ 1065009 w 6094408"/>
              <a:gd name="connsiteY72" fmla="*/ 6497109 h 6857997"/>
              <a:gd name="connsiteX73" fmla="*/ 1099481 w 6094408"/>
              <a:gd name="connsiteY73" fmla="*/ 6451480 h 6857997"/>
              <a:gd name="connsiteX74" fmla="*/ 1074975 w 6094408"/>
              <a:gd name="connsiteY74" fmla="*/ 6451480 h 6857997"/>
              <a:gd name="connsiteX75" fmla="*/ 1045016 w 6094408"/>
              <a:gd name="connsiteY75" fmla="*/ 6489963 h 6857997"/>
              <a:gd name="connsiteX76" fmla="*/ 1045016 w 6094408"/>
              <a:gd name="connsiteY76" fmla="*/ 6451480 h 6857997"/>
              <a:gd name="connsiteX77" fmla="*/ 666077 w 6094408"/>
              <a:gd name="connsiteY77" fmla="*/ 6451480 h 6857997"/>
              <a:gd name="connsiteX78" fmla="*/ 666077 w 6094408"/>
              <a:gd name="connsiteY78" fmla="*/ 6542674 h 6857997"/>
              <a:gd name="connsiteX79" fmla="*/ 687073 w 6094408"/>
              <a:gd name="connsiteY79" fmla="*/ 6542674 h 6857997"/>
              <a:gd name="connsiteX80" fmla="*/ 687073 w 6094408"/>
              <a:gd name="connsiteY80" fmla="*/ 6504191 h 6857997"/>
              <a:gd name="connsiteX81" fmla="*/ 717033 w 6094408"/>
              <a:gd name="connsiteY81" fmla="*/ 6542674 h 6857997"/>
              <a:gd name="connsiteX82" fmla="*/ 741602 w 6094408"/>
              <a:gd name="connsiteY82" fmla="*/ 6542674 h 6857997"/>
              <a:gd name="connsiteX83" fmla="*/ 707067 w 6094408"/>
              <a:gd name="connsiteY83" fmla="*/ 6497109 h 6857997"/>
              <a:gd name="connsiteX84" fmla="*/ 741602 w 6094408"/>
              <a:gd name="connsiteY84" fmla="*/ 6451480 h 6857997"/>
              <a:gd name="connsiteX85" fmla="*/ 717033 w 6094408"/>
              <a:gd name="connsiteY85" fmla="*/ 6451480 h 6857997"/>
              <a:gd name="connsiteX86" fmla="*/ 687073 w 6094408"/>
              <a:gd name="connsiteY86" fmla="*/ 6489963 h 6857997"/>
              <a:gd name="connsiteX87" fmla="*/ 687073 w 6094408"/>
              <a:gd name="connsiteY87" fmla="*/ 6451480 h 6857997"/>
              <a:gd name="connsiteX88" fmla="*/ 0 w 6094408"/>
              <a:gd name="connsiteY88" fmla="*/ 0 h 6857997"/>
              <a:gd name="connsiteX89" fmla="*/ 6094408 w 6094408"/>
              <a:gd name="connsiteY89" fmla="*/ 0 h 6857997"/>
              <a:gd name="connsiteX90" fmla="*/ 6094408 w 6094408"/>
              <a:gd name="connsiteY90" fmla="*/ 6857997 h 6857997"/>
              <a:gd name="connsiteX91" fmla="*/ 0 w 6094408"/>
              <a:gd name="connsiteY91" fmla="*/ 6857997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6094408" h="6857997">
                <a:moveTo>
                  <a:pt x="1146049" y="6470534"/>
                </a:moveTo>
                <a:lnTo>
                  <a:pt x="1157832" y="6505507"/>
                </a:lnTo>
                <a:lnTo>
                  <a:pt x="1134642" y="6505507"/>
                </a:lnTo>
                <a:close/>
                <a:moveTo>
                  <a:pt x="788170" y="6470534"/>
                </a:moveTo>
                <a:lnTo>
                  <a:pt x="799953" y="6505507"/>
                </a:lnTo>
                <a:lnTo>
                  <a:pt x="776763" y="6505507"/>
                </a:lnTo>
                <a:close/>
                <a:moveTo>
                  <a:pt x="1132323" y="6451543"/>
                </a:moveTo>
                <a:lnTo>
                  <a:pt x="1100860" y="6542674"/>
                </a:lnTo>
                <a:lnTo>
                  <a:pt x="1123110" y="6542674"/>
                </a:lnTo>
                <a:lnTo>
                  <a:pt x="1128876" y="6524060"/>
                </a:lnTo>
                <a:lnTo>
                  <a:pt x="1163786" y="6524060"/>
                </a:lnTo>
                <a:lnTo>
                  <a:pt x="1169741" y="6542674"/>
                </a:lnTo>
                <a:lnTo>
                  <a:pt x="1191615" y="6542674"/>
                </a:lnTo>
                <a:lnTo>
                  <a:pt x="1159148" y="6451543"/>
                </a:lnTo>
                <a:close/>
                <a:moveTo>
                  <a:pt x="961907" y="6451543"/>
                </a:moveTo>
                <a:cubicBezTo>
                  <a:pt x="944358" y="6451543"/>
                  <a:pt x="933640" y="6461822"/>
                  <a:pt x="933640" y="6479246"/>
                </a:cubicBezTo>
                <a:cubicBezTo>
                  <a:pt x="933640" y="6496670"/>
                  <a:pt x="945987" y="6505821"/>
                  <a:pt x="961907" y="6505821"/>
                </a:cubicBezTo>
                <a:lnTo>
                  <a:pt x="983468" y="6505821"/>
                </a:lnTo>
                <a:cubicBezTo>
                  <a:pt x="988921" y="6505821"/>
                  <a:pt x="991678" y="6509957"/>
                  <a:pt x="991678" y="6514282"/>
                </a:cubicBezTo>
                <a:cubicBezTo>
                  <a:pt x="991678" y="6518732"/>
                  <a:pt x="988921" y="6522743"/>
                  <a:pt x="983468" y="6522743"/>
                </a:cubicBezTo>
                <a:lnTo>
                  <a:pt x="937338" y="6522743"/>
                </a:lnTo>
                <a:lnTo>
                  <a:pt x="937338" y="6542674"/>
                </a:lnTo>
                <a:lnTo>
                  <a:pt x="982716" y="6542674"/>
                </a:lnTo>
                <a:cubicBezTo>
                  <a:pt x="1000704" y="6542674"/>
                  <a:pt x="1011358" y="6532772"/>
                  <a:pt x="1011358" y="6514282"/>
                </a:cubicBezTo>
                <a:cubicBezTo>
                  <a:pt x="1011358" y="6497610"/>
                  <a:pt x="1000641" y="6487707"/>
                  <a:pt x="986727" y="6487707"/>
                </a:cubicBezTo>
                <a:lnTo>
                  <a:pt x="961907" y="6487707"/>
                </a:lnTo>
                <a:cubicBezTo>
                  <a:pt x="956078" y="6487707"/>
                  <a:pt x="953321" y="6483696"/>
                  <a:pt x="953321" y="6479246"/>
                </a:cubicBezTo>
                <a:cubicBezTo>
                  <a:pt x="953321" y="6474796"/>
                  <a:pt x="956078" y="6470785"/>
                  <a:pt x="961907" y="6470785"/>
                </a:cubicBezTo>
                <a:lnTo>
                  <a:pt x="1004965" y="6470785"/>
                </a:lnTo>
                <a:lnTo>
                  <a:pt x="1004965" y="6451543"/>
                </a:lnTo>
                <a:close/>
                <a:moveTo>
                  <a:pt x="841570" y="6451543"/>
                </a:moveTo>
                <a:lnTo>
                  <a:pt x="841570" y="6542674"/>
                </a:lnTo>
                <a:lnTo>
                  <a:pt x="862692" y="6542674"/>
                </a:lnTo>
                <a:lnTo>
                  <a:pt x="862692" y="6486454"/>
                </a:lnTo>
                <a:lnTo>
                  <a:pt x="898981" y="6542486"/>
                </a:lnTo>
                <a:lnTo>
                  <a:pt x="898981" y="6542674"/>
                </a:lnTo>
                <a:lnTo>
                  <a:pt x="920855" y="6542674"/>
                </a:lnTo>
                <a:lnTo>
                  <a:pt x="920793" y="6522994"/>
                </a:lnTo>
                <a:lnTo>
                  <a:pt x="920667" y="6451543"/>
                </a:lnTo>
                <a:lnTo>
                  <a:pt x="899671" y="6451543"/>
                </a:lnTo>
                <a:lnTo>
                  <a:pt x="899671" y="6508829"/>
                </a:lnTo>
                <a:lnTo>
                  <a:pt x="863068" y="6451543"/>
                </a:lnTo>
                <a:close/>
                <a:moveTo>
                  <a:pt x="774444" y="6451543"/>
                </a:moveTo>
                <a:lnTo>
                  <a:pt x="742918" y="6542674"/>
                </a:lnTo>
                <a:lnTo>
                  <a:pt x="765168" y="6542674"/>
                </a:lnTo>
                <a:lnTo>
                  <a:pt x="770934" y="6524060"/>
                </a:lnTo>
                <a:lnTo>
                  <a:pt x="805845" y="6524060"/>
                </a:lnTo>
                <a:lnTo>
                  <a:pt x="811799" y="6542674"/>
                </a:lnTo>
                <a:lnTo>
                  <a:pt x="833735" y="6542674"/>
                </a:lnTo>
                <a:lnTo>
                  <a:pt x="801269" y="6451543"/>
                </a:lnTo>
                <a:close/>
                <a:moveTo>
                  <a:pt x="604404" y="6451543"/>
                </a:moveTo>
                <a:cubicBezTo>
                  <a:pt x="586792" y="6451543"/>
                  <a:pt x="576137" y="6461822"/>
                  <a:pt x="576137" y="6479246"/>
                </a:cubicBezTo>
                <a:cubicBezTo>
                  <a:pt x="576137" y="6496670"/>
                  <a:pt x="588484" y="6505821"/>
                  <a:pt x="604404" y="6505821"/>
                </a:cubicBezTo>
                <a:lnTo>
                  <a:pt x="625964" y="6505821"/>
                </a:lnTo>
                <a:cubicBezTo>
                  <a:pt x="631417" y="6505821"/>
                  <a:pt x="634174" y="6509957"/>
                  <a:pt x="634174" y="6514282"/>
                </a:cubicBezTo>
                <a:cubicBezTo>
                  <a:pt x="634174" y="6518732"/>
                  <a:pt x="631417" y="6522743"/>
                  <a:pt x="625964" y="6522743"/>
                </a:cubicBezTo>
                <a:lnTo>
                  <a:pt x="579772" y="6522743"/>
                </a:lnTo>
                <a:lnTo>
                  <a:pt x="579772" y="6542674"/>
                </a:lnTo>
                <a:lnTo>
                  <a:pt x="625149" y="6542674"/>
                </a:lnTo>
                <a:cubicBezTo>
                  <a:pt x="643137" y="6542674"/>
                  <a:pt x="653792" y="6532772"/>
                  <a:pt x="653792" y="6514282"/>
                </a:cubicBezTo>
                <a:cubicBezTo>
                  <a:pt x="653792" y="6497610"/>
                  <a:pt x="643137" y="6487707"/>
                  <a:pt x="629223" y="6487707"/>
                </a:cubicBezTo>
                <a:lnTo>
                  <a:pt x="604404" y="6487707"/>
                </a:lnTo>
                <a:cubicBezTo>
                  <a:pt x="598575" y="6487707"/>
                  <a:pt x="595817" y="6483696"/>
                  <a:pt x="595817" y="6479246"/>
                </a:cubicBezTo>
                <a:cubicBezTo>
                  <a:pt x="595817" y="6474796"/>
                  <a:pt x="598575" y="6470785"/>
                  <a:pt x="604404" y="6470785"/>
                </a:cubicBezTo>
                <a:lnTo>
                  <a:pt x="647462" y="6470785"/>
                </a:lnTo>
                <a:lnTo>
                  <a:pt x="647462" y="6451543"/>
                </a:lnTo>
                <a:close/>
                <a:moveTo>
                  <a:pt x="1023956" y="6451480"/>
                </a:moveTo>
                <a:lnTo>
                  <a:pt x="1023956" y="6542674"/>
                </a:lnTo>
                <a:lnTo>
                  <a:pt x="1045016" y="6542674"/>
                </a:lnTo>
                <a:lnTo>
                  <a:pt x="1045016" y="6504191"/>
                </a:lnTo>
                <a:lnTo>
                  <a:pt x="1074975" y="6542674"/>
                </a:lnTo>
                <a:lnTo>
                  <a:pt x="1099481" y="6542674"/>
                </a:lnTo>
                <a:lnTo>
                  <a:pt x="1065009" y="6497109"/>
                </a:lnTo>
                <a:lnTo>
                  <a:pt x="1099481" y="6451480"/>
                </a:lnTo>
                <a:lnTo>
                  <a:pt x="1074975" y="6451480"/>
                </a:lnTo>
                <a:lnTo>
                  <a:pt x="1045016" y="6489963"/>
                </a:lnTo>
                <a:lnTo>
                  <a:pt x="1045016" y="6451480"/>
                </a:lnTo>
                <a:close/>
                <a:moveTo>
                  <a:pt x="666077" y="6451480"/>
                </a:moveTo>
                <a:lnTo>
                  <a:pt x="666077" y="6542674"/>
                </a:lnTo>
                <a:lnTo>
                  <a:pt x="687073" y="6542674"/>
                </a:lnTo>
                <a:lnTo>
                  <a:pt x="687073" y="6504191"/>
                </a:lnTo>
                <a:lnTo>
                  <a:pt x="717033" y="6542674"/>
                </a:lnTo>
                <a:lnTo>
                  <a:pt x="741602" y="6542674"/>
                </a:lnTo>
                <a:lnTo>
                  <a:pt x="707067" y="6497109"/>
                </a:lnTo>
                <a:lnTo>
                  <a:pt x="741602" y="6451480"/>
                </a:lnTo>
                <a:lnTo>
                  <a:pt x="717033" y="6451480"/>
                </a:lnTo>
                <a:lnTo>
                  <a:pt x="687073" y="6489963"/>
                </a:lnTo>
                <a:lnTo>
                  <a:pt x="687073" y="6451480"/>
                </a:lnTo>
                <a:close/>
                <a:moveTo>
                  <a:pt x="0" y="0"/>
                </a:moveTo>
                <a:lnTo>
                  <a:pt x="6094408" y="0"/>
                </a:lnTo>
                <a:lnTo>
                  <a:pt x="6094408" y="6857997"/>
                </a:lnTo>
                <a:lnTo>
                  <a:pt x="0" y="6857997"/>
                </a:lnTo>
                <a:close/>
              </a:path>
            </a:pathLst>
          </a:custGeom>
          <a:solidFill>
            <a:srgbClr val="ECECEC"/>
          </a:solidFill>
        </p:spPr>
        <p:txBody>
          <a:bodyPr wrap="square" lIns="36000" tIns="36000" rIns="36000" bIns="36000">
            <a:noAutofit/>
          </a:bodyPr>
          <a:lstStyle>
            <a:lvl1pPr marL="0" indent="0" algn="ctr">
              <a:buNone/>
              <a:defRPr sz="1300">
                <a:solidFill>
                  <a:schemeClr val="tx2"/>
                </a:solidFill>
              </a:defRPr>
            </a:lvl1pPr>
          </a:lstStyle>
          <a:p>
            <a:r>
              <a:rPr lang="en-US" noProof="0"/>
              <a:t>If the image placeholder icon is underneath the text box, select the gray placeholder box and then go to insert in the top menu and add picture. Do NOT move the textbox!</a:t>
            </a:r>
          </a:p>
          <a:p>
            <a:endParaRPr lang="en-US" noProof="0"/>
          </a:p>
        </p:txBody>
      </p:sp>
      <p:sp>
        <p:nvSpPr>
          <p:cNvPr id="16" name="Picture Placeholder 13">
            <a:extLst>
              <a:ext uri="{FF2B5EF4-FFF2-40B4-BE49-F238E27FC236}">
                <a16:creationId xmlns:a16="http://schemas.microsoft.com/office/drawing/2014/main" id="{4112384D-AFE6-0044-8D33-BD96D1F23E2F}"/>
              </a:ext>
            </a:extLst>
          </p:cNvPr>
          <p:cNvSpPr>
            <a:spLocks noGrp="1"/>
          </p:cNvSpPr>
          <p:nvPr>
            <p:ph type="pic" sz="quarter" idx="19" hasCustomPrompt="1"/>
          </p:nvPr>
        </p:nvSpPr>
        <p:spPr>
          <a:xfrm>
            <a:off x="6098400" y="3"/>
            <a:ext cx="6095997" cy="3428998"/>
          </a:xfrm>
          <a:custGeom>
            <a:avLst/>
            <a:gdLst>
              <a:gd name="connsiteX0" fmla="*/ 0 w 6095997"/>
              <a:gd name="connsiteY0" fmla="*/ 0 h 3428998"/>
              <a:gd name="connsiteX1" fmla="*/ 6095997 w 6095997"/>
              <a:gd name="connsiteY1" fmla="*/ 0 h 3428998"/>
              <a:gd name="connsiteX2" fmla="*/ 6095997 w 6095997"/>
              <a:gd name="connsiteY2" fmla="*/ 3428998 h 3428998"/>
              <a:gd name="connsiteX3" fmla="*/ 0 w 6095997"/>
              <a:gd name="connsiteY3" fmla="*/ 3428998 h 3428998"/>
            </a:gdLst>
            <a:ahLst/>
            <a:cxnLst>
              <a:cxn ang="0">
                <a:pos x="connsiteX0" y="connsiteY0"/>
              </a:cxn>
              <a:cxn ang="0">
                <a:pos x="connsiteX1" y="connsiteY1"/>
              </a:cxn>
              <a:cxn ang="0">
                <a:pos x="connsiteX2" y="connsiteY2"/>
              </a:cxn>
              <a:cxn ang="0">
                <a:pos x="connsiteX3" y="connsiteY3"/>
              </a:cxn>
            </a:cxnLst>
            <a:rect l="l" t="t" r="r" b="b"/>
            <a:pathLst>
              <a:path w="6095997" h="3428998">
                <a:moveTo>
                  <a:pt x="0" y="0"/>
                </a:moveTo>
                <a:lnTo>
                  <a:pt x="6095997" y="0"/>
                </a:lnTo>
                <a:lnTo>
                  <a:pt x="6095997" y="3428998"/>
                </a:lnTo>
                <a:lnTo>
                  <a:pt x="0" y="3428998"/>
                </a:lnTo>
                <a:close/>
              </a:path>
            </a:pathLst>
          </a:custGeom>
          <a:solidFill>
            <a:srgbClr val="ECECEC"/>
          </a:solidFill>
        </p:spPr>
        <p:txBody>
          <a:bodyPr wrap="square" lIns="36000" tIns="36000" rIns="36000" bIns="36000" anchor="t">
            <a:noAutofit/>
          </a:bodyPr>
          <a:lstStyle>
            <a:lvl1pPr marL="0" indent="0" algn="ctr">
              <a:buNone/>
              <a:defRPr sz="1300">
                <a:solidFill>
                  <a:schemeClr val="tx2"/>
                </a:solidFill>
              </a:defRPr>
            </a:lvl1pPr>
          </a:lstStyle>
          <a:p>
            <a:r>
              <a:rPr lang="en-US" noProof="0"/>
              <a:t>If the image placeholder icon is underneath the text box, select the gray placeholder box and then go to insert in the top menu and add picture. Do NOT move the textbox!</a:t>
            </a:r>
          </a:p>
          <a:p>
            <a:endParaRPr lang="en-US" noProof="0"/>
          </a:p>
        </p:txBody>
      </p:sp>
      <p:sp>
        <p:nvSpPr>
          <p:cNvPr id="17" name="Picture Placeholder 17">
            <a:extLst>
              <a:ext uri="{FF2B5EF4-FFF2-40B4-BE49-F238E27FC236}">
                <a16:creationId xmlns:a16="http://schemas.microsoft.com/office/drawing/2014/main" id="{ACAB582F-A4D3-6042-80E5-449FA4DD1AC0}"/>
              </a:ext>
            </a:extLst>
          </p:cNvPr>
          <p:cNvSpPr>
            <a:spLocks noGrp="1"/>
          </p:cNvSpPr>
          <p:nvPr>
            <p:ph type="pic" sz="quarter" idx="20" hasCustomPrompt="1"/>
          </p:nvPr>
        </p:nvSpPr>
        <p:spPr>
          <a:xfrm>
            <a:off x="6098400" y="3429002"/>
            <a:ext cx="6095997" cy="3428998"/>
          </a:xfrm>
          <a:custGeom>
            <a:avLst/>
            <a:gdLst>
              <a:gd name="connsiteX0" fmla="*/ 0 w 6095997"/>
              <a:gd name="connsiteY0" fmla="*/ 0 h 3428998"/>
              <a:gd name="connsiteX1" fmla="*/ 6095997 w 6095997"/>
              <a:gd name="connsiteY1" fmla="*/ 0 h 3428998"/>
              <a:gd name="connsiteX2" fmla="*/ 6095997 w 6095997"/>
              <a:gd name="connsiteY2" fmla="*/ 3428998 h 3428998"/>
              <a:gd name="connsiteX3" fmla="*/ 0 w 6095997"/>
              <a:gd name="connsiteY3" fmla="*/ 3428998 h 3428998"/>
            </a:gdLst>
            <a:ahLst/>
            <a:cxnLst>
              <a:cxn ang="0">
                <a:pos x="connsiteX0" y="connsiteY0"/>
              </a:cxn>
              <a:cxn ang="0">
                <a:pos x="connsiteX1" y="connsiteY1"/>
              </a:cxn>
              <a:cxn ang="0">
                <a:pos x="connsiteX2" y="connsiteY2"/>
              </a:cxn>
              <a:cxn ang="0">
                <a:pos x="connsiteX3" y="connsiteY3"/>
              </a:cxn>
            </a:cxnLst>
            <a:rect l="l" t="t" r="r" b="b"/>
            <a:pathLst>
              <a:path w="6095997" h="3428998">
                <a:moveTo>
                  <a:pt x="0" y="0"/>
                </a:moveTo>
                <a:lnTo>
                  <a:pt x="6095997" y="0"/>
                </a:lnTo>
                <a:lnTo>
                  <a:pt x="6095997" y="3428998"/>
                </a:lnTo>
                <a:lnTo>
                  <a:pt x="0" y="3428998"/>
                </a:lnTo>
                <a:close/>
              </a:path>
            </a:pathLst>
          </a:custGeom>
          <a:solidFill>
            <a:srgbClr val="ECECEC"/>
          </a:solidFill>
        </p:spPr>
        <p:txBody>
          <a:bodyPr wrap="square" lIns="36000" tIns="36000" rIns="36000" bIns="36000" anchor="t">
            <a:noAutofit/>
          </a:bodyPr>
          <a:lstStyle>
            <a:lvl1pPr marL="0" indent="0" algn="ctr">
              <a:buNone/>
              <a:defRPr sz="1300">
                <a:solidFill>
                  <a:schemeClr val="tx2"/>
                </a:solidFill>
              </a:defRPr>
            </a:lvl1pPr>
          </a:lstStyle>
          <a:p>
            <a:r>
              <a:rPr lang="en-US" noProof="0"/>
              <a:t>If the image placeholder icon is underneath the text box, select the gray placeholder box and then go to insert in the top menu and add picture. Do NOT move the textbox!</a:t>
            </a:r>
          </a:p>
          <a:p>
            <a:endParaRPr lang="en-US" noProof="0"/>
          </a:p>
        </p:txBody>
      </p:sp>
      <p:sp>
        <p:nvSpPr>
          <p:cNvPr id="22" name="Text Placeholder 18">
            <a:extLst>
              <a:ext uri="{FF2B5EF4-FFF2-40B4-BE49-F238E27FC236}">
                <a16:creationId xmlns:a16="http://schemas.microsoft.com/office/drawing/2014/main" id="{1BB6EBC7-3CB0-7949-AB1F-7B011BF726B5}"/>
              </a:ext>
            </a:extLst>
          </p:cNvPr>
          <p:cNvSpPr>
            <a:spLocks noGrp="1"/>
          </p:cNvSpPr>
          <p:nvPr>
            <p:ph type="body" sz="quarter" idx="23" hasCustomPrompt="1"/>
          </p:nvPr>
        </p:nvSpPr>
        <p:spPr>
          <a:xfrm>
            <a:off x="-6151" y="3014721"/>
            <a:ext cx="6109247" cy="828564"/>
          </a:xfrm>
          <a:prstGeom prst="rect">
            <a:avLst/>
          </a:prstGeom>
        </p:spPr>
        <p:txBody>
          <a:bodyPr lIns="540000" tIns="0" rIns="540000" bIns="0" anchor="ctr">
            <a:noAutofit/>
          </a:bodyPr>
          <a:lstStyle>
            <a:lvl1pPr marL="0" indent="0" algn="ctr">
              <a:lnSpc>
                <a:spcPct val="85000"/>
              </a:lnSpc>
              <a:spcBef>
                <a:spcPts val="0"/>
              </a:spcBef>
              <a:buNone/>
              <a:defRPr sz="2600" spc="40" baseline="0">
                <a:solidFill>
                  <a:schemeClr val="bg1"/>
                </a:solidFill>
                <a:latin typeface="+mj-lt"/>
              </a:defRPr>
            </a:lvl1pPr>
          </a:lstStyle>
          <a:p>
            <a:pPr lvl="0"/>
            <a:r>
              <a:rPr lang="en-US" noProof="0"/>
              <a:t>Click to add text</a:t>
            </a:r>
          </a:p>
        </p:txBody>
      </p:sp>
      <p:sp>
        <p:nvSpPr>
          <p:cNvPr id="23" name="Text Placeholder 18">
            <a:extLst>
              <a:ext uri="{FF2B5EF4-FFF2-40B4-BE49-F238E27FC236}">
                <a16:creationId xmlns:a16="http://schemas.microsoft.com/office/drawing/2014/main" id="{1A6292A0-28D6-8F43-9A84-193B84BC52B2}"/>
              </a:ext>
            </a:extLst>
          </p:cNvPr>
          <p:cNvSpPr>
            <a:spLocks noGrp="1"/>
          </p:cNvSpPr>
          <p:nvPr>
            <p:ph type="body" sz="quarter" idx="24" hasCustomPrompt="1"/>
          </p:nvPr>
        </p:nvSpPr>
        <p:spPr>
          <a:xfrm>
            <a:off x="6102155" y="1300220"/>
            <a:ext cx="6105491" cy="828564"/>
          </a:xfrm>
          <a:prstGeom prst="rect">
            <a:avLst/>
          </a:prstGeom>
        </p:spPr>
        <p:txBody>
          <a:bodyPr lIns="540000" tIns="0" rIns="540000" bIns="0" anchor="ctr">
            <a:noAutofit/>
          </a:bodyPr>
          <a:lstStyle>
            <a:lvl1pPr marL="0" indent="0" algn="ctr">
              <a:lnSpc>
                <a:spcPct val="85000"/>
              </a:lnSpc>
              <a:spcBef>
                <a:spcPts val="0"/>
              </a:spcBef>
              <a:buNone/>
              <a:defRPr sz="2600" spc="40" baseline="0">
                <a:solidFill>
                  <a:schemeClr val="bg1"/>
                </a:solidFill>
                <a:latin typeface="+mj-lt"/>
              </a:defRPr>
            </a:lvl1pPr>
          </a:lstStyle>
          <a:p>
            <a:pPr lvl="0"/>
            <a:r>
              <a:rPr lang="en-US" noProof="0"/>
              <a:t>Click to add text</a:t>
            </a:r>
          </a:p>
        </p:txBody>
      </p:sp>
      <p:sp>
        <p:nvSpPr>
          <p:cNvPr id="24" name="Text Placeholder 18">
            <a:extLst>
              <a:ext uri="{FF2B5EF4-FFF2-40B4-BE49-F238E27FC236}">
                <a16:creationId xmlns:a16="http://schemas.microsoft.com/office/drawing/2014/main" id="{D141078C-5B10-0549-8F72-9894A9BF4F46}"/>
              </a:ext>
            </a:extLst>
          </p:cNvPr>
          <p:cNvSpPr>
            <a:spLocks noGrp="1"/>
          </p:cNvSpPr>
          <p:nvPr>
            <p:ph type="body" sz="quarter" idx="21" hasCustomPrompt="1"/>
          </p:nvPr>
        </p:nvSpPr>
        <p:spPr>
          <a:xfrm>
            <a:off x="6102156" y="4729219"/>
            <a:ext cx="6105490" cy="828564"/>
          </a:xfrm>
          <a:prstGeom prst="rect">
            <a:avLst/>
          </a:prstGeom>
        </p:spPr>
        <p:txBody>
          <a:bodyPr lIns="540000" tIns="0" rIns="540000" bIns="0" anchor="ctr">
            <a:noAutofit/>
          </a:bodyPr>
          <a:lstStyle>
            <a:lvl1pPr marL="0" indent="0" algn="ctr">
              <a:lnSpc>
                <a:spcPct val="85000"/>
              </a:lnSpc>
              <a:spcBef>
                <a:spcPts val="0"/>
              </a:spcBef>
              <a:buNone/>
              <a:defRPr sz="2600" spc="40" baseline="0">
                <a:solidFill>
                  <a:schemeClr val="bg1"/>
                </a:solidFill>
                <a:latin typeface="+mj-lt"/>
              </a:defRPr>
            </a:lvl1pPr>
          </a:lstStyle>
          <a:p>
            <a:pPr lvl="0"/>
            <a:r>
              <a:rPr lang="en-US" noProof="0"/>
              <a:t>Click to add text</a:t>
            </a:r>
          </a:p>
        </p:txBody>
      </p:sp>
      <p:sp>
        <p:nvSpPr>
          <p:cNvPr id="12" name="textruta 5">
            <a:extLst>
              <a:ext uri="{FF2B5EF4-FFF2-40B4-BE49-F238E27FC236}">
                <a16:creationId xmlns:a16="http://schemas.microsoft.com/office/drawing/2014/main" id="{BAE890E4-E523-6647-98A4-B32F05744FF3}"/>
              </a:ext>
            </a:extLst>
          </p:cNvPr>
          <p:cNvSpPr txBox="1"/>
          <p:nvPr userDrawn="1"/>
        </p:nvSpPr>
        <p:spPr>
          <a:xfrm>
            <a:off x="12395260" y="1453483"/>
            <a:ext cx="1681523" cy="646331"/>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the textboxes disappears after adding or changing an imag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right click the image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and use – </a:t>
            </a:r>
            <a:r>
              <a:rPr lang="en-US" sz="900" b="1" noProof="0">
                <a:solidFill>
                  <a:schemeClr val="tx1">
                    <a:lumMod val="65000"/>
                    <a:lumOff val="35000"/>
                  </a:schemeClr>
                </a:solidFill>
                <a:latin typeface="Arial" panose="020B0604020202020204" pitchFamily="34" charset="0"/>
                <a:cs typeface="Arial" panose="020B0604020202020204" pitchFamily="34" charset="0"/>
              </a:rPr>
              <a:t>S</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end to back</a:t>
            </a:r>
          </a:p>
        </p:txBody>
      </p:sp>
      <p:sp>
        <p:nvSpPr>
          <p:cNvPr id="13" name="textruta 12">
            <a:extLst>
              <a:ext uri="{FF2B5EF4-FFF2-40B4-BE49-F238E27FC236}">
                <a16:creationId xmlns:a16="http://schemas.microsoft.com/office/drawing/2014/main" id="{11616D45-9A27-C34A-86FA-CB9409332032}"/>
              </a:ext>
            </a:extLst>
          </p:cNvPr>
          <p:cNvSpPr txBox="1"/>
          <p:nvPr userDrawn="1"/>
        </p:nvSpPr>
        <p:spPr>
          <a:xfrm>
            <a:off x="12395260" y="-12189"/>
            <a:ext cx="1681523" cy="1338828"/>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you need to change the color of the logo, right click outside work area,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Format Background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from context menu and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Solid fill</a:t>
            </a:r>
            <a:r>
              <a:rPr lang="en-US" sz="900" baseline="0" noProof="0">
                <a:solidFill>
                  <a:schemeClr val="tx1">
                    <a:lumMod val="65000"/>
                    <a:lumOff val="35000"/>
                  </a:schemeClr>
                </a:solidFill>
                <a:latin typeface="Arial" panose="020B0604020202020204" pitchFamily="34" charset="0"/>
                <a:cs typeface="Arial" panose="020B0604020202020204" pitchFamily="34" charset="0"/>
              </a:rPr>
              <a:t> –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White or Blue</a:t>
            </a: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p:txBody>
      </p:sp>
      <p:sp>
        <p:nvSpPr>
          <p:cNvPr id="14" name="Rektangel 13">
            <a:extLst>
              <a:ext uri="{FF2B5EF4-FFF2-40B4-BE49-F238E27FC236}">
                <a16:creationId xmlns:a16="http://schemas.microsoft.com/office/drawing/2014/main" id="{F19A6BCC-975E-7545-BB3A-57857992C98F}"/>
              </a:ext>
            </a:extLst>
          </p:cNvPr>
          <p:cNvSpPr/>
          <p:nvPr userDrawn="1"/>
        </p:nvSpPr>
        <p:spPr>
          <a:xfrm>
            <a:off x="13255337" y="926211"/>
            <a:ext cx="341194" cy="305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5" name="Rektangel 14">
            <a:extLst>
              <a:ext uri="{FF2B5EF4-FFF2-40B4-BE49-F238E27FC236}">
                <a16:creationId xmlns:a16="http://schemas.microsoft.com/office/drawing/2014/main" id="{D6050EB3-8959-584C-BBC7-5A81E084A618}"/>
              </a:ext>
            </a:extLst>
          </p:cNvPr>
          <p:cNvSpPr/>
          <p:nvPr userDrawn="1"/>
        </p:nvSpPr>
        <p:spPr>
          <a:xfrm>
            <a:off x="12833410" y="926211"/>
            <a:ext cx="341194" cy="30590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8" name="Platshållare för datum 3">
            <a:extLst>
              <a:ext uri="{FF2B5EF4-FFF2-40B4-BE49-F238E27FC236}">
                <a16:creationId xmlns:a16="http://schemas.microsoft.com/office/drawing/2014/main" id="{7274DBF8-BA28-BD43-A9B5-0497B225AD69}"/>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bg1"/>
                </a:solidFill>
              </a:defRPr>
            </a:lvl1pPr>
          </a:lstStyle>
          <a:p>
            <a:fld id="{2F9806AD-009B-8D45-82A9-B9E8234B6322}" type="datetime1">
              <a:rPr lang="en-US" smtClean="0"/>
              <a:pPr/>
              <a:t>10/17/2023</a:t>
            </a:fld>
            <a:endParaRPr lang="en-US"/>
          </a:p>
        </p:txBody>
      </p:sp>
      <p:sp>
        <p:nvSpPr>
          <p:cNvPr id="19" name="Platshållare för sidfot 4">
            <a:extLst>
              <a:ext uri="{FF2B5EF4-FFF2-40B4-BE49-F238E27FC236}">
                <a16:creationId xmlns:a16="http://schemas.microsoft.com/office/drawing/2014/main" id="{FE9EF8A8-2297-194D-8536-889E5D4E052B}"/>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bg1"/>
                </a:solidFill>
              </a:defRPr>
            </a:lvl1pPr>
          </a:lstStyle>
          <a:p>
            <a:r>
              <a:rPr lang="en-US"/>
              <a:t>Go to header/footer to change text </a:t>
            </a:r>
          </a:p>
        </p:txBody>
      </p:sp>
      <p:sp>
        <p:nvSpPr>
          <p:cNvPr id="20" name="Platshållare för bildnummer 5">
            <a:extLst>
              <a:ext uri="{FF2B5EF4-FFF2-40B4-BE49-F238E27FC236}">
                <a16:creationId xmlns:a16="http://schemas.microsoft.com/office/drawing/2014/main" id="{65E7AF51-DAFE-9047-8450-28B0B3DE0536}"/>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bg1"/>
                </a:solidFill>
              </a:defRPr>
            </a:lvl1pPr>
          </a:lstStyle>
          <a:p>
            <a:fld id="{EF8DBD5B-30F9-4F9C-AE39-E065C1AC514D}" type="slidenum">
              <a:rPr lang="en-US" smtClean="0"/>
              <a:pPr/>
              <a:t>‹#›</a:t>
            </a:fld>
            <a:endParaRPr lang="en-US"/>
          </a:p>
        </p:txBody>
      </p:sp>
      <p:sp>
        <p:nvSpPr>
          <p:cNvPr id="21" name="Text Placeholder 4">
            <a:extLst>
              <a:ext uri="{FF2B5EF4-FFF2-40B4-BE49-F238E27FC236}">
                <a16:creationId xmlns:a16="http://schemas.microsoft.com/office/drawing/2014/main" id="{B38D1478-E2C4-9C47-9554-2B6F1BEF76AF}"/>
              </a:ext>
            </a:extLst>
          </p:cNvPr>
          <p:cNvSpPr>
            <a:spLocks noGrp="1"/>
          </p:cNvSpPr>
          <p:nvPr>
            <p:ph type="body" sz="quarter" idx="16" hasCustomPrompt="1"/>
          </p:nvPr>
        </p:nvSpPr>
        <p:spPr>
          <a:xfrm rot="5400000">
            <a:off x="10901730" y="803644"/>
            <a:ext cx="2093913" cy="486626"/>
          </a:xfrm>
        </p:spPr>
        <p:txBody>
          <a:bodyPr lIns="180000" tIns="180000" rIns="0" bIns="180000" anchor="ctr">
            <a:spAutoFit/>
          </a:bodyPr>
          <a:lstStyle>
            <a:lvl1pPr marL="6350" indent="0" algn="l">
              <a:buNone/>
              <a:defRPr sz="800">
                <a:solidFill>
                  <a:schemeClr val="bg1"/>
                </a:solidFill>
              </a:defRPr>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
        <p:nvSpPr>
          <p:cNvPr id="25" name="Text Placeholder 4">
            <a:extLst>
              <a:ext uri="{FF2B5EF4-FFF2-40B4-BE49-F238E27FC236}">
                <a16:creationId xmlns:a16="http://schemas.microsoft.com/office/drawing/2014/main" id="{968682EE-E62E-7F45-8D53-EA4C7D3E2A5B}"/>
              </a:ext>
            </a:extLst>
          </p:cNvPr>
          <p:cNvSpPr>
            <a:spLocks noGrp="1"/>
          </p:cNvSpPr>
          <p:nvPr>
            <p:ph type="body" sz="quarter" idx="25" hasCustomPrompt="1"/>
          </p:nvPr>
        </p:nvSpPr>
        <p:spPr>
          <a:xfrm rot="5400000">
            <a:off x="4818982" y="803644"/>
            <a:ext cx="2093913" cy="486626"/>
          </a:xfrm>
        </p:spPr>
        <p:txBody>
          <a:bodyPr lIns="180000" tIns="180000" rIns="0" bIns="180000" anchor="ctr">
            <a:spAutoFit/>
          </a:bodyPr>
          <a:lstStyle>
            <a:lvl1pPr marL="6350" indent="0" algn="l">
              <a:buNone/>
              <a:defRPr sz="800">
                <a:solidFill>
                  <a:schemeClr val="bg1"/>
                </a:solidFill>
              </a:defRPr>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
        <p:nvSpPr>
          <p:cNvPr id="26" name="Text Placeholder 4">
            <a:extLst>
              <a:ext uri="{FF2B5EF4-FFF2-40B4-BE49-F238E27FC236}">
                <a16:creationId xmlns:a16="http://schemas.microsoft.com/office/drawing/2014/main" id="{A5503383-A8B0-564C-8751-AEE0A84AE6C3}"/>
              </a:ext>
            </a:extLst>
          </p:cNvPr>
          <p:cNvSpPr>
            <a:spLocks noGrp="1"/>
          </p:cNvSpPr>
          <p:nvPr>
            <p:ph type="body" sz="quarter" idx="26" hasCustomPrompt="1"/>
          </p:nvPr>
        </p:nvSpPr>
        <p:spPr>
          <a:xfrm rot="5400000">
            <a:off x="10901730" y="4232646"/>
            <a:ext cx="2093913" cy="486626"/>
          </a:xfrm>
        </p:spPr>
        <p:txBody>
          <a:bodyPr lIns="180000" tIns="180000" rIns="0" bIns="180000" anchor="ctr">
            <a:spAutoFit/>
          </a:bodyPr>
          <a:lstStyle>
            <a:lvl1pPr marL="6350" indent="0" algn="l">
              <a:buNone/>
              <a:defRPr sz="800">
                <a:solidFill>
                  <a:schemeClr val="bg1"/>
                </a:solidFill>
              </a:defRPr>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Tree>
    <p:extLst>
      <p:ext uri="{BB962C8B-B14F-4D97-AF65-F5344CB8AC3E}">
        <p14:creationId xmlns:p14="http://schemas.microsoft.com/office/powerpoint/2010/main" val="141924186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5 Four Images Icons">
    <p:bg>
      <p:bgPr>
        <a:solidFill>
          <a:schemeClr val="bg1"/>
        </a:solidFill>
        <a:effectLst/>
      </p:bgPr>
    </p:bg>
    <p:spTree>
      <p:nvGrpSpPr>
        <p:cNvPr id="1" name=""/>
        <p:cNvGrpSpPr/>
        <p:nvPr/>
      </p:nvGrpSpPr>
      <p:grpSpPr>
        <a:xfrm>
          <a:off x="0" y="0"/>
          <a:ext cx="0" cy="0"/>
          <a:chOff x="0" y="0"/>
          <a:chExt cx="0" cy="0"/>
        </a:xfrm>
      </p:grpSpPr>
      <p:sp>
        <p:nvSpPr>
          <p:cNvPr id="12" name="Picture Placeholder 28">
            <a:extLst>
              <a:ext uri="{FF2B5EF4-FFF2-40B4-BE49-F238E27FC236}">
                <a16:creationId xmlns:a16="http://schemas.microsoft.com/office/drawing/2014/main" id="{66A1736D-0DE2-E745-88D9-563B710EF5D1}"/>
              </a:ext>
            </a:extLst>
          </p:cNvPr>
          <p:cNvSpPr>
            <a:spLocks noGrp="1"/>
          </p:cNvSpPr>
          <p:nvPr>
            <p:ph type="pic" sz="quarter" idx="17" hasCustomPrompt="1"/>
          </p:nvPr>
        </p:nvSpPr>
        <p:spPr>
          <a:xfrm>
            <a:off x="4" y="3429002"/>
            <a:ext cx="6095996" cy="3428998"/>
          </a:xfrm>
          <a:custGeom>
            <a:avLst/>
            <a:gdLst>
              <a:gd name="connsiteX0" fmla="*/ 1146049 w 6095996"/>
              <a:gd name="connsiteY0" fmla="*/ 3041536 h 3428998"/>
              <a:gd name="connsiteX1" fmla="*/ 1157832 w 6095996"/>
              <a:gd name="connsiteY1" fmla="*/ 3076509 h 3428998"/>
              <a:gd name="connsiteX2" fmla="*/ 1134642 w 6095996"/>
              <a:gd name="connsiteY2" fmla="*/ 3076509 h 3428998"/>
              <a:gd name="connsiteX3" fmla="*/ 788169 w 6095996"/>
              <a:gd name="connsiteY3" fmla="*/ 3041536 h 3428998"/>
              <a:gd name="connsiteX4" fmla="*/ 799952 w 6095996"/>
              <a:gd name="connsiteY4" fmla="*/ 3076509 h 3428998"/>
              <a:gd name="connsiteX5" fmla="*/ 776762 w 6095996"/>
              <a:gd name="connsiteY5" fmla="*/ 3076509 h 3428998"/>
              <a:gd name="connsiteX6" fmla="*/ 1132323 w 6095996"/>
              <a:gd name="connsiteY6" fmla="*/ 3022545 h 3428998"/>
              <a:gd name="connsiteX7" fmla="*/ 1100859 w 6095996"/>
              <a:gd name="connsiteY7" fmla="*/ 3113676 h 3428998"/>
              <a:gd name="connsiteX8" fmla="*/ 1123109 w 6095996"/>
              <a:gd name="connsiteY8" fmla="*/ 3113676 h 3428998"/>
              <a:gd name="connsiteX9" fmla="*/ 1128876 w 6095996"/>
              <a:gd name="connsiteY9" fmla="*/ 3095062 h 3428998"/>
              <a:gd name="connsiteX10" fmla="*/ 1163786 w 6095996"/>
              <a:gd name="connsiteY10" fmla="*/ 3095062 h 3428998"/>
              <a:gd name="connsiteX11" fmla="*/ 1169740 w 6095996"/>
              <a:gd name="connsiteY11" fmla="*/ 3113676 h 3428998"/>
              <a:gd name="connsiteX12" fmla="*/ 1191614 w 6095996"/>
              <a:gd name="connsiteY12" fmla="*/ 3113676 h 3428998"/>
              <a:gd name="connsiteX13" fmla="*/ 1159148 w 6095996"/>
              <a:gd name="connsiteY13" fmla="*/ 3022545 h 3428998"/>
              <a:gd name="connsiteX14" fmla="*/ 961907 w 6095996"/>
              <a:gd name="connsiteY14" fmla="*/ 3022545 h 3428998"/>
              <a:gd name="connsiteX15" fmla="*/ 933640 w 6095996"/>
              <a:gd name="connsiteY15" fmla="*/ 3050248 h 3428998"/>
              <a:gd name="connsiteX16" fmla="*/ 961907 w 6095996"/>
              <a:gd name="connsiteY16" fmla="*/ 3076823 h 3428998"/>
              <a:gd name="connsiteX17" fmla="*/ 983467 w 6095996"/>
              <a:gd name="connsiteY17" fmla="*/ 3076823 h 3428998"/>
              <a:gd name="connsiteX18" fmla="*/ 991678 w 6095996"/>
              <a:gd name="connsiteY18" fmla="*/ 3085284 h 3428998"/>
              <a:gd name="connsiteX19" fmla="*/ 983467 w 6095996"/>
              <a:gd name="connsiteY19" fmla="*/ 3093745 h 3428998"/>
              <a:gd name="connsiteX20" fmla="*/ 937338 w 6095996"/>
              <a:gd name="connsiteY20" fmla="*/ 3093745 h 3428998"/>
              <a:gd name="connsiteX21" fmla="*/ 937338 w 6095996"/>
              <a:gd name="connsiteY21" fmla="*/ 3113676 h 3428998"/>
              <a:gd name="connsiteX22" fmla="*/ 982715 w 6095996"/>
              <a:gd name="connsiteY22" fmla="*/ 3113676 h 3428998"/>
              <a:gd name="connsiteX23" fmla="*/ 1011358 w 6095996"/>
              <a:gd name="connsiteY23" fmla="*/ 3085284 h 3428998"/>
              <a:gd name="connsiteX24" fmla="*/ 986727 w 6095996"/>
              <a:gd name="connsiteY24" fmla="*/ 3058709 h 3428998"/>
              <a:gd name="connsiteX25" fmla="*/ 961907 w 6095996"/>
              <a:gd name="connsiteY25" fmla="*/ 3058709 h 3428998"/>
              <a:gd name="connsiteX26" fmla="*/ 953320 w 6095996"/>
              <a:gd name="connsiteY26" fmla="*/ 3050248 h 3428998"/>
              <a:gd name="connsiteX27" fmla="*/ 961907 w 6095996"/>
              <a:gd name="connsiteY27" fmla="*/ 3041787 h 3428998"/>
              <a:gd name="connsiteX28" fmla="*/ 1004965 w 6095996"/>
              <a:gd name="connsiteY28" fmla="*/ 3041787 h 3428998"/>
              <a:gd name="connsiteX29" fmla="*/ 1004965 w 6095996"/>
              <a:gd name="connsiteY29" fmla="*/ 3022545 h 3428998"/>
              <a:gd name="connsiteX30" fmla="*/ 841570 w 6095996"/>
              <a:gd name="connsiteY30" fmla="*/ 3022545 h 3428998"/>
              <a:gd name="connsiteX31" fmla="*/ 841570 w 6095996"/>
              <a:gd name="connsiteY31" fmla="*/ 3113676 h 3428998"/>
              <a:gd name="connsiteX32" fmla="*/ 862691 w 6095996"/>
              <a:gd name="connsiteY32" fmla="*/ 3113676 h 3428998"/>
              <a:gd name="connsiteX33" fmla="*/ 862691 w 6095996"/>
              <a:gd name="connsiteY33" fmla="*/ 3057456 h 3428998"/>
              <a:gd name="connsiteX34" fmla="*/ 898981 w 6095996"/>
              <a:gd name="connsiteY34" fmla="*/ 3113488 h 3428998"/>
              <a:gd name="connsiteX35" fmla="*/ 898981 w 6095996"/>
              <a:gd name="connsiteY35" fmla="*/ 3113676 h 3428998"/>
              <a:gd name="connsiteX36" fmla="*/ 920855 w 6095996"/>
              <a:gd name="connsiteY36" fmla="*/ 3113676 h 3428998"/>
              <a:gd name="connsiteX37" fmla="*/ 920792 w 6095996"/>
              <a:gd name="connsiteY37" fmla="*/ 3093996 h 3428998"/>
              <a:gd name="connsiteX38" fmla="*/ 920667 w 6095996"/>
              <a:gd name="connsiteY38" fmla="*/ 3022545 h 3428998"/>
              <a:gd name="connsiteX39" fmla="*/ 899670 w 6095996"/>
              <a:gd name="connsiteY39" fmla="*/ 3022545 h 3428998"/>
              <a:gd name="connsiteX40" fmla="*/ 899670 w 6095996"/>
              <a:gd name="connsiteY40" fmla="*/ 3079831 h 3428998"/>
              <a:gd name="connsiteX41" fmla="*/ 863067 w 6095996"/>
              <a:gd name="connsiteY41" fmla="*/ 3022545 h 3428998"/>
              <a:gd name="connsiteX42" fmla="*/ 774443 w 6095996"/>
              <a:gd name="connsiteY42" fmla="*/ 3022545 h 3428998"/>
              <a:gd name="connsiteX43" fmla="*/ 742918 w 6095996"/>
              <a:gd name="connsiteY43" fmla="*/ 3113676 h 3428998"/>
              <a:gd name="connsiteX44" fmla="*/ 765167 w 6095996"/>
              <a:gd name="connsiteY44" fmla="*/ 3113676 h 3428998"/>
              <a:gd name="connsiteX45" fmla="*/ 770934 w 6095996"/>
              <a:gd name="connsiteY45" fmla="*/ 3095062 h 3428998"/>
              <a:gd name="connsiteX46" fmla="*/ 805844 w 6095996"/>
              <a:gd name="connsiteY46" fmla="*/ 3095062 h 3428998"/>
              <a:gd name="connsiteX47" fmla="*/ 811798 w 6095996"/>
              <a:gd name="connsiteY47" fmla="*/ 3113676 h 3428998"/>
              <a:gd name="connsiteX48" fmla="*/ 833735 w 6095996"/>
              <a:gd name="connsiteY48" fmla="*/ 3113676 h 3428998"/>
              <a:gd name="connsiteX49" fmla="*/ 801269 w 6095996"/>
              <a:gd name="connsiteY49" fmla="*/ 3022545 h 3428998"/>
              <a:gd name="connsiteX50" fmla="*/ 604403 w 6095996"/>
              <a:gd name="connsiteY50" fmla="*/ 3022545 h 3428998"/>
              <a:gd name="connsiteX51" fmla="*/ 576136 w 6095996"/>
              <a:gd name="connsiteY51" fmla="*/ 3050248 h 3428998"/>
              <a:gd name="connsiteX52" fmla="*/ 604403 w 6095996"/>
              <a:gd name="connsiteY52" fmla="*/ 3076823 h 3428998"/>
              <a:gd name="connsiteX53" fmla="*/ 625964 w 6095996"/>
              <a:gd name="connsiteY53" fmla="*/ 3076823 h 3428998"/>
              <a:gd name="connsiteX54" fmla="*/ 634174 w 6095996"/>
              <a:gd name="connsiteY54" fmla="*/ 3085284 h 3428998"/>
              <a:gd name="connsiteX55" fmla="*/ 625964 w 6095996"/>
              <a:gd name="connsiteY55" fmla="*/ 3093745 h 3428998"/>
              <a:gd name="connsiteX56" fmla="*/ 579772 w 6095996"/>
              <a:gd name="connsiteY56" fmla="*/ 3093745 h 3428998"/>
              <a:gd name="connsiteX57" fmla="*/ 579772 w 6095996"/>
              <a:gd name="connsiteY57" fmla="*/ 3113676 h 3428998"/>
              <a:gd name="connsiteX58" fmla="*/ 625149 w 6095996"/>
              <a:gd name="connsiteY58" fmla="*/ 3113676 h 3428998"/>
              <a:gd name="connsiteX59" fmla="*/ 653792 w 6095996"/>
              <a:gd name="connsiteY59" fmla="*/ 3085284 h 3428998"/>
              <a:gd name="connsiteX60" fmla="*/ 629223 w 6095996"/>
              <a:gd name="connsiteY60" fmla="*/ 3058709 h 3428998"/>
              <a:gd name="connsiteX61" fmla="*/ 604403 w 6095996"/>
              <a:gd name="connsiteY61" fmla="*/ 3058709 h 3428998"/>
              <a:gd name="connsiteX62" fmla="*/ 595817 w 6095996"/>
              <a:gd name="connsiteY62" fmla="*/ 3050248 h 3428998"/>
              <a:gd name="connsiteX63" fmla="*/ 604403 w 6095996"/>
              <a:gd name="connsiteY63" fmla="*/ 3041787 h 3428998"/>
              <a:gd name="connsiteX64" fmla="*/ 647461 w 6095996"/>
              <a:gd name="connsiteY64" fmla="*/ 3041787 h 3428998"/>
              <a:gd name="connsiteX65" fmla="*/ 647461 w 6095996"/>
              <a:gd name="connsiteY65" fmla="*/ 3022545 h 3428998"/>
              <a:gd name="connsiteX66" fmla="*/ 1023956 w 6095996"/>
              <a:gd name="connsiteY66" fmla="*/ 3022482 h 3428998"/>
              <a:gd name="connsiteX67" fmla="*/ 1023956 w 6095996"/>
              <a:gd name="connsiteY67" fmla="*/ 3113676 h 3428998"/>
              <a:gd name="connsiteX68" fmla="*/ 1045015 w 6095996"/>
              <a:gd name="connsiteY68" fmla="*/ 3113676 h 3428998"/>
              <a:gd name="connsiteX69" fmla="*/ 1045015 w 6095996"/>
              <a:gd name="connsiteY69" fmla="*/ 3075193 h 3428998"/>
              <a:gd name="connsiteX70" fmla="*/ 1074975 w 6095996"/>
              <a:gd name="connsiteY70" fmla="*/ 3113676 h 3428998"/>
              <a:gd name="connsiteX71" fmla="*/ 1099481 w 6095996"/>
              <a:gd name="connsiteY71" fmla="*/ 3113676 h 3428998"/>
              <a:gd name="connsiteX72" fmla="*/ 1065009 w 6095996"/>
              <a:gd name="connsiteY72" fmla="*/ 3068111 h 3428998"/>
              <a:gd name="connsiteX73" fmla="*/ 1099481 w 6095996"/>
              <a:gd name="connsiteY73" fmla="*/ 3022482 h 3428998"/>
              <a:gd name="connsiteX74" fmla="*/ 1074975 w 6095996"/>
              <a:gd name="connsiteY74" fmla="*/ 3022482 h 3428998"/>
              <a:gd name="connsiteX75" fmla="*/ 1045015 w 6095996"/>
              <a:gd name="connsiteY75" fmla="*/ 3060965 h 3428998"/>
              <a:gd name="connsiteX76" fmla="*/ 1045015 w 6095996"/>
              <a:gd name="connsiteY76" fmla="*/ 3022482 h 3428998"/>
              <a:gd name="connsiteX77" fmla="*/ 666076 w 6095996"/>
              <a:gd name="connsiteY77" fmla="*/ 3022482 h 3428998"/>
              <a:gd name="connsiteX78" fmla="*/ 666076 w 6095996"/>
              <a:gd name="connsiteY78" fmla="*/ 3113676 h 3428998"/>
              <a:gd name="connsiteX79" fmla="*/ 687073 w 6095996"/>
              <a:gd name="connsiteY79" fmla="*/ 3113676 h 3428998"/>
              <a:gd name="connsiteX80" fmla="*/ 687073 w 6095996"/>
              <a:gd name="connsiteY80" fmla="*/ 3075193 h 3428998"/>
              <a:gd name="connsiteX81" fmla="*/ 717032 w 6095996"/>
              <a:gd name="connsiteY81" fmla="*/ 3113676 h 3428998"/>
              <a:gd name="connsiteX82" fmla="*/ 741601 w 6095996"/>
              <a:gd name="connsiteY82" fmla="*/ 3113676 h 3428998"/>
              <a:gd name="connsiteX83" fmla="*/ 707067 w 6095996"/>
              <a:gd name="connsiteY83" fmla="*/ 3068111 h 3428998"/>
              <a:gd name="connsiteX84" fmla="*/ 741601 w 6095996"/>
              <a:gd name="connsiteY84" fmla="*/ 3022482 h 3428998"/>
              <a:gd name="connsiteX85" fmla="*/ 717032 w 6095996"/>
              <a:gd name="connsiteY85" fmla="*/ 3022482 h 3428998"/>
              <a:gd name="connsiteX86" fmla="*/ 687073 w 6095996"/>
              <a:gd name="connsiteY86" fmla="*/ 3060965 h 3428998"/>
              <a:gd name="connsiteX87" fmla="*/ 687073 w 6095996"/>
              <a:gd name="connsiteY87" fmla="*/ 3022482 h 3428998"/>
              <a:gd name="connsiteX88" fmla="*/ 0 w 6095996"/>
              <a:gd name="connsiteY88" fmla="*/ 0 h 3428998"/>
              <a:gd name="connsiteX89" fmla="*/ 6095996 w 6095996"/>
              <a:gd name="connsiteY89" fmla="*/ 0 h 3428998"/>
              <a:gd name="connsiteX90" fmla="*/ 6095996 w 6095996"/>
              <a:gd name="connsiteY90" fmla="*/ 3428998 h 3428998"/>
              <a:gd name="connsiteX91" fmla="*/ 0 w 6095996"/>
              <a:gd name="connsiteY91" fmla="*/ 3428998 h 3428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6095996" h="3428998">
                <a:moveTo>
                  <a:pt x="1146049" y="3041536"/>
                </a:moveTo>
                <a:lnTo>
                  <a:pt x="1157832" y="3076509"/>
                </a:lnTo>
                <a:lnTo>
                  <a:pt x="1134642" y="3076509"/>
                </a:lnTo>
                <a:close/>
                <a:moveTo>
                  <a:pt x="788169" y="3041536"/>
                </a:moveTo>
                <a:lnTo>
                  <a:pt x="799952" y="3076509"/>
                </a:lnTo>
                <a:lnTo>
                  <a:pt x="776762" y="3076509"/>
                </a:lnTo>
                <a:close/>
                <a:moveTo>
                  <a:pt x="1132323" y="3022545"/>
                </a:moveTo>
                <a:lnTo>
                  <a:pt x="1100859" y="3113676"/>
                </a:lnTo>
                <a:lnTo>
                  <a:pt x="1123109" y="3113676"/>
                </a:lnTo>
                <a:lnTo>
                  <a:pt x="1128876" y="3095062"/>
                </a:lnTo>
                <a:lnTo>
                  <a:pt x="1163786" y="3095062"/>
                </a:lnTo>
                <a:lnTo>
                  <a:pt x="1169740" y="3113676"/>
                </a:lnTo>
                <a:lnTo>
                  <a:pt x="1191614" y="3113676"/>
                </a:lnTo>
                <a:lnTo>
                  <a:pt x="1159148" y="3022545"/>
                </a:lnTo>
                <a:close/>
                <a:moveTo>
                  <a:pt x="961907" y="3022545"/>
                </a:moveTo>
                <a:cubicBezTo>
                  <a:pt x="944358" y="3022545"/>
                  <a:pt x="933640" y="3032824"/>
                  <a:pt x="933640" y="3050248"/>
                </a:cubicBezTo>
                <a:cubicBezTo>
                  <a:pt x="933640" y="3067672"/>
                  <a:pt x="945987" y="3076823"/>
                  <a:pt x="961907" y="3076823"/>
                </a:cubicBezTo>
                <a:lnTo>
                  <a:pt x="983467" y="3076823"/>
                </a:lnTo>
                <a:cubicBezTo>
                  <a:pt x="988920" y="3076823"/>
                  <a:pt x="991678" y="3080959"/>
                  <a:pt x="991678" y="3085284"/>
                </a:cubicBezTo>
                <a:cubicBezTo>
                  <a:pt x="991678" y="3089734"/>
                  <a:pt x="988920" y="3093745"/>
                  <a:pt x="983467" y="3093745"/>
                </a:cubicBezTo>
                <a:lnTo>
                  <a:pt x="937338" y="3093745"/>
                </a:lnTo>
                <a:lnTo>
                  <a:pt x="937338" y="3113676"/>
                </a:lnTo>
                <a:lnTo>
                  <a:pt x="982715" y="3113676"/>
                </a:lnTo>
                <a:cubicBezTo>
                  <a:pt x="1000703" y="3113676"/>
                  <a:pt x="1011358" y="3103774"/>
                  <a:pt x="1011358" y="3085284"/>
                </a:cubicBezTo>
                <a:cubicBezTo>
                  <a:pt x="1011358" y="3068612"/>
                  <a:pt x="1000641" y="3058709"/>
                  <a:pt x="986727" y="3058709"/>
                </a:cubicBezTo>
                <a:lnTo>
                  <a:pt x="961907" y="3058709"/>
                </a:lnTo>
                <a:cubicBezTo>
                  <a:pt x="956078" y="3058709"/>
                  <a:pt x="953320" y="3054698"/>
                  <a:pt x="953320" y="3050248"/>
                </a:cubicBezTo>
                <a:cubicBezTo>
                  <a:pt x="953320" y="3045798"/>
                  <a:pt x="956078" y="3041787"/>
                  <a:pt x="961907" y="3041787"/>
                </a:cubicBezTo>
                <a:lnTo>
                  <a:pt x="1004965" y="3041787"/>
                </a:lnTo>
                <a:lnTo>
                  <a:pt x="1004965" y="3022545"/>
                </a:lnTo>
                <a:close/>
                <a:moveTo>
                  <a:pt x="841570" y="3022545"/>
                </a:moveTo>
                <a:lnTo>
                  <a:pt x="841570" y="3113676"/>
                </a:lnTo>
                <a:lnTo>
                  <a:pt x="862691" y="3113676"/>
                </a:lnTo>
                <a:lnTo>
                  <a:pt x="862691" y="3057456"/>
                </a:lnTo>
                <a:lnTo>
                  <a:pt x="898981" y="3113488"/>
                </a:lnTo>
                <a:lnTo>
                  <a:pt x="898981" y="3113676"/>
                </a:lnTo>
                <a:lnTo>
                  <a:pt x="920855" y="3113676"/>
                </a:lnTo>
                <a:lnTo>
                  <a:pt x="920792" y="3093996"/>
                </a:lnTo>
                <a:lnTo>
                  <a:pt x="920667" y="3022545"/>
                </a:lnTo>
                <a:lnTo>
                  <a:pt x="899670" y="3022545"/>
                </a:lnTo>
                <a:lnTo>
                  <a:pt x="899670" y="3079831"/>
                </a:lnTo>
                <a:lnTo>
                  <a:pt x="863067" y="3022545"/>
                </a:lnTo>
                <a:close/>
                <a:moveTo>
                  <a:pt x="774443" y="3022545"/>
                </a:moveTo>
                <a:lnTo>
                  <a:pt x="742918" y="3113676"/>
                </a:lnTo>
                <a:lnTo>
                  <a:pt x="765167" y="3113676"/>
                </a:lnTo>
                <a:lnTo>
                  <a:pt x="770934" y="3095062"/>
                </a:lnTo>
                <a:lnTo>
                  <a:pt x="805844" y="3095062"/>
                </a:lnTo>
                <a:lnTo>
                  <a:pt x="811798" y="3113676"/>
                </a:lnTo>
                <a:lnTo>
                  <a:pt x="833735" y="3113676"/>
                </a:lnTo>
                <a:lnTo>
                  <a:pt x="801269" y="3022545"/>
                </a:lnTo>
                <a:close/>
                <a:moveTo>
                  <a:pt x="604403" y="3022545"/>
                </a:moveTo>
                <a:cubicBezTo>
                  <a:pt x="586791" y="3022545"/>
                  <a:pt x="576136" y="3032824"/>
                  <a:pt x="576136" y="3050248"/>
                </a:cubicBezTo>
                <a:cubicBezTo>
                  <a:pt x="576136" y="3067672"/>
                  <a:pt x="588484" y="3076823"/>
                  <a:pt x="604403" y="3076823"/>
                </a:cubicBezTo>
                <a:lnTo>
                  <a:pt x="625964" y="3076823"/>
                </a:lnTo>
                <a:cubicBezTo>
                  <a:pt x="631416" y="3076823"/>
                  <a:pt x="634174" y="3080959"/>
                  <a:pt x="634174" y="3085284"/>
                </a:cubicBezTo>
                <a:cubicBezTo>
                  <a:pt x="634174" y="3089734"/>
                  <a:pt x="631416" y="3093745"/>
                  <a:pt x="625964" y="3093745"/>
                </a:cubicBezTo>
                <a:lnTo>
                  <a:pt x="579772" y="3093745"/>
                </a:lnTo>
                <a:lnTo>
                  <a:pt x="579772" y="3113676"/>
                </a:lnTo>
                <a:lnTo>
                  <a:pt x="625149" y="3113676"/>
                </a:lnTo>
                <a:cubicBezTo>
                  <a:pt x="643137" y="3113676"/>
                  <a:pt x="653792" y="3103774"/>
                  <a:pt x="653792" y="3085284"/>
                </a:cubicBezTo>
                <a:cubicBezTo>
                  <a:pt x="653792" y="3068612"/>
                  <a:pt x="643137" y="3058709"/>
                  <a:pt x="629223" y="3058709"/>
                </a:cubicBezTo>
                <a:lnTo>
                  <a:pt x="604403" y="3058709"/>
                </a:lnTo>
                <a:cubicBezTo>
                  <a:pt x="598574" y="3058709"/>
                  <a:pt x="595817" y="3054698"/>
                  <a:pt x="595817" y="3050248"/>
                </a:cubicBezTo>
                <a:cubicBezTo>
                  <a:pt x="595817" y="3045798"/>
                  <a:pt x="598574" y="3041787"/>
                  <a:pt x="604403" y="3041787"/>
                </a:cubicBezTo>
                <a:lnTo>
                  <a:pt x="647461" y="3041787"/>
                </a:lnTo>
                <a:lnTo>
                  <a:pt x="647461" y="3022545"/>
                </a:lnTo>
                <a:close/>
                <a:moveTo>
                  <a:pt x="1023956" y="3022482"/>
                </a:moveTo>
                <a:lnTo>
                  <a:pt x="1023956" y="3113676"/>
                </a:lnTo>
                <a:lnTo>
                  <a:pt x="1045015" y="3113676"/>
                </a:lnTo>
                <a:lnTo>
                  <a:pt x="1045015" y="3075193"/>
                </a:lnTo>
                <a:lnTo>
                  <a:pt x="1074975" y="3113676"/>
                </a:lnTo>
                <a:lnTo>
                  <a:pt x="1099481" y="3113676"/>
                </a:lnTo>
                <a:lnTo>
                  <a:pt x="1065009" y="3068111"/>
                </a:lnTo>
                <a:lnTo>
                  <a:pt x="1099481" y="3022482"/>
                </a:lnTo>
                <a:lnTo>
                  <a:pt x="1074975" y="3022482"/>
                </a:lnTo>
                <a:lnTo>
                  <a:pt x="1045015" y="3060965"/>
                </a:lnTo>
                <a:lnTo>
                  <a:pt x="1045015" y="3022482"/>
                </a:lnTo>
                <a:close/>
                <a:moveTo>
                  <a:pt x="666076" y="3022482"/>
                </a:moveTo>
                <a:lnTo>
                  <a:pt x="666076" y="3113676"/>
                </a:lnTo>
                <a:lnTo>
                  <a:pt x="687073" y="3113676"/>
                </a:lnTo>
                <a:lnTo>
                  <a:pt x="687073" y="3075193"/>
                </a:lnTo>
                <a:lnTo>
                  <a:pt x="717032" y="3113676"/>
                </a:lnTo>
                <a:lnTo>
                  <a:pt x="741601" y="3113676"/>
                </a:lnTo>
                <a:lnTo>
                  <a:pt x="707067" y="3068111"/>
                </a:lnTo>
                <a:lnTo>
                  <a:pt x="741601" y="3022482"/>
                </a:lnTo>
                <a:lnTo>
                  <a:pt x="717032" y="3022482"/>
                </a:lnTo>
                <a:lnTo>
                  <a:pt x="687073" y="3060965"/>
                </a:lnTo>
                <a:lnTo>
                  <a:pt x="687073" y="3022482"/>
                </a:lnTo>
                <a:close/>
                <a:moveTo>
                  <a:pt x="0" y="0"/>
                </a:moveTo>
                <a:lnTo>
                  <a:pt x="6095996" y="0"/>
                </a:lnTo>
                <a:lnTo>
                  <a:pt x="6095996" y="3428998"/>
                </a:lnTo>
                <a:lnTo>
                  <a:pt x="0" y="3428998"/>
                </a:lnTo>
                <a:close/>
              </a:path>
            </a:pathLst>
          </a:custGeom>
          <a:solidFill>
            <a:srgbClr val="ECECEC"/>
          </a:solidFill>
        </p:spPr>
        <p:txBody>
          <a:bodyPr wrap="square" lIns="36000" tIns="36000" rIns="36000" bIns="36000" anchor="t">
            <a:noAutofit/>
          </a:bodyPr>
          <a:lstStyle>
            <a:lvl1pPr marL="0" indent="0" algn="ctr">
              <a:buNone/>
              <a:defRPr sz="1300">
                <a:solidFill>
                  <a:schemeClr val="tx2"/>
                </a:solidFill>
              </a:defRPr>
            </a:lvl1pPr>
          </a:lstStyle>
          <a:p>
            <a:r>
              <a:rPr lang="en-US" noProof="0"/>
              <a:t>If the image placeholder icon is underneath the text box, select the gray placeholder box and then go to insert in the top menu and add picture. Do NOT move the textbox!</a:t>
            </a:r>
          </a:p>
          <a:p>
            <a:endParaRPr lang="en-US" noProof="0"/>
          </a:p>
        </p:txBody>
      </p:sp>
      <p:sp>
        <p:nvSpPr>
          <p:cNvPr id="13" name="Picture Placeholder 17">
            <a:extLst>
              <a:ext uri="{FF2B5EF4-FFF2-40B4-BE49-F238E27FC236}">
                <a16:creationId xmlns:a16="http://schemas.microsoft.com/office/drawing/2014/main" id="{F6D91FA2-3158-514E-AC7C-830A94A59D60}"/>
              </a:ext>
            </a:extLst>
          </p:cNvPr>
          <p:cNvSpPr>
            <a:spLocks noGrp="1"/>
          </p:cNvSpPr>
          <p:nvPr>
            <p:ph type="pic" sz="quarter" idx="18" hasCustomPrompt="1"/>
          </p:nvPr>
        </p:nvSpPr>
        <p:spPr>
          <a:xfrm>
            <a:off x="6096557" y="3429002"/>
            <a:ext cx="6095997" cy="3428998"/>
          </a:xfrm>
          <a:custGeom>
            <a:avLst/>
            <a:gdLst>
              <a:gd name="connsiteX0" fmla="*/ 0 w 6095997"/>
              <a:gd name="connsiteY0" fmla="*/ 0 h 3428998"/>
              <a:gd name="connsiteX1" fmla="*/ 6095997 w 6095997"/>
              <a:gd name="connsiteY1" fmla="*/ 0 h 3428998"/>
              <a:gd name="connsiteX2" fmla="*/ 6095997 w 6095997"/>
              <a:gd name="connsiteY2" fmla="*/ 3428998 h 3428998"/>
              <a:gd name="connsiteX3" fmla="*/ 0 w 6095997"/>
              <a:gd name="connsiteY3" fmla="*/ 3428998 h 3428998"/>
            </a:gdLst>
            <a:ahLst/>
            <a:cxnLst>
              <a:cxn ang="0">
                <a:pos x="connsiteX0" y="connsiteY0"/>
              </a:cxn>
              <a:cxn ang="0">
                <a:pos x="connsiteX1" y="connsiteY1"/>
              </a:cxn>
              <a:cxn ang="0">
                <a:pos x="connsiteX2" y="connsiteY2"/>
              </a:cxn>
              <a:cxn ang="0">
                <a:pos x="connsiteX3" y="connsiteY3"/>
              </a:cxn>
            </a:cxnLst>
            <a:rect l="l" t="t" r="r" b="b"/>
            <a:pathLst>
              <a:path w="6095997" h="3428998">
                <a:moveTo>
                  <a:pt x="0" y="0"/>
                </a:moveTo>
                <a:lnTo>
                  <a:pt x="6095997" y="0"/>
                </a:lnTo>
                <a:lnTo>
                  <a:pt x="6095997" y="3428998"/>
                </a:lnTo>
                <a:lnTo>
                  <a:pt x="0" y="3428998"/>
                </a:lnTo>
                <a:close/>
              </a:path>
            </a:pathLst>
          </a:custGeom>
          <a:solidFill>
            <a:srgbClr val="ECECEC"/>
          </a:solidFill>
        </p:spPr>
        <p:txBody>
          <a:bodyPr wrap="square" lIns="36000" tIns="36000" rIns="36000" bIns="36000" anchor="t">
            <a:noAutofit/>
          </a:bodyPr>
          <a:lstStyle>
            <a:lvl1pPr marL="0" indent="0" algn="ctr">
              <a:buNone/>
              <a:defRPr sz="1300">
                <a:solidFill>
                  <a:schemeClr val="tx2"/>
                </a:solidFill>
              </a:defRPr>
            </a:lvl1pPr>
          </a:lstStyle>
          <a:p>
            <a:r>
              <a:rPr lang="en-US" noProof="0"/>
              <a:t>If the image placeholder icon is underneath the text box, select the gray placeholder box and then go to insert in the top menu and add picture. Do NOT move the textbox!</a:t>
            </a:r>
          </a:p>
          <a:p>
            <a:endParaRPr lang="en-US" noProof="0"/>
          </a:p>
        </p:txBody>
      </p:sp>
      <p:sp>
        <p:nvSpPr>
          <p:cNvPr id="10" name="Picture Placeholder 11">
            <a:extLst>
              <a:ext uri="{FF2B5EF4-FFF2-40B4-BE49-F238E27FC236}">
                <a16:creationId xmlns:a16="http://schemas.microsoft.com/office/drawing/2014/main" id="{1B7FC29D-F898-3A44-989C-87EB7E0AE74E}"/>
              </a:ext>
            </a:extLst>
          </p:cNvPr>
          <p:cNvSpPr>
            <a:spLocks noGrp="1"/>
          </p:cNvSpPr>
          <p:nvPr>
            <p:ph type="pic" sz="quarter" idx="13" hasCustomPrompt="1"/>
          </p:nvPr>
        </p:nvSpPr>
        <p:spPr>
          <a:xfrm>
            <a:off x="3" y="3"/>
            <a:ext cx="6095997" cy="3428998"/>
          </a:xfrm>
          <a:custGeom>
            <a:avLst/>
            <a:gdLst>
              <a:gd name="connsiteX0" fmla="*/ 0 w 6095997"/>
              <a:gd name="connsiteY0" fmla="*/ 0 h 3428998"/>
              <a:gd name="connsiteX1" fmla="*/ 6095997 w 6095997"/>
              <a:gd name="connsiteY1" fmla="*/ 0 h 3428998"/>
              <a:gd name="connsiteX2" fmla="*/ 6095997 w 6095997"/>
              <a:gd name="connsiteY2" fmla="*/ 3428998 h 3428998"/>
              <a:gd name="connsiteX3" fmla="*/ 0 w 6095997"/>
              <a:gd name="connsiteY3" fmla="*/ 3428998 h 3428998"/>
            </a:gdLst>
            <a:ahLst/>
            <a:cxnLst>
              <a:cxn ang="0">
                <a:pos x="connsiteX0" y="connsiteY0"/>
              </a:cxn>
              <a:cxn ang="0">
                <a:pos x="connsiteX1" y="connsiteY1"/>
              </a:cxn>
              <a:cxn ang="0">
                <a:pos x="connsiteX2" y="connsiteY2"/>
              </a:cxn>
              <a:cxn ang="0">
                <a:pos x="connsiteX3" y="connsiteY3"/>
              </a:cxn>
            </a:cxnLst>
            <a:rect l="l" t="t" r="r" b="b"/>
            <a:pathLst>
              <a:path w="6095997" h="3428998">
                <a:moveTo>
                  <a:pt x="0" y="0"/>
                </a:moveTo>
                <a:lnTo>
                  <a:pt x="6095997" y="0"/>
                </a:lnTo>
                <a:lnTo>
                  <a:pt x="6095997" y="3428998"/>
                </a:lnTo>
                <a:lnTo>
                  <a:pt x="0" y="3428998"/>
                </a:lnTo>
                <a:close/>
              </a:path>
            </a:pathLst>
          </a:custGeom>
          <a:solidFill>
            <a:srgbClr val="ECECEC"/>
          </a:solidFill>
        </p:spPr>
        <p:txBody>
          <a:bodyPr wrap="square" lIns="36000" tIns="36000" rIns="36000" bIns="36000" anchor="t">
            <a:noAutofit/>
          </a:bodyPr>
          <a:lstStyle>
            <a:lvl1pPr marL="0" indent="0" algn="ctr">
              <a:buNone/>
              <a:defRPr sz="1300">
                <a:solidFill>
                  <a:schemeClr val="tx2"/>
                </a:solidFill>
              </a:defRPr>
            </a:lvl1pPr>
          </a:lstStyle>
          <a:p>
            <a:r>
              <a:rPr lang="en-US" noProof="0"/>
              <a:t>If the image placeholder icon is underneath the text box, select the gray placeholder box and then go to insert in the top menu and add picture. Do NOT move the textbox!</a:t>
            </a:r>
          </a:p>
          <a:p>
            <a:endParaRPr lang="en-US" noProof="0"/>
          </a:p>
        </p:txBody>
      </p:sp>
      <p:sp>
        <p:nvSpPr>
          <p:cNvPr id="11" name="Picture Placeholder 13">
            <a:extLst>
              <a:ext uri="{FF2B5EF4-FFF2-40B4-BE49-F238E27FC236}">
                <a16:creationId xmlns:a16="http://schemas.microsoft.com/office/drawing/2014/main" id="{F7C6A77F-C0D1-A44A-862B-B2F2882592E3}"/>
              </a:ext>
            </a:extLst>
          </p:cNvPr>
          <p:cNvSpPr>
            <a:spLocks noGrp="1"/>
          </p:cNvSpPr>
          <p:nvPr>
            <p:ph type="pic" sz="quarter" idx="16" hasCustomPrompt="1"/>
          </p:nvPr>
        </p:nvSpPr>
        <p:spPr>
          <a:xfrm>
            <a:off x="6096557" y="3"/>
            <a:ext cx="6095997" cy="3428998"/>
          </a:xfrm>
          <a:custGeom>
            <a:avLst/>
            <a:gdLst>
              <a:gd name="connsiteX0" fmla="*/ 0 w 6095997"/>
              <a:gd name="connsiteY0" fmla="*/ 0 h 3428998"/>
              <a:gd name="connsiteX1" fmla="*/ 6095997 w 6095997"/>
              <a:gd name="connsiteY1" fmla="*/ 0 h 3428998"/>
              <a:gd name="connsiteX2" fmla="*/ 6095997 w 6095997"/>
              <a:gd name="connsiteY2" fmla="*/ 3428998 h 3428998"/>
              <a:gd name="connsiteX3" fmla="*/ 0 w 6095997"/>
              <a:gd name="connsiteY3" fmla="*/ 3428998 h 3428998"/>
            </a:gdLst>
            <a:ahLst/>
            <a:cxnLst>
              <a:cxn ang="0">
                <a:pos x="connsiteX0" y="connsiteY0"/>
              </a:cxn>
              <a:cxn ang="0">
                <a:pos x="connsiteX1" y="connsiteY1"/>
              </a:cxn>
              <a:cxn ang="0">
                <a:pos x="connsiteX2" y="connsiteY2"/>
              </a:cxn>
              <a:cxn ang="0">
                <a:pos x="connsiteX3" y="connsiteY3"/>
              </a:cxn>
            </a:cxnLst>
            <a:rect l="l" t="t" r="r" b="b"/>
            <a:pathLst>
              <a:path w="6095997" h="3428998">
                <a:moveTo>
                  <a:pt x="0" y="0"/>
                </a:moveTo>
                <a:lnTo>
                  <a:pt x="6095997" y="0"/>
                </a:lnTo>
                <a:lnTo>
                  <a:pt x="6095997" y="3428998"/>
                </a:lnTo>
                <a:lnTo>
                  <a:pt x="0" y="3428998"/>
                </a:lnTo>
                <a:close/>
              </a:path>
            </a:pathLst>
          </a:custGeom>
          <a:solidFill>
            <a:srgbClr val="ECECEC"/>
          </a:solidFill>
        </p:spPr>
        <p:txBody>
          <a:bodyPr wrap="square" lIns="36000" tIns="36000" rIns="36000" bIns="36000" anchor="t">
            <a:noAutofit/>
          </a:bodyPr>
          <a:lstStyle>
            <a:lvl1pPr marL="0" indent="0" algn="ctr">
              <a:buNone/>
              <a:defRPr sz="1300">
                <a:solidFill>
                  <a:schemeClr val="tx2"/>
                </a:solidFill>
              </a:defRPr>
            </a:lvl1pPr>
          </a:lstStyle>
          <a:p>
            <a:r>
              <a:rPr lang="en-US" noProof="0"/>
              <a:t>If the image placeholder icon is underneath the text box, select the gray placeholder box and then go to insert in the top menu and add picture. Do NOT move the textbox!</a:t>
            </a:r>
          </a:p>
          <a:p>
            <a:endParaRPr lang="en-US" noProof="0"/>
          </a:p>
        </p:txBody>
      </p:sp>
      <p:sp>
        <p:nvSpPr>
          <p:cNvPr id="14" name="Picture Placeholder 4">
            <a:extLst>
              <a:ext uri="{FF2B5EF4-FFF2-40B4-BE49-F238E27FC236}">
                <a16:creationId xmlns:a16="http://schemas.microsoft.com/office/drawing/2014/main" id="{81D91098-732B-074B-B219-BF059229333C}"/>
              </a:ext>
            </a:extLst>
          </p:cNvPr>
          <p:cNvSpPr>
            <a:spLocks noGrp="1"/>
          </p:cNvSpPr>
          <p:nvPr>
            <p:ph type="pic" sz="quarter" idx="39" hasCustomPrompt="1"/>
          </p:nvPr>
        </p:nvSpPr>
        <p:spPr>
          <a:xfrm>
            <a:off x="2058068" y="800102"/>
            <a:ext cx="1979867" cy="1828800"/>
          </a:xfrm>
        </p:spPr>
        <p:txBody>
          <a:bodyPr/>
          <a:lstStyle>
            <a:lvl1pPr marL="12700" indent="0" algn="ctr">
              <a:buNone/>
              <a:defRPr sz="1300">
                <a:solidFill>
                  <a:schemeClr val="tx2"/>
                </a:solidFill>
              </a:defRPr>
            </a:lvl1pPr>
          </a:lstStyle>
          <a:p>
            <a:r>
              <a:rPr lang="en-US" noProof="0"/>
              <a:t>Click to add icon</a:t>
            </a:r>
          </a:p>
        </p:txBody>
      </p:sp>
      <p:sp>
        <p:nvSpPr>
          <p:cNvPr id="15" name="Picture Placeholder 4">
            <a:extLst>
              <a:ext uri="{FF2B5EF4-FFF2-40B4-BE49-F238E27FC236}">
                <a16:creationId xmlns:a16="http://schemas.microsoft.com/office/drawing/2014/main" id="{71F87AE1-7112-F54A-A977-6BBBC300F50F}"/>
              </a:ext>
            </a:extLst>
          </p:cNvPr>
          <p:cNvSpPr>
            <a:spLocks noGrp="1"/>
          </p:cNvSpPr>
          <p:nvPr>
            <p:ph type="pic" sz="quarter" idx="40" hasCustomPrompt="1"/>
          </p:nvPr>
        </p:nvSpPr>
        <p:spPr>
          <a:xfrm>
            <a:off x="2058069" y="4229101"/>
            <a:ext cx="1979867" cy="1828800"/>
          </a:xfrm>
        </p:spPr>
        <p:txBody>
          <a:bodyPr/>
          <a:lstStyle>
            <a:lvl1pPr marL="12700" indent="0" algn="ctr">
              <a:buNone/>
              <a:defRPr sz="1300">
                <a:solidFill>
                  <a:schemeClr val="tx2"/>
                </a:solidFill>
              </a:defRPr>
            </a:lvl1pPr>
          </a:lstStyle>
          <a:p>
            <a:r>
              <a:rPr lang="en-US" noProof="0"/>
              <a:t>Click to add icon</a:t>
            </a:r>
          </a:p>
        </p:txBody>
      </p:sp>
      <p:sp>
        <p:nvSpPr>
          <p:cNvPr id="18" name="Picture Placeholder 4">
            <a:extLst>
              <a:ext uri="{FF2B5EF4-FFF2-40B4-BE49-F238E27FC236}">
                <a16:creationId xmlns:a16="http://schemas.microsoft.com/office/drawing/2014/main" id="{19DE4C17-73C1-B043-AFB8-39C52FFF977C}"/>
              </a:ext>
            </a:extLst>
          </p:cNvPr>
          <p:cNvSpPr>
            <a:spLocks noGrp="1"/>
          </p:cNvSpPr>
          <p:nvPr>
            <p:ph type="pic" sz="quarter" idx="41" hasCustomPrompt="1"/>
          </p:nvPr>
        </p:nvSpPr>
        <p:spPr>
          <a:xfrm>
            <a:off x="8154622" y="800102"/>
            <a:ext cx="1979867" cy="1828800"/>
          </a:xfrm>
        </p:spPr>
        <p:txBody>
          <a:bodyPr/>
          <a:lstStyle>
            <a:lvl1pPr marL="12700" indent="0" algn="ctr">
              <a:buNone/>
              <a:defRPr sz="1300">
                <a:solidFill>
                  <a:schemeClr val="tx2"/>
                </a:solidFill>
              </a:defRPr>
            </a:lvl1pPr>
          </a:lstStyle>
          <a:p>
            <a:r>
              <a:rPr lang="en-US" noProof="0"/>
              <a:t>Click to add icon</a:t>
            </a:r>
          </a:p>
        </p:txBody>
      </p:sp>
      <p:sp>
        <p:nvSpPr>
          <p:cNvPr id="19" name="Picture Placeholder 4">
            <a:extLst>
              <a:ext uri="{FF2B5EF4-FFF2-40B4-BE49-F238E27FC236}">
                <a16:creationId xmlns:a16="http://schemas.microsoft.com/office/drawing/2014/main" id="{9EAD56EA-10D4-4F4A-832B-AA6DC1EA75DB}"/>
              </a:ext>
            </a:extLst>
          </p:cNvPr>
          <p:cNvSpPr>
            <a:spLocks noGrp="1"/>
          </p:cNvSpPr>
          <p:nvPr>
            <p:ph type="pic" sz="quarter" idx="42" hasCustomPrompt="1"/>
          </p:nvPr>
        </p:nvSpPr>
        <p:spPr>
          <a:xfrm>
            <a:off x="8154622" y="4229101"/>
            <a:ext cx="1979867" cy="1828800"/>
          </a:xfrm>
        </p:spPr>
        <p:txBody>
          <a:bodyPr/>
          <a:lstStyle>
            <a:lvl1pPr marL="12700" indent="0" algn="ctr">
              <a:buNone/>
              <a:defRPr sz="1300">
                <a:solidFill>
                  <a:schemeClr val="tx2"/>
                </a:solidFill>
              </a:defRPr>
            </a:lvl1pPr>
          </a:lstStyle>
          <a:p>
            <a:r>
              <a:rPr lang="en-US" noProof="0"/>
              <a:t>Click to add icon</a:t>
            </a:r>
          </a:p>
        </p:txBody>
      </p:sp>
      <p:sp>
        <p:nvSpPr>
          <p:cNvPr id="21" name="textruta 5">
            <a:extLst>
              <a:ext uri="{FF2B5EF4-FFF2-40B4-BE49-F238E27FC236}">
                <a16:creationId xmlns:a16="http://schemas.microsoft.com/office/drawing/2014/main" id="{A867E855-1CA1-124C-A73A-4577E63450A5}"/>
              </a:ext>
            </a:extLst>
          </p:cNvPr>
          <p:cNvSpPr txBox="1"/>
          <p:nvPr userDrawn="1"/>
        </p:nvSpPr>
        <p:spPr>
          <a:xfrm>
            <a:off x="12395260" y="1453483"/>
            <a:ext cx="1681523" cy="646331"/>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the textboxes disappears after adding or changing an imag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right click the image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and use – </a:t>
            </a:r>
            <a:r>
              <a:rPr lang="en-US" sz="900" b="1" noProof="0">
                <a:solidFill>
                  <a:schemeClr val="tx1">
                    <a:lumMod val="65000"/>
                    <a:lumOff val="35000"/>
                  </a:schemeClr>
                </a:solidFill>
                <a:latin typeface="Arial" panose="020B0604020202020204" pitchFamily="34" charset="0"/>
                <a:cs typeface="Arial" panose="020B0604020202020204" pitchFamily="34" charset="0"/>
              </a:rPr>
              <a:t>S</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end to back</a:t>
            </a:r>
          </a:p>
        </p:txBody>
      </p:sp>
      <p:sp>
        <p:nvSpPr>
          <p:cNvPr id="22" name="textruta 21">
            <a:extLst>
              <a:ext uri="{FF2B5EF4-FFF2-40B4-BE49-F238E27FC236}">
                <a16:creationId xmlns:a16="http://schemas.microsoft.com/office/drawing/2014/main" id="{5C3A5ECD-B09B-A84A-8F8E-F03DFD781083}"/>
              </a:ext>
            </a:extLst>
          </p:cNvPr>
          <p:cNvSpPr txBox="1"/>
          <p:nvPr userDrawn="1"/>
        </p:nvSpPr>
        <p:spPr>
          <a:xfrm>
            <a:off x="12395260" y="-12189"/>
            <a:ext cx="1681523" cy="1338828"/>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you need to change the color of the logo, right click outside work area,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Format Background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from context menu and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Solid fill</a:t>
            </a:r>
            <a:r>
              <a:rPr lang="en-US" sz="900" baseline="0" noProof="0">
                <a:solidFill>
                  <a:schemeClr val="tx1">
                    <a:lumMod val="65000"/>
                    <a:lumOff val="35000"/>
                  </a:schemeClr>
                </a:solidFill>
                <a:latin typeface="Arial" panose="020B0604020202020204" pitchFamily="34" charset="0"/>
                <a:cs typeface="Arial" panose="020B0604020202020204" pitchFamily="34" charset="0"/>
              </a:rPr>
              <a:t> –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White or Blue</a:t>
            </a: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p:txBody>
      </p:sp>
      <p:sp>
        <p:nvSpPr>
          <p:cNvPr id="23" name="Rektangel 22">
            <a:extLst>
              <a:ext uri="{FF2B5EF4-FFF2-40B4-BE49-F238E27FC236}">
                <a16:creationId xmlns:a16="http://schemas.microsoft.com/office/drawing/2014/main" id="{D93BA509-6EA5-E74C-96F8-12235769CEBF}"/>
              </a:ext>
            </a:extLst>
          </p:cNvPr>
          <p:cNvSpPr/>
          <p:nvPr userDrawn="1"/>
        </p:nvSpPr>
        <p:spPr>
          <a:xfrm>
            <a:off x="13255337" y="926211"/>
            <a:ext cx="341194" cy="305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4" name="Rektangel 23">
            <a:extLst>
              <a:ext uri="{FF2B5EF4-FFF2-40B4-BE49-F238E27FC236}">
                <a16:creationId xmlns:a16="http://schemas.microsoft.com/office/drawing/2014/main" id="{FB1B6B98-C666-824F-AC61-3E64E1ECD821}"/>
              </a:ext>
            </a:extLst>
          </p:cNvPr>
          <p:cNvSpPr/>
          <p:nvPr userDrawn="1"/>
        </p:nvSpPr>
        <p:spPr>
          <a:xfrm>
            <a:off x="12833410" y="926211"/>
            <a:ext cx="341194" cy="30590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5" name="Platshållare för datum 3">
            <a:extLst>
              <a:ext uri="{FF2B5EF4-FFF2-40B4-BE49-F238E27FC236}">
                <a16:creationId xmlns:a16="http://schemas.microsoft.com/office/drawing/2014/main" id="{AB7A9C74-9AB2-BB49-869A-0162E88878E6}"/>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bg1"/>
                </a:solidFill>
              </a:defRPr>
            </a:lvl1pPr>
          </a:lstStyle>
          <a:p>
            <a:fld id="{2F9806AD-009B-8D45-82A9-B9E8234B6322}" type="datetime1">
              <a:rPr lang="en-US" smtClean="0"/>
              <a:pPr/>
              <a:t>10/17/2023</a:t>
            </a:fld>
            <a:endParaRPr lang="en-US"/>
          </a:p>
        </p:txBody>
      </p:sp>
      <p:sp>
        <p:nvSpPr>
          <p:cNvPr id="26" name="Platshållare för sidfot 4">
            <a:extLst>
              <a:ext uri="{FF2B5EF4-FFF2-40B4-BE49-F238E27FC236}">
                <a16:creationId xmlns:a16="http://schemas.microsoft.com/office/drawing/2014/main" id="{C32F7104-2978-1146-B115-B3C3ABC66A81}"/>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bg1"/>
                </a:solidFill>
              </a:defRPr>
            </a:lvl1pPr>
          </a:lstStyle>
          <a:p>
            <a:r>
              <a:rPr lang="en-US"/>
              <a:t>Go to header/footer to change text </a:t>
            </a:r>
          </a:p>
        </p:txBody>
      </p:sp>
      <p:sp>
        <p:nvSpPr>
          <p:cNvPr id="27" name="Platshållare för bildnummer 5">
            <a:extLst>
              <a:ext uri="{FF2B5EF4-FFF2-40B4-BE49-F238E27FC236}">
                <a16:creationId xmlns:a16="http://schemas.microsoft.com/office/drawing/2014/main" id="{0D35DA1E-AB9D-5147-A3BA-2D38678EF3C2}"/>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bg1"/>
                </a:solidFill>
              </a:defRPr>
            </a:lvl1pPr>
          </a:lstStyle>
          <a:p>
            <a:fld id="{EF8DBD5B-30F9-4F9C-AE39-E065C1AC514D}" type="slidenum">
              <a:rPr lang="en-US" smtClean="0"/>
              <a:pPr/>
              <a:t>‹#›</a:t>
            </a:fld>
            <a:endParaRPr lang="en-US"/>
          </a:p>
        </p:txBody>
      </p:sp>
    </p:spTree>
    <p:extLst>
      <p:ext uri="{BB962C8B-B14F-4D97-AF65-F5344CB8AC3E}">
        <p14:creationId xmlns:p14="http://schemas.microsoft.com/office/powerpoint/2010/main" val="360676057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 Two Images Graphic">
    <p:bg>
      <p:bgPr>
        <a:solidFill>
          <a:schemeClr val="bg1"/>
        </a:solidFill>
        <a:effectLst/>
      </p:bgPr>
    </p:bg>
    <p:spTree>
      <p:nvGrpSpPr>
        <p:cNvPr id="1" name=""/>
        <p:cNvGrpSpPr/>
        <p:nvPr/>
      </p:nvGrpSpPr>
      <p:grpSpPr>
        <a:xfrm>
          <a:off x="0" y="0"/>
          <a:ext cx="0" cy="0"/>
          <a:chOff x="0" y="0"/>
          <a:chExt cx="0" cy="0"/>
        </a:xfrm>
      </p:grpSpPr>
      <p:sp>
        <p:nvSpPr>
          <p:cNvPr id="16" name="Picture Placeholder 13">
            <a:extLst>
              <a:ext uri="{FF2B5EF4-FFF2-40B4-BE49-F238E27FC236}">
                <a16:creationId xmlns:a16="http://schemas.microsoft.com/office/drawing/2014/main" id="{4112384D-AFE6-0044-8D33-BD96D1F23E2F}"/>
              </a:ext>
            </a:extLst>
          </p:cNvPr>
          <p:cNvSpPr>
            <a:spLocks noGrp="1"/>
          </p:cNvSpPr>
          <p:nvPr>
            <p:ph type="pic" sz="quarter" idx="19" hasCustomPrompt="1"/>
          </p:nvPr>
        </p:nvSpPr>
        <p:spPr>
          <a:xfrm>
            <a:off x="6106523" y="3"/>
            <a:ext cx="6095997" cy="3428998"/>
          </a:xfrm>
          <a:custGeom>
            <a:avLst/>
            <a:gdLst>
              <a:gd name="connsiteX0" fmla="*/ 0 w 6095997"/>
              <a:gd name="connsiteY0" fmla="*/ 0 h 3428998"/>
              <a:gd name="connsiteX1" fmla="*/ 6095997 w 6095997"/>
              <a:gd name="connsiteY1" fmla="*/ 0 h 3428998"/>
              <a:gd name="connsiteX2" fmla="*/ 6095997 w 6095997"/>
              <a:gd name="connsiteY2" fmla="*/ 3428998 h 3428998"/>
              <a:gd name="connsiteX3" fmla="*/ 0 w 6095997"/>
              <a:gd name="connsiteY3" fmla="*/ 3428998 h 3428998"/>
            </a:gdLst>
            <a:ahLst/>
            <a:cxnLst>
              <a:cxn ang="0">
                <a:pos x="connsiteX0" y="connsiteY0"/>
              </a:cxn>
              <a:cxn ang="0">
                <a:pos x="connsiteX1" y="connsiteY1"/>
              </a:cxn>
              <a:cxn ang="0">
                <a:pos x="connsiteX2" y="connsiteY2"/>
              </a:cxn>
              <a:cxn ang="0">
                <a:pos x="connsiteX3" y="connsiteY3"/>
              </a:cxn>
            </a:cxnLst>
            <a:rect l="l" t="t" r="r" b="b"/>
            <a:pathLst>
              <a:path w="6095997" h="3428998">
                <a:moveTo>
                  <a:pt x="0" y="0"/>
                </a:moveTo>
                <a:lnTo>
                  <a:pt x="6095997" y="0"/>
                </a:lnTo>
                <a:lnTo>
                  <a:pt x="6095997" y="3428998"/>
                </a:lnTo>
                <a:lnTo>
                  <a:pt x="0" y="3428998"/>
                </a:lnTo>
                <a:close/>
              </a:path>
            </a:pathLst>
          </a:custGeom>
          <a:solidFill>
            <a:schemeClr val="accent6">
              <a:lumMod val="90000"/>
            </a:schemeClr>
          </a:solidFill>
        </p:spPr>
        <p:txBody>
          <a:bodyPr wrap="square" lIns="36000" tIns="36000" rIns="36000" bIns="36000" anchor="t">
            <a:noAutofit/>
          </a:bodyPr>
          <a:lstStyle>
            <a:lvl1pPr marL="0" indent="0" algn="ctr">
              <a:buNone/>
              <a:defRPr sz="1300">
                <a:solidFill>
                  <a:schemeClr val="tx2"/>
                </a:solidFill>
              </a:defRPr>
            </a:lvl1pPr>
          </a:lstStyle>
          <a:p>
            <a:r>
              <a:rPr lang="en-GB"/>
              <a:t>Click on the icon to add an image</a:t>
            </a:r>
          </a:p>
        </p:txBody>
      </p:sp>
      <p:sp>
        <p:nvSpPr>
          <p:cNvPr id="2" name="Date Placeholder 1">
            <a:extLst>
              <a:ext uri="{FF2B5EF4-FFF2-40B4-BE49-F238E27FC236}">
                <a16:creationId xmlns:a16="http://schemas.microsoft.com/office/drawing/2014/main" id="{CB933F6B-2C2A-DB4E-8D3A-6DB67A584F23}"/>
              </a:ext>
            </a:extLst>
          </p:cNvPr>
          <p:cNvSpPr>
            <a:spLocks noGrp="1"/>
          </p:cNvSpPr>
          <p:nvPr>
            <p:ph type="dt" sz="half" idx="16"/>
          </p:nvPr>
        </p:nvSpPr>
        <p:spPr>
          <a:xfrm>
            <a:off x="2185246" y="6453942"/>
            <a:ext cx="1878120" cy="112593"/>
          </a:xfrm>
          <a:prstGeom prst="rect">
            <a:avLst/>
          </a:prstGeom>
        </p:spPr>
        <p:txBody>
          <a:bodyPr/>
          <a:lstStyle>
            <a:lvl1pPr>
              <a:defRPr>
                <a:solidFill>
                  <a:schemeClr val="bg1"/>
                </a:solidFill>
              </a:defRPr>
            </a:lvl1pPr>
          </a:lstStyle>
          <a:p>
            <a:fld id="{8A5605B0-C6A0-9443-916C-A9A3879D282C}" type="datetime1">
              <a:rPr lang="sv-SE" smtClean="0"/>
              <a:t>2023-10-17</a:t>
            </a:fld>
            <a:endParaRPr lang="en-US"/>
          </a:p>
        </p:txBody>
      </p:sp>
      <p:sp>
        <p:nvSpPr>
          <p:cNvPr id="13" name="Picture Placeholder 12">
            <a:extLst>
              <a:ext uri="{FF2B5EF4-FFF2-40B4-BE49-F238E27FC236}">
                <a16:creationId xmlns:a16="http://schemas.microsoft.com/office/drawing/2014/main" id="{E694F34C-2436-894C-9A38-5ECC387754EF}"/>
              </a:ext>
            </a:extLst>
          </p:cNvPr>
          <p:cNvSpPr>
            <a:spLocks noGrp="1"/>
          </p:cNvSpPr>
          <p:nvPr>
            <p:ph type="pic" sz="quarter" idx="13" hasCustomPrompt="1"/>
          </p:nvPr>
        </p:nvSpPr>
        <p:spPr>
          <a:xfrm>
            <a:off x="5" y="5"/>
            <a:ext cx="6109247" cy="6857997"/>
          </a:xfrm>
          <a:custGeom>
            <a:avLst/>
            <a:gdLst>
              <a:gd name="connsiteX0" fmla="*/ 1146049 w 6094408"/>
              <a:gd name="connsiteY0" fmla="*/ 6470534 h 6857997"/>
              <a:gd name="connsiteX1" fmla="*/ 1157832 w 6094408"/>
              <a:gd name="connsiteY1" fmla="*/ 6505507 h 6857997"/>
              <a:gd name="connsiteX2" fmla="*/ 1134642 w 6094408"/>
              <a:gd name="connsiteY2" fmla="*/ 6505507 h 6857997"/>
              <a:gd name="connsiteX3" fmla="*/ 788170 w 6094408"/>
              <a:gd name="connsiteY3" fmla="*/ 6470534 h 6857997"/>
              <a:gd name="connsiteX4" fmla="*/ 799953 w 6094408"/>
              <a:gd name="connsiteY4" fmla="*/ 6505507 h 6857997"/>
              <a:gd name="connsiteX5" fmla="*/ 776763 w 6094408"/>
              <a:gd name="connsiteY5" fmla="*/ 6505507 h 6857997"/>
              <a:gd name="connsiteX6" fmla="*/ 1132323 w 6094408"/>
              <a:gd name="connsiteY6" fmla="*/ 6451543 h 6857997"/>
              <a:gd name="connsiteX7" fmla="*/ 1100860 w 6094408"/>
              <a:gd name="connsiteY7" fmla="*/ 6542674 h 6857997"/>
              <a:gd name="connsiteX8" fmla="*/ 1123110 w 6094408"/>
              <a:gd name="connsiteY8" fmla="*/ 6542674 h 6857997"/>
              <a:gd name="connsiteX9" fmla="*/ 1128876 w 6094408"/>
              <a:gd name="connsiteY9" fmla="*/ 6524060 h 6857997"/>
              <a:gd name="connsiteX10" fmla="*/ 1163786 w 6094408"/>
              <a:gd name="connsiteY10" fmla="*/ 6524060 h 6857997"/>
              <a:gd name="connsiteX11" fmla="*/ 1169741 w 6094408"/>
              <a:gd name="connsiteY11" fmla="*/ 6542674 h 6857997"/>
              <a:gd name="connsiteX12" fmla="*/ 1191615 w 6094408"/>
              <a:gd name="connsiteY12" fmla="*/ 6542674 h 6857997"/>
              <a:gd name="connsiteX13" fmla="*/ 1159148 w 6094408"/>
              <a:gd name="connsiteY13" fmla="*/ 6451543 h 6857997"/>
              <a:gd name="connsiteX14" fmla="*/ 961907 w 6094408"/>
              <a:gd name="connsiteY14" fmla="*/ 6451543 h 6857997"/>
              <a:gd name="connsiteX15" fmla="*/ 933640 w 6094408"/>
              <a:gd name="connsiteY15" fmla="*/ 6479246 h 6857997"/>
              <a:gd name="connsiteX16" fmla="*/ 961907 w 6094408"/>
              <a:gd name="connsiteY16" fmla="*/ 6505821 h 6857997"/>
              <a:gd name="connsiteX17" fmla="*/ 983468 w 6094408"/>
              <a:gd name="connsiteY17" fmla="*/ 6505821 h 6857997"/>
              <a:gd name="connsiteX18" fmla="*/ 991678 w 6094408"/>
              <a:gd name="connsiteY18" fmla="*/ 6514282 h 6857997"/>
              <a:gd name="connsiteX19" fmla="*/ 983468 w 6094408"/>
              <a:gd name="connsiteY19" fmla="*/ 6522743 h 6857997"/>
              <a:gd name="connsiteX20" fmla="*/ 937338 w 6094408"/>
              <a:gd name="connsiteY20" fmla="*/ 6522743 h 6857997"/>
              <a:gd name="connsiteX21" fmla="*/ 937338 w 6094408"/>
              <a:gd name="connsiteY21" fmla="*/ 6542674 h 6857997"/>
              <a:gd name="connsiteX22" fmla="*/ 982716 w 6094408"/>
              <a:gd name="connsiteY22" fmla="*/ 6542674 h 6857997"/>
              <a:gd name="connsiteX23" fmla="*/ 1011358 w 6094408"/>
              <a:gd name="connsiteY23" fmla="*/ 6514282 h 6857997"/>
              <a:gd name="connsiteX24" fmla="*/ 986727 w 6094408"/>
              <a:gd name="connsiteY24" fmla="*/ 6487707 h 6857997"/>
              <a:gd name="connsiteX25" fmla="*/ 961907 w 6094408"/>
              <a:gd name="connsiteY25" fmla="*/ 6487707 h 6857997"/>
              <a:gd name="connsiteX26" fmla="*/ 953321 w 6094408"/>
              <a:gd name="connsiteY26" fmla="*/ 6479246 h 6857997"/>
              <a:gd name="connsiteX27" fmla="*/ 961907 w 6094408"/>
              <a:gd name="connsiteY27" fmla="*/ 6470785 h 6857997"/>
              <a:gd name="connsiteX28" fmla="*/ 1004965 w 6094408"/>
              <a:gd name="connsiteY28" fmla="*/ 6470785 h 6857997"/>
              <a:gd name="connsiteX29" fmla="*/ 1004965 w 6094408"/>
              <a:gd name="connsiteY29" fmla="*/ 6451543 h 6857997"/>
              <a:gd name="connsiteX30" fmla="*/ 841570 w 6094408"/>
              <a:gd name="connsiteY30" fmla="*/ 6451543 h 6857997"/>
              <a:gd name="connsiteX31" fmla="*/ 841570 w 6094408"/>
              <a:gd name="connsiteY31" fmla="*/ 6542674 h 6857997"/>
              <a:gd name="connsiteX32" fmla="*/ 862692 w 6094408"/>
              <a:gd name="connsiteY32" fmla="*/ 6542674 h 6857997"/>
              <a:gd name="connsiteX33" fmla="*/ 862692 w 6094408"/>
              <a:gd name="connsiteY33" fmla="*/ 6486454 h 6857997"/>
              <a:gd name="connsiteX34" fmla="*/ 898981 w 6094408"/>
              <a:gd name="connsiteY34" fmla="*/ 6542486 h 6857997"/>
              <a:gd name="connsiteX35" fmla="*/ 898981 w 6094408"/>
              <a:gd name="connsiteY35" fmla="*/ 6542674 h 6857997"/>
              <a:gd name="connsiteX36" fmla="*/ 920855 w 6094408"/>
              <a:gd name="connsiteY36" fmla="*/ 6542674 h 6857997"/>
              <a:gd name="connsiteX37" fmla="*/ 920793 w 6094408"/>
              <a:gd name="connsiteY37" fmla="*/ 6522994 h 6857997"/>
              <a:gd name="connsiteX38" fmla="*/ 920667 w 6094408"/>
              <a:gd name="connsiteY38" fmla="*/ 6451543 h 6857997"/>
              <a:gd name="connsiteX39" fmla="*/ 899671 w 6094408"/>
              <a:gd name="connsiteY39" fmla="*/ 6451543 h 6857997"/>
              <a:gd name="connsiteX40" fmla="*/ 899671 w 6094408"/>
              <a:gd name="connsiteY40" fmla="*/ 6508829 h 6857997"/>
              <a:gd name="connsiteX41" fmla="*/ 863068 w 6094408"/>
              <a:gd name="connsiteY41" fmla="*/ 6451543 h 6857997"/>
              <a:gd name="connsiteX42" fmla="*/ 774444 w 6094408"/>
              <a:gd name="connsiteY42" fmla="*/ 6451543 h 6857997"/>
              <a:gd name="connsiteX43" fmla="*/ 742918 w 6094408"/>
              <a:gd name="connsiteY43" fmla="*/ 6542674 h 6857997"/>
              <a:gd name="connsiteX44" fmla="*/ 765168 w 6094408"/>
              <a:gd name="connsiteY44" fmla="*/ 6542674 h 6857997"/>
              <a:gd name="connsiteX45" fmla="*/ 770934 w 6094408"/>
              <a:gd name="connsiteY45" fmla="*/ 6524060 h 6857997"/>
              <a:gd name="connsiteX46" fmla="*/ 805845 w 6094408"/>
              <a:gd name="connsiteY46" fmla="*/ 6524060 h 6857997"/>
              <a:gd name="connsiteX47" fmla="*/ 811799 w 6094408"/>
              <a:gd name="connsiteY47" fmla="*/ 6542674 h 6857997"/>
              <a:gd name="connsiteX48" fmla="*/ 833735 w 6094408"/>
              <a:gd name="connsiteY48" fmla="*/ 6542674 h 6857997"/>
              <a:gd name="connsiteX49" fmla="*/ 801269 w 6094408"/>
              <a:gd name="connsiteY49" fmla="*/ 6451543 h 6857997"/>
              <a:gd name="connsiteX50" fmla="*/ 604404 w 6094408"/>
              <a:gd name="connsiteY50" fmla="*/ 6451543 h 6857997"/>
              <a:gd name="connsiteX51" fmla="*/ 576137 w 6094408"/>
              <a:gd name="connsiteY51" fmla="*/ 6479246 h 6857997"/>
              <a:gd name="connsiteX52" fmla="*/ 604404 w 6094408"/>
              <a:gd name="connsiteY52" fmla="*/ 6505821 h 6857997"/>
              <a:gd name="connsiteX53" fmla="*/ 625964 w 6094408"/>
              <a:gd name="connsiteY53" fmla="*/ 6505821 h 6857997"/>
              <a:gd name="connsiteX54" fmla="*/ 634174 w 6094408"/>
              <a:gd name="connsiteY54" fmla="*/ 6514282 h 6857997"/>
              <a:gd name="connsiteX55" fmla="*/ 625964 w 6094408"/>
              <a:gd name="connsiteY55" fmla="*/ 6522743 h 6857997"/>
              <a:gd name="connsiteX56" fmla="*/ 579772 w 6094408"/>
              <a:gd name="connsiteY56" fmla="*/ 6522743 h 6857997"/>
              <a:gd name="connsiteX57" fmla="*/ 579772 w 6094408"/>
              <a:gd name="connsiteY57" fmla="*/ 6542674 h 6857997"/>
              <a:gd name="connsiteX58" fmla="*/ 625149 w 6094408"/>
              <a:gd name="connsiteY58" fmla="*/ 6542674 h 6857997"/>
              <a:gd name="connsiteX59" fmla="*/ 653792 w 6094408"/>
              <a:gd name="connsiteY59" fmla="*/ 6514282 h 6857997"/>
              <a:gd name="connsiteX60" fmla="*/ 629223 w 6094408"/>
              <a:gd name="connsiteY60" fmla="*/ 6487707 h 6857997"/>
              <a:gd name="connsiteX61" fmla="*/ 604404 w 6094408"/>
              <a:gd name="connsiteY61" fmla="*/ 6487707 h 6857997"/>
              <a:gd name="connsiteX62" fmla="*/ 595817 w 6094408"/>
              <a:gd name="connsiteY62" fmla="*/ 6479246 h 6857997"/>
              <a:gd name="connsiteX63" fmla="*/ 604404 w 6094408"/>
              <a:gd name="connsiteY63" fmla="*/ 6470785 h 6857997"/>
              <a:gd name="connsiteX64" fmla="*/ 647462 w 6094408"/>
              <a:gd name="connsiteY64" fmla="*/ 6470785 h 6857997"/>
              <a:gd name="connsiteX65" fmla="*/ 647462 w 6094408"/>
              <a:gd name="connsiteY65" fmla="*/ 6451543 h 6857997"/>
              <a:gd name="connsiteX66" fmla="*/ 1023956 w 6094408"/>
              <a:gd name="connsiteY66" fmla="*/ 6451480 h 6857997"/>
              <a:gd name="connsiteX67" fmla="*/ 1023956 w 6094408"/>
              <a:gd name="connsiteY67" fmla="*/ 6542674 h 6857997"/>
              <a:gd name="connsiteX68" fmla="*/ 1045016 w 6094408"/>
              <a:gd name="connsiteY68" fmla="*/ 6542674 h 6857997"/>
              <a:gd name="connsiteX69" fmla="*/ 1045016 w 6094408"/>
              <a:gd name="connsiteY69" fmla="*/ 6504191 h 6857997"/>
              <a:gd name="connsiteX70" fmla="*/ 1074975 w 6094408"/>
              <a:gd name="connsiteY70" fmla="*/ 6542674 h 6857997"/>
              <a:gd name="connsiteX71" fmla="*/ 1099481 w 6094408"/>
              <a:gd name="connsiteY71" fmla="*/ 6542674 h 6857997"/>
              <a:gd name="connsiteX72" fmla="*/ 1065009 w 6094408"/>
              <a:gd name="connsiteY72" fmla="*/ 6497109 h 6857997"/>
              <a:gd name="connsiteX73" fmla="*/ 1099481 w 6094408"/>
              <a:gd name="connsiteY73" fmla="*/ 6451480 h 6857997"/>
              <a:gd name="connsiteX74" fmla="*/ 1074975 w 6094408"/>
              <a:gd name="connsiteY74" fmla="*/ 6451480 h 6857997"/>
              <a:gd name="connsiteX75" fmla="*/ 1045016 w 6094408"/>
              <a:gd name="connsiteY75" fmla="*/ 6489963 h 6857997"/>
              <a:gd name="connsiteX76" fmla="*/ 1045016 w 6094408"/>
              <a:gd name="connsiteY76" fmla="*/ 6451480 h 6857997"/>
              <a:gd name="connsiteX77" fmla="*/ 666077 w 6094408"/>
              <a:gd name="connsiteY77" fmla="*/ 6451480 h 6857997"/>
              <a:gd name="connsiteX78" fmla="*/ 666077 w 6094408"/>
              <a:gd name="connsiteY78" fmla="*/ 6542674 h 6857997"/>
              <a:gd name="connsiteX79" fmla="*/ 687073 w 6094408"/>
              <a:gd name="connsiteY79" fmla="*/ 6542674 h 6857997"/>
              <a:gd name="connsiteX80" fmla="*/ 687073 w 6094408"/>
              <a:gd name="connsiteY80" fmla="*/ 6504191 h 6857997"/>
              <a:gd name="connsiteX81" fmla="*/ 717033 w 6094408"/>
              <a:gd name="connsiteY81" fmla="*/ 6542674 h 6857997"/>
              <a:gd name="connsiteX82" fmla="*/ 741602 w 6094408"/>
              <a:gd name="connsiteY82" fmla="*/ 6542674 h 6857997"/>
              <a:gd name="connsiteX83" fmla="*/ 707067 w 6094408"/>
              <a:gd name="connsiteY83" fmla="*/ 6497109 h 6857997"/>
              <a:gd name="connsiteX84" fmla="*/ 741602 w 6094408"/>
              <a:gd name="connsiteY84" fmla="*/ 6451480 h 6857997"/>
              <a:gd name="connsiteX85" fmla="*/ 717033 w 6094408"/>
              <a:gd name="connsiteY85" fmla="*/ 6451480 h 6857997"/>
              <a:gd name="connsiteX86" fmla="*/ 687073 w 6094408"/>
              <a:gd name="connsiteY86" fmla="*/ 6489963 h 6857997"/>
              <a:gd name="connsiteX87" fmla="*/ 687073 w 6094408"/>
              <a:gd name="connsiteY87" fmla="*/ 6451480 h 6857997"/>
              <a:gd name="connsiteX88" fmla="*/ 0 w 6094408"/>
              <a:gd name="connsiteY88" fmla="*/ 0 h 6857997"/>
              <a:gd name="connsiteX89" fmla="*/ 6094408 w 6094408"/>
              <a:gd name="connsiteY89" fmla="*/ 0 h 6857997"/>
              <a:gd name="connsiteX90" fmla="*/ 6094408 w 6094408"/>
              <a:gd name="connsiteY90" fmla="*/ 6857997 h 6857997"/>
              <a:gd name="connsiteX91" fmla="*/ 0 w 6094408"/>
              <a:gd name="connsiteY91" fmla="*/ 6857997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6094408" h="6857997">
                <a:moveTo>
                  <a:pt x="1146049" y="6470534"/>
                </a:moveTo>
                <a:lnTo>
                  <a:pt x="1157832" y="6505507"/>
                </a:lnTo>
                <a:lnTo>
                  <a:pt x="1134642" y="6505507"/>
                </a:lnTo>
                <a:close/>
                <a:moveTo>
                  <a:pt x="788170" y="6470534"/>
                </a:moveTo>
                <a:lnTo>
                  <a:pt x="799953" y="6505507"/>
                </a:lnTo>
                <a:lnTo>
                  <a:pt x="776763" y="6505507"/>
                </a:lnTo>
                <a:close/>
                <a:moveTo>
                  <a:pt x="1132323" y="6451543"/>
                </a:moveTo>
                <a:lnTo>
                  <a:pt x="1100860" y="6542674"/>
                </a:lnTo>
                <a:lnTo>
                  <a:pt x="1123110" y="6542674"/>
                </a:lnTo>
                <a:lnTo>
                  <a:pt x="1128876" y="6524060"/>
                </a:lnTo>
                <a:lnTo>
                  <a:pt x="1163786" y="6524060"/>
                </a:lnTo>
                <a:lnTo>
                  <a:pt x="1169741" y="6542674"/>
                </a:lnTo>
                <a:lnTo>
                  <a:pt x="1191615" y="6542674"/>
                </a:lnTo>
                <a:lnTo>
                  <a:pt x="1159148" y="6451543"/>
                </a:lnTo>
                <a:close/>
                <a:moveTo>
                  <a:pt x="961907" y="6451543"/>
                </a:moveTo>
                <a:cubicBezTo>
                  <a:pt x="944358" y="6451543"/>
                  <a:pt x="933640" y="6461822"/>
                  <a:pt x="933640" y="6479246"/>
                </a:cubicBezTo>
                <a:cubicBezTo>
                  <a:pt x="933640" y="6496670"/>
                  <a:pt x="945987" y="6505821"/>
                  <a:pt x="961907" y="6505821"/>
                </a:cubicBezTo>
                <a:lnTo>
                  <a:pt x="983468" y="6505821"/>
                </a:lnTo>
                <a:cubicBezTo>
                  <a:pt x="988921" y="6505821"/>
                  <a:pt x="991678" y="6509957"/>
                  <a:pt x="991678" y="6514282"/>
                </a:cubicBezTo>
                <a:cubicBezTo>
                  <a:pt x="991678" y="6518732"/>
                  <a:pt x="988921" y="6522743"/>
                  <a:pt x="983468" y="6522743"/>
                </a:cubicBezTo>
                <a:lnTo>
                  <a:pt x="937338" y="6522743"/>
                </a:lnTo>
                <a:lnTo>
                  <a:pt x="937338" y="6542674"/>
                </a:lnTo>
                <a:lnTo>
                  <a:pt x="982716" y="6542674"/>
                </a:lnTo>
                <a:cubicBezTo>
                  <a:pt x="1000704" y="6542674"/>
                  <a:pt x="1011358" y="6532772"/>
                  <a:pt x="1011358" y="6514282"/>
                </a:cubicBezTo>
                <a:cubicBezTo>
                  <a:pt x="1011358" y="6497610"/>
                  <a:pt x="1000641" y="6487707"/>
                  <a:pt x="986727" y="6487707"/>
                </a:cubicBezTo>
                <a:lnTo>
                  <a:pt x="961907" y="6487707"/>
                </a:lnTo>
                <a:cubicBezTo>
                  <a:pt x="956078" y="6487707"/>
                  <a:pt x="953321" y="6483696"/>
                  <a:pt x="953321" y="6479246"/>
                </a:cubicBezTo>
                <a:cubicBezTo>
                  <a:pt x="953321" y="6474796"/>
                  <a:pt x="956078" y="6470785"/>
                  <a:pt x="961907" y="6470785"/>
                </a:cubicBezTo>
                <a:lnTo>
                  <a:pt x="1004965" y="6470785"/>
                </a:lnTo>
                <a:lnTo>
                  <a:pt x="1004965" y="6451543"/>
                </a:lnTo>
                <a:close/>
                <a:moveTo>
                  <a:pt x="841570" y="6451543"/>
                </a:moveTo>
                <a:lnTo>
                  <a:pt x="841570" y="6542674"/>
                </a:lnTo>
                <a:lnTo>
                  <a:pt x="862692" y="6542674"/>
                </a:lnTo>
                <a:lnTo>
                  <a:pt x="862692" y="6486454"/>
                </a:lnTo>
                <a:lnTo>
                  <a:pt x="898981" y="6542486"/>
                </a:lnTo>
                <a:lnTo>
                  <a:pt x="898981" y="6542674"/>
                </a:lnTo>
                <a:lnTo>
                  <a:pt x="920855" y="6542674"/>
                </a:lnTo>
                <a:lnTo>
                  <a:pt x="920793" y="6522994"/>
                </a:lnTo>
                <a:lnTo>
                  <a:pt x="920667" y="6451543"/>
                </a:lnTo>
                <a:lnTo>
                  <a:pt x="899671" y="6451543"/>
                </a:lnTo>
                <a:lnTo>
                  <a:pt x="899671" y="6508829"/>
                </a:lnTo>
                <a:lnTo>
                  <a:pt x="863068" y="6451543"/>
                </a:lnTo>
                <a:close/>
                <a:moveTo>
                  <a:pt x="774444" y="6451543"/>
                </a:moveTo>
                <a:lnTo>
                  <a:pt x="742918" y="6542674"/>
                </a:lnTo>
                <a:lnTo>
                  <a:pt x="765168" y="6542674"/>
                </a:lnTo>
                <a:lnTo>
                  <a:pt x="770934" y="6524060"/>
                </a:lnTo>
                <a:lnTo>
                  <a:pt x="805845" y="6524060"/>
                </a:lnTo>
                <a:lnTo>
                  <a:pt x="811799" y="6542674"/>
                </a:lnTo>
                <a:lnTo>
                  <a:pt x="833735" y="6542674"/>
                </a:lnTo>
                <a:lnTo>
                  <a:pt x="801269" y="6451543"/>
                </a:lnTo>
                <a:close/>
                <a:moveTo>
                  <a:pt x="604404" y="6451543"/>
                </a:moveTo>
                <a:cubicBezTo>
                  <a:pt x="586792" y="6451543"/>
                  <a:pt x="576137" y="6461822"/>
                  <a:pt x="576137" y="6479246"/>
                </a:cubicBezTo>
                <a:cubicBezTo>
                  <a:pt x="576137" y="6496670"/>
                  <a:pt x="588484" y="6505821"/>
                  <a:pt x="604404" y="6505821"/>
                </a:cubicBezTo>
                <a:lnTo>
                  <a:pt x="625964" y="6505821"/>
                </a:lnTo>
                <a:cubicBezTo>
                  <a:pt x="631417" y="6505821"/>
                  <a:pt x="634174" y="6509957"/>
                  <a:pt x="634174" y="6514282"/>
                </a:cubicBezTo>
                <a:cubicBezTo>
                  <a:pt x="634174" y="6518732"/>
                  <a:pt x="631417" y="6522743"/>
                  <a:pt x="625964" y="6522743"/>
                </a:cubicBezTo>
                <a:lnTo>
                  <a:pt x="579772" y="6522743"/>
                </a:lnTo>
                <a:lnTo>
                  <a:pt x="579772" y="6542674"/>
                </a:lnTo>
                <a:lnTo>
                  <a:pt x="625149" y="6542674"/>
                </a:lnTo>
                <a:cubicBezTo>
                  <a:pt x="643137" y="6542674"/>
                  <a:pt x="653792" y="6532772"/>
                  <a:pt x="653792" y="6514282"/>
                </a:cubicBezTo>
                <a:cubicBezTo>
                  <a:pt x="653792" y="6497610"/>
                  <a:pt x="643137" y="6487707"/>
                  <a:pt x="629223" y="6487707"/>
                </a:cubicBezTo>
                <a:lnTo>
                  <a:pt x="604404" y="6487707"/>
                </a:lnTo>
                <a:cubicBezTo>
                  <a:pt x="598575" y="6487707"/>
                  <a:pt x="595817" y="6483696"/>
                  <a:pt x="595817" y="6479246"/>
                </a:cubicBezTo>
                <a:cubicBezTo>
                  <a:pt x="595817" y="6474796"/>
                  <a:pt x="598575" y="6470785"/>
                  <a:pt x="604404" y="6470785"/>
                </a:cubicBezTo>
                <a:lnTo>
                  <a:pt x="647462" y="6470785"/>
                </a:lnTo>
                <a:lnTo>
                  <a:pt x="647462" y="6451543"/>
                </a:lnTo>
                <a:close/>
                <a:moveTo>
                  <a:pt x="1023956" y="6451480"/>
                </a:moveTo>
                <a:lnTo>
                  <a:pt x="1023956" y="6542674"/>
                </a:lnTo>
                <a:lnTo>
                  <a:pt x="1045016" y="6542674"/>
                </a:lnTo>
                <a:lnTo>
                  <a:pt x="1045016" y="6504191"/>
                </a:lnTo>
                <a:lnTo>
                  <a:pt x="1074975" y="6542674"/>
                </a:lnTo>
                <a:lnTo>
                  <a:pt x="1099481" y="6542674"/>
                </a:lnTo>
                <a:lnTo>
                  <a:pt x="1065009" y="6497109"/>
                </a:lnTo>
                <a:lnTo>
                  <a:pt x="1099481" y="6451480"/>
                </a:lnTo>
                <a:lnTo>
                  <a:pt x="1074975" y="6451480"/>
                </a:lnTo>
                <a:lnTo>
                  <a:pt x="1045016" y="6489963"/>
                </a:lnTo>
                <a:lnTo>
                  <a:pt x="1045016" y="6451480"/>
                </a:lnTo>
                <a:close/>
                <a:moveTo>
                  <a:pt x="666077" y="6451480"/>
                </a:moveTo>
                <a:lnTo>
                  <a:pt x="666077" y="6542674"/>
                </a:lnTo>
                <a:lnTo>
                  <a:pt x="687073" y="6542674"/>
                </a:lnTo>
                <a:lnTo>
                  <a:pt x="687073" y="6504191"/>
                </a:lnTo>
                <a:lnTo>
                  <a:pt x="717033" y="6542674"/>
                </a:lnTo>
                <a:lnTo>
                  <a:pt x="741602" y="6542674"/>
                </a:lnTo>
                <a:lnTo>
                  <a:pt x="707067" y="6497109"/>
                </a:lnTo>
                <a:lnTo>
                  <a:pt x="741602" y="6451480"/>
                </a:lnTo>
                <a:lnTo>
                  <a:pt x="717033" y="6451480"/>
                </a:lnTo>
                <a:lnTo>
                  <a:pt x="687073" y="6489963"/>
                </a:lnTo>
                <a:lnTo>
                  <a:pt x="687073" y="6451480"/>
                </a:lnTo>
                <a:close/>
                <a:moveTo>
                  <a:pt x="0" y="0"/>
                </a:moveTo>
                <a:lnTo>
                  <a:pt x="6094408" y="0"/>
                </a:lnTo>
                <a:lnTo>
                  <a:pt x="6094408" y="6857997"/>
                </a:lnTo>
                <a:lnTo>
                  <a:pt x="0" y="6857997"/>
                </a:lnTo>
                <a:close/>
              </a:path>
            </a:pathLst>
          </a:custGeom>
          <a:solidFill>
            <a:schemeClr val="accent6">
              <a:lumMod val="90000"/>
            </a:schemeClr>
          </a:solidFill>
        </p:spPr>
        <p:txBody>
          <a:bodyPr wrap="square" lIns="36000" tIns="36000" rIns="36000" bIns="36000">
            <a:noAutofit/>
          </a:bodyPr>
          <a:lstStyle>
            <a:lvl1pPr marL="0" indent="0" algn="ctr">
              <a:buNone/>
              <a:defRPr sz="1300">
                <a:solidFill>
                  <a:schemeClr val="tx2"/>
                </a:solidFill>
              </a:defRPr>
            </a:lvl1pPr>
          </a:lstStyle>
          <a:p>
            <a:r>
              <a:rPr lang="en-GB"/>
              <a:t>Click on the icon to add an image</a:t>
            </a:r>
          </a:p>
        </p:txBody>
      </p:sp>
      <p:sp>
        <p:nvSpPr>
          <p:cNvPr id="6" name="textruta 5">
            <a:extLst>
              <a:ext uri="{FF2B5EF4-FFF2-40B4-BE49-F238E27FC236}">
                <a16:creationId xmlns:a16="http://schemas.microsoft.com/office/drawing/2014/main" id="{9FE728FC-C64C-ED4F-8B3A-2159EA348AD2}"/>
              </a:ext>
            </a:extLst>
          </p:cNvPr>
          <p:cNvSpPr txBox="1"/>
          <p:nvPr userDrawn="1"/>
        </p:nvSpPr>
        <p:spPr>
          <a:xfrm>
            <a:off x="12395260" y="1453483"/>
            <a:ext cx="1681523" cy="646331"/>
          </a:xfrm>
          <a:prstGeom prst="rect">
            <a:avLst/>
          </a:prstGeom>
          <a:solidFill>
            <a:schemeClr val="bg1"/>
          </a:solidFill>
          <a:effectLst/>
        </p:spPr>
        <p:txBody>
          <a:bodyPr wrap="square" rtlCol="0" anchor="ctr" anchorCtr="0">
            <a:spAutoFit/>
          </a:bodyPr>
          <a:lstStyle/>
          <a:p>
            <a:pPr algn="ctr"/>
            <a:r>
              <a:rPr lang="en-GB" sz="900" baseline="0">
                <a:solidFill>
                  <a:schemeClr val="tx1">
                    <a:lumMod val="65000"/>
                    <a:lumOff val="35000"/>
                  </a:schemeClr>
                </a:solidFill>
                <a:latin typeface="Arial" panose="020B0604020202020204" pitchFamily="34" charset="0"/>
                <a:cs typeface="Arial" panose="020B0604020202020204" pitchFamily="34" charset="0"/>
              </a:rPr>
              <a:t>If the textboxes disappears after adding or changing an image, </a:t>
            </a:r>
            <a:r>
              <a:rPr lang="en-GB" sz="900" b="1" baseline="0">
                <a:solidFill>
                  <a:schemeClr val="tx1">
                    <a:lumMod val="65000"/>
                    <a:lumOff val="35000"/>
                  </a:schemeClr>
                </a:solidFill>
                <a:latin typeface="Arial" panose="020B0604020202020204" pitchFamily="34" charset="0"/>
                <a:cs typeface="Arial" panose="020B0604020202020204" pitchFamily="34" charset="0"/>
              </a:rPr>
              <a:t>right click the image </a:t>
            </a:r>
            <a:r>
              <a:rPr lang="en-GB" sz="900" baseline="0">
                <a:solidFill>
                  <a:schemeClr val="tx1">
                    <a:lumMod val="65000"/>
                    <a:lumOff val="35000"/>
                  </a:schemeClr>
                </a:solidFill>
                <a:latin typeface="Arial" panose="020B0604020202020204" pitchFamily="34" charset="0"/>
                <a:cs typeface="Arial" panose="020B0604020202020204" pitchFamily="34" charset="0"/>
              </a:rPr>
              <a:t>and use – </a:t>
            </a:r>
            <a:r>
              <a:rPr lang="en-GB" sz="900" b="1">
                <a:solidFill>
                  <a:schemeClr val="tx1">
                    <a:lumMod val="65000"/>
                    <a:lumOff val="35000"/>
                  </a:schemeClr>
                </a:solidFill>
                <a:latin typeface="Arial" panose="020B0604020202020204" pitchFamily="34" charset="0"/>
                <a:cs typeface="Arial" panose="020B0604020202020204" pitchFamily="34" charset="0"/>
              </a:rPr>
              <a:t>S</a:t>
            </a:r>
            <a:r>
              <a:rPr lang="en-GB" sz="900" b="1" baseline="0">
                <a:solidFill>
                  <a:schemeClr val="tx1">
                    <a:lumMod val="65000"/>
                    <a:lumOff val="35000"/>
                  </a:schemeClr>
                </a:solidFill>
                <a:latin typeface="Arial" panose="020B0604020202020204" pitchFamily="34" charset="0"/>
                <a:cs typeface="Arial" panose="020B0604020202020204" pitchFamily="34" charset="0"/>
              </a:rPr>
              <a:t>end to back</a:t>
            </a:r>
          </a:p>
        </p:txBody>
      </p:sp>
      <p:sp>
        <p:nvSpPr>
          <p:cNvPr id="7" name="textruta 6">
            <a:extLst>
              <a:ext uri="{FF2B5EF4-FFF2-40B4-BE49-F238E27FC236}">
                <a16:creationId xmlns:a16="http://schemas.microsoft.com/office/drawing/2014/main" id="{BE6ABED2-384F-4748-8CE8-E5DB02B0EC75}"/>
              </a:ext>
            </a:extLst>
          </p:cNvPr>
          <p:cNvSpPr txBox="1"/>
          <p:nvPr userDrawn="1"/>
        </p:nvSpPr>
        <p:spPr>
          <a:xfrm>
            <a:off x="12395260" y="-12189"/>
            <a:ext cx="1681523" cy="1338828"/>
          </a:xfrm>
          <a:prstGeom prst="rect">
            <a:avLst/>
          </a:prstGeom>
          <a:solidFill>
            <a:schemeClr val="bg1"/>
          </a:solidFill>
          <a:effectLst/>
        </p:spPr>
        <p:txBody>
          <a:bodyPr wrap="square" rtlCol="0" anchor="ctr" anchorCtr="0">
            <a:spAutoFit/>
          </a:bodyPr>
          <a:lstStyle/>
          <a:p>
            <a:pPr algn="ctr"/>
            <a:r>
              <a:rPr lang="en-GB" sz="900" baseline="0">
                <a:solidFill>
                  <a:schemeClr val="tx1">
                    <a:lumMod val="65000"/>
                    <a:lumOff val="35000"/>
                  </a:schemeClr>
                </a:solidFill>
                <a:latin typeface="Arial" panose="020B0604020202020204" pitchFamily="34" charset="0"/>
                <a:cs typeface="Arial" panose="020B0604020202020204" pitchFamily="34" charset="0"/>
              </a:rPr>
              <a:t>If you need to change the color of the logo, right click outside work area, choose </a:t>
            </a:r>
            <a:r>
              <a:rPr lang="en-GB" sz="900" b="1" baseline="0">
                <a:solidFill>
                  <a:schemeClr val="tx1">
                    <a:lumMod val="65000"/>
                    <a:lumOff val="35000"/>
                  </a:schemeClr>
                </a:solidFill>
                <a:latin typeface="Arial" panose="020B0604020202020204" pitchFamily="34" charset="0"/>
                <a:cs typeface="Arial" panose="020B0604020202020204" pitchFamily="34" charset="0"/>
              </a:rPr>
              <a:t>Format Background </a:t>
            </a:r>
            <a:r>
              <a:rPr lang="en-GB" sz="900" baseline="0">
                <a:solidFill>
                  <a:schemeClr val="tx1">
                    <a:lumMod val="65000"/>
                    <a:lumOff val="35000"/>
                  </a:schemeClr>
                </a:solidFill>
                <a:latin typeface="Arial" panose="020B0604020202020204" pitchFamily="34" charset="0"/>
                <a:cs typeface="Arial" panose="020B0604020202020204" pitchFamily="34" charset="0"/>
              </a:rPr>
              <a:t>from context menu and choose </a:t>
            </a:r>
            <a:r>
              <a:rPr lang="en-GB" sz="900" b="1" baseline="0">
                <a:solidFill>
                  <a:schemeClr val="tx1">
                    <a:lumMod val="65000"/>
                    <a:lumOff val="35000"/>
                  </a:schemeClr>
                </a:solidFill>
                <a:latin typeface="Arial" panose="020B0604020202020204" pitchFamily="34" charset="0"/>
                <a:cs typeface="Arial" panose="020B0604020202020204" pitchFamily="34" charset="0"/>
              </a:rPr>
              <a:t>Solid fill</a:t>
            </a:r>
            <a:r>
              <a:rPr lang="en-GB" sz="900" baseline="0">
                <a:solidFill>
                  <a:schemeClr val="tx1">
                    <a:lumMod val="65000"/>
                    <a:lumOff val="35000"/>
                  </a:schemeClr>
                </a:solidFill>
                <a:latin typeface="Arial" panose="020B0604020202020204" pitchFamily="34" charset="0"/>
                <a:cs typeface="Arial" panose="020B0604020202020204" pitchFamily="34" charset="0"/>
              </a:rPr>
              <a:t> – </a:t>
            </a:r>
            <a:r>
              <a:rPr lang="en-GB" sz="900" b="1" baseline="0">
                <a:solidFill>
                  <a:schemeClr val="tx1">
                    <a:lumMod val="65000"/>
                    <a:lumOff val="35000"/>
                  </a:schemeClr>
                </a:solidFill>
                <a:latin typeface="Arial" panose="020B0604020202020204" pitchFamily="34" charset="0"/>
                <a:cs typeface="Arial" panose="020B0604020202020204" pitchFamily="34" charset="0"/>
              </a:rPr>
              <a:t>White or Blue</a:t>
            </a:r>
          </a:p>
          <a:p>
            <a:pPr algn="ctr"/>
            <a:endParaRPr lang="en-GB" sz="900" baseline="0">
              <a:solidFill>
                <a:schemeClr val="tx1">
                  <a:lumMod val="65000"/>
                  <a:lumOff val="35000"/>
                </a:schemeClr>
              </a:solidFill>
              <a:latin typeface="Arial" panose="020B0604020202020204" pitchFamily="34" charset="0"/>
              <a:cs typeface="Arial" panose="020B0604020202020204" pitchFamily="34" charset="0"/>
            </a:endParaRPr>
          </a:p>
          <a:p>
            <a:pPr algn="ctr"/>
            <a:endParaRPr lang="en-GB" sz="900" baseline="0">
              <a:solidFill>
                <a:schemeClr val="tx1">
                  <a:lumMod val="65000"/>
                  <a:lumOff val="35000"/>
                </a:schemeClr>
              </a:solidFill>
              <a:latin typeface="Arial" panose="020B0604020202020204" pitchFamily="34" charset="0"/>
              <a:cs typeface="Arial" panose="020B0604020202020204" pitchFamily="34" charset="0"/>
            </a:endParaRPr>
          </a:p>
          <a:p>
            <a:pPr algn="ctr"/>
            <a:endParaRPr lang="en-GB" sz="900" baseline="0">
              <a:solidFill>
                <a:schemeClr val="tx1">
                  <a:lumMod val="65000"/>
                  <a:lumOff val="35000"/>
                </a:schemeClr>
              </a:solidFill>
              <a:latin typeface="Arial" panose="020B0604020202020204" pitchFamily="34" charset="0"/>
              <a:cs typeface="Arial" panose="020B0604020202020204" pitchFamily="34" charset="0"/>
            </a:endParaRPr>
          </a:p>
        </p:txBody>
      </p:sp>
      <p:sp>
        <p:nvSpPr>
          <p:cNvPr id="8" name="Rektangel 7">
            <a:extLst>
              <a:ext uri="{FF2B5EF4-FFF2-40B4-BE49-F238E27FC236}">
                <a16:creationId xmlns:a16="http://schemas.microsoft.com/office/drawing/2014/main" id="{739A018F-446B-C241-8ABA-56BE21D1A174}"/>
              </a:ext>
            </a:extLst>
          </p:cNvPr>
          <p:cNvSpPr/>
          <p:nvPr userDrawn="1"/>
        </p:nvSpPr>
        <p:spPr>
          <a:xfrm>
            <a:off x="13255337" y="926211"/>
            <a:ext cx="341194" cy="305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ktangel 8">
            <a:extLst>
              <a:ext uri="{FF2B5EF4-FFF2-40B4-BE49-F238E27FC236}">
                <a16:creationId xmlns:a16="http://schemas.microsoft.com/office/drawing/2014/main" id="{D857EEAE-5D56-214C-B466-54015AC35F80}"/>
              </a:ext>
            </a:extLst>
          </p:cNvPr>
          <p:cNvSpPr/>
          <p:nvPr userDrawn="1"/>
        </p:nvSpPr>
        <p:spPr>
          <a:xfrm>
            <a:off x="12833410" y="926211"/>
            <a:ext cx="341194" cy="30590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4" name="Picture 3">
            <a:extLst>
              <a:ext uri="{FF2B5EF4-FFF2-40B4-BE49-F238E27FC236}">
                <a16:creationId xmlns:a16="http://schemas.microsoft.com/office/drawing/2014/main" id="{B3D60CCC-F2DD-4247-911D-3D6E39D2B63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106523" y="3429000"/>
            <a:ext cx="6096000" cy="3429000"/>
          </a:xfrm>
          <a:prstGeom prst="rect">
            <a:avLst/>
          </a:prstGeom>
        </p:spPr>
      </p:pic>
      <p:sp>
        <p:nvSpPr>
          <p:cNvPr id="10" name="Text Placeholder 4">
            <a:extLst>
              <a:ext uri="{FF2B5EF4-FFF2-40B4-BE49-F238E27FC236}">
                <a16:creationId xmlns:a16="http://schemas.microsoft.com/office/drawing/2014/main" id="{CC8634A3-40E2-E941-BE06-B35A402E81A2}"/>
              </a:ext>
            </a:extLst>
          </p:cNvPr>
          <p:cNvSpPr>
            <a:spLocks noGrp="1"/>
          </p:cNvSpPr>
          <p:nvPr>
            <p:ph type="body" sz="quarter" idx="20" hasCustomPrompt="1"/>
          </p:nvPr>
        </p:nvSpPr>
        <p:spPr>
          <a:xfrm rot="5400000">
            <a:off x="10901730" y="803644"/>
            <a:ext cx="2093913" cy="486626"/>
          </a:xfrm>
        </p:spPr>
        <p:txBody>
          <a:bodyPr lIns="180000" tIns="180000" rIns="0" bIns="180000" anchor="ctr">
            <a:spAutoFit/>
          </a:bodyPr>
          <a:lstStyle>
            <a:lvl1pPr marL="6350" indent="0" algn="l">
              <a:buNone/>
              <a:defRPr sz="800"/>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
        <p:nvSpPr>
          <p:cNvPr id="11" name="Text Placeholder 4">
            <a:extLst>
              <a:ext uri="{FF2B5EF4-FFF2-40B4-BE49-F238E27FC236}">
                <a16:creationId xmlns:a16="http://schemas.microsoft.com/office/drawing/2014/main" id="{7FF54DF7-8C90-5048-91F4-ED1EB63FEBB9}"/>
              </a:ext>
            </a:extLst>
          </p:cNvPr>
          <p:cNvSpPr>
            <a:spLocks noGrp="1"/>
          </p:cNvSpPr>
          <p:nvPr>
            <p:ph type="body" sz="quarter" idx="21" hasCustomPrompt="1"/>
          </p:nvPr>
        </p:nvSpPr>
        <p:spPr>
          <a:xfrm rot="5400000">
            <a:off x="4818982" y="803644"/>
            <a:ext cx="2093913" cy="486626"/>
          </a:xfrm>
        </p:spPr>
        <p:txBody>
          <a:bodyPr lIns="180000" tIns="180000" rIns="0" bIns="180000" anchor="ctr">
            <a:spAutoFit/>
          </a:bodyPr>
          <a:lstStyle>
            <a:lvl1pPr marL="6350" indent="0" algn="l">
              <a:buNone/>
              <a:defRPr sz="800"/>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Tree>
    <p:extLst>
      <p:ext uri="{BB962C8B-B14F-4D97-AF65-F5344CB8AC3E}">
        <p14:creationId xmlns:p14="http://schemas.microsoft.com/office/powerpoint/2010/main" val="219632650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6 Text Half Image">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83718FC5-379A-3343-904E-06A5A117D84C}"/>
              </a:ext>
            </a:extLst>
          </p:cNvPr>
          <p:cNvSpPr>
            <a:spLocks noGrp="1"/>
          </p:cNvSpPr>
          <p:nvPr>
            <p:ph type="pic" sz="quarter" idx="18" hasCustomPrompt="1"/>
          </p:nvPr>
        </p:nvSpPr>
        <p:spPr>
          <a:xfrm>
            <a:off x="6094413" y="0"/>
            <a:ext cx="6095997" cy="6857997"/>
          </a:xfrm>
          <a:custGeom>
            <a:avLst/>
            <a:gdLst>
              <a:gd name="connsiteX0" fmla="*/ 0 w 6095997"/>
              <a:gd name="connsiteY0" fmla="*/ 0 h 6857997"/>
              <a:gd name="connsiteX1" fmla="*/ 6095997 w 6095997"/>
              <a:gd name="connsiteY1" fmla="*/ 0 h 6857997"/>
              <a:gd name="connsiteX2" fmla="*/ 6095997 w 6095997"/>
              <a:gd name="connsiteY2" fmla="*/ 3157535 h 6857997"/>
              <a:gd name="connsiteX3" fmla="*/ 6095997 w 6095997"/>
              <a:gd name="connsiteY3" fmla="*/ 3428998 h 6857997"/>
              <a:gd name="connsiteX4" fmla="*/ 6095997 w 6095997"/>
              <a:gd name="connsiteY4" fmla="*/ 6857997 h 6857997"/>
              <a:gd name="connsiteX5" fmla="*/ 0 w 6095997"/>
              <a:gd name="connsiteY5" fmla="*/ 6857997 h 6857997"/>
              <a:gd name="connsiteX6" fmla="*/ 0 w 6095997"/>
              <a:gd name="connsiteY6" fmla="*/ 3428998 h 6857997"/>
              <a:gd name="connsiteX7" fmla="*/ 0 w 6095997"/>
              <a:gd name="connsiteY7" fmla="*/ 3157535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5997" h="6857997">
                <a:moveTo>
                  <a:pt x="0" y="0"/>
                </a:moveTo>
                <a:lnTo>
                  <a:pt x="6095997" y="0"/>
                </a:lnTo>
                <a:lnTo>
                  <a:pt x="6095997" y="3157535"/>
                </a:lnTo>
                <a:lnTo>
                  <a:pt x="6095997" y="3428998"/>
                </a:lnTo>
                <a:lnTo>
                  <a:pt x="6095997" y="6857997"/>
                </a:lnTo>
                <a:lnTo>
                  <a:pt x="0" y="6857997"/>
                </a:lnTo>
                <a:lnTo>
                  <a:pt x="0" y="3428998"/>
                </a:lnTo>
                <a:lnTo>
                  <a:pt x="0" y="3157535"/>
                </a:lnTo>
                <a:close/>
              </a:path>
            </a:pathLst>
          </a:custGeom>
          <a:solidFill>
            <a:schemeClr val="accent6">
              <a:lumMod val="90000"/>
            </a:schemeClr>
          </a:solidFill>
        </p:spPr>
        <p:txBody>
          <a:bodyPr wrap="square" lIns="36000" tIns="36000" rIns="36000" bIns="36000">
            <a:noAutofit/>
          </a:bodyPr>
          <a:lstStyle>
            <a:lvl1pPr marL="0" indent="0" algn="ctr">
              <a:buNone/>
              <a:defRPr sz="1300">
                <a:solidFill>
                  <a:schemeClr val="tx2"/>
                </a:solidFill>
              </a:defRPr>
            </a:lvl1pPr>
          </a:lstStyle>
          <a:p>
            <a:r>
              <a:rPr lang="en-US" noProof="0"/>
              <a:t>Click on the icon to add an image</a:t>
            </a:r>
          </a:p>
        </p:txBody>
      </p:sp>
      <p:sp>
        <p:nvSpPr>
          <p:cNvPr id="19" name="Text Placeholder 18">
            <a:extLst>
              <a:ext uri="{FF2B5EF4-FFF2-40B4-BE49-F238E27FC236}">
                <a16:creationId xmlns:a16="http://schemas.microsoft.com/office/drawing/2014/main" id="{696CCD45-BBC3-4242-B2B8-F5604A1D97BB}"/>
              </a:ext>
            </a:extLst>
          </p:cNvPr>
          <p:cNvSpPr>
            <a:spLocks noGrp="1"/>
          </p:cNvSpPr>
          <p:nvPr>
            <p:ph type="body" sz="quarter" idx="14" hasCustomPrompt="1"/>
          </p:nvPr>
        </p:nvSpPr>
        <p:spPr>
          <a:xfrm>
            <a:off x="576000" y="731027"/>
            <a:ext cx="5367178" cy="1365942"/>
          </a:xfrm>
          <a:prstGeom prst="rect">
            <a:avLst/>
          </a:prstGeom>
        </p:spPr>
        <p:txBody>
          <a:bodyPr anchor="t">
            <a:noAutofit/>
          </a:bodyPr>
          <a:lstStyle>
            <a:lvl1pPr marL="0" indent="0">
              <a:lnSpc>
                <a:spcPct val="85000"/>
              </a:lnSpc>
              <a:spcBef>
                <a:spcPts val="0"/>
              </a:spcBef>
              <a:buNone/>
              <a:defRPr sz="3600" spc="40" baseline="0">
                <a:solidFill>
                  <a:schemeClr val="tx2"/>
                </a:solidFill>
                <a:latin typeface="+mj-lt"/>
              </a:defRPr>
            </a:lvl1pPr>
          </a:lstStyle>
          <a:p>
            <a:pPr lvl="0"/>
            <a:r>
              <a:rPr lang="en-US" noProof="0"/>
              <a:t>Click to add a headline </a:t>
            </a:r>
            <a:br>
              <a:rPr lang="en-US" noProof="0"/>
            </a:br>
            <a:r>
              <a:rPr lang="en-US" noProof="0"/>
              <a:t>of maximum three lines</a:t>
            </a:r>
          </a:p>
        </p:txBody>
      </p:sp>
      <p:grpSp>
        <p:nvGrpSpPr>
          <p:cNvPr id="21" name="Grupp 32">
            <a:extLst>
              <a:ext uri="{FF2B5EF4-FFF2-40B4-BE49-F238E27FC236}">
                <a16:creationId xmlns:a16="http://schemas.microsoft.com/office/drawing/2014/main" id="{CF6F4381-F814-DC49-BAE8-DA80AFFD9E68}"/>
              </a:ext>
            </a:extLst>
          </p:cNvPr>
          <p:cNvGrpSpPr/>
          <p:nvPr userDrawn="1"/>
        </p:nvGrpSpPr>
        <p:grpSpPr>
          <a:xfrm>
            <a:off x="576140" y="6451484"/>
            <a:ext cx="615478" cy="91194"/>
            <a:chOff x="576140" y="6451484"/>
            <a:chExt cx="615478" cy="91194"/>
          </a:xfrm>
          <a:solidFill>
            <a:schemeClr val="tx2"/>
          </a:solidFill>
        </p:grpSpPr>
        <p:sp>
          <p:nvSpPr>
            <p:cNvPr id="22" name="Bild 2">
              <a:extLst>
                <a:ext uri="{FF2B5EF4-FFF2-40B4-BE49-F238E27FC236}">
                  <a16:creationId xmlns:a16="http://schemas.microsoft.com/office/drawing/2014/main" id="{62E9B87D-A5ED-B24D-896A-D5B9B26AB281}"/>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noProof="0">
                <a:solidFill>
                  <a:schemeClr val="tx2"/>
                </a:solidFill>
              </a:endParaRPr>
            </a:p>
          </p:txBody>
        </p:sp>
        <p:sp>
          <p:nvSpPr>
            <p:cNvPr id="23" name="Bild 2">
              <a:extLst>
                <a:ext uri="{FF2B5EF4-FFF2-40B4-BE49-F238E27FC236}">
                  <a16:creationId xmlns:a16="http://schemas.microsoft.com/office/drawing/2014/main" id="{A0B698E7-BE43-3549-8D56-915B35522590}"/>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4" name="Bild 2">
              <a:extLst>
                <a:ext uri="{FF2B5EF4-FFF2-40B4-BE49-F238E27FC236}">
                  <a16:creationId xmlns:a16="http://schemas.microsoft.com/office/drawing/2014/main" id="{AE8F0FFE-43AD-8B46-AD52-5AAAB3A7E141}"/>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33" name="Bild 2">
              <a:extLst>
                <a:ext uri="{FF2B5EF4-FFF2-40B4-BE49-F238E27FC236}">
                  <a16:creationId xmlns:a16="http://schemas.microsoft.com/office/drawing/2014/main" id="{F449D80C-39D5-B049-8099-1AB0DFB21C56}"/>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sp>
          <p:nvSpPr>
            <p:cNvPr id="34" name="Bild 2">
              <a:extLst>
                <a:ext uri="{FF2B5EF4-FFF2-40B4-BE49-F238E27FC236}">
                  <a16:creationId xmlns:a16="http://schemas.microsoft.com/office/drawing/2014/main" id="{20D2215C-82C7-5E49-AD19-A866B46120D1}"/>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noProof="0">
                <a:solidFill>
                  <a:schemeClr val="tx2"/>
                </a:solidFill>
              </a:endParaRPr>
            </a:p>
          </p:txBody>
        </p:sp>
        <p:sp>
          <p:nvSpPr>
            <p:cNvPr id="35" name="Bild 2">
              <a:extLst>
                <a:ext uri="{FF2B5EF4-FFF2-40B4-BE49-F238E27FC236}">
                  <a16:creationId xmlns:a16="http://schemas.microsoft.com/office/drawing/2014/main" id="{70CBD1E9-7FEE-9349-9D43-444D469EBEE7}"/>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36" name="Bild 2">
              <a:extLst>
                <a:ext uri="{FF2B5EF4-FFF2-40B4-BE49-F238E27FC236}">
                  <a16:creationId xmlns:a16="http://schemas.microsoft.com/office/drawing/2014/main" id="{2BE0EC2B-5FD2-9449-827A-76C703008BD0}"/>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grpSp>
      <p:sp>
        <p:nvSpPr>
          <p:cNvPr id="12" name="Platshållare för text 11">
            <a:extLst>
              <a:ext uri="{FF2B5EF4-FFF2-40B4-BE49-F238E27FC236}">
                <a16:creationId xmlns:a16="http://schemas.microsoft.com/office/drawing/2014/main" id="{2A42B50C-7FD1-C146-8ECB-95091B05A65D}"/>
              </a:ext>
            </a:extLst>
          </p:cNvPr>
          <p:cNvSpPr>
            <a:spLocks noGrp="1"/>
          </p:cNvSpPr>
          <p:nvPr>
            <p:ph type="body" sz="quarter" idx="20" hasCustomPrompt="1"/>
          </p:nvPr>
        </p:nvSpPr>
        <p:spPr>
          <a:xfrm>
            <a:off x="576000" y="2527200"/>
            <a:ext cx="5377125" cy="3600450"/>
          </a:xfrm>
        </p:spPr>
        <p:txBody>
          <a:bodyPr/>
          <a:lstStyle/>
          <a:p>
            <a:pPr lvl="0"/>
            <a:r>
              <a:rPr lang="en-US" noProof="0"/>
              <a:t>Click to add body text</a:t>
            </a:r>
          </a:p>
          <a:p>
            <a:pPr lvl="1"/>
            <a:r>
              <a:rPr lang="en-US" noProof="0"/>
              <a:t>Second level</a:t>
            </a:r>
          </a:p>
          <a:p>
            <a:pPr lvl="2"/>
            <a:r>
              <a:rPr lang="en-US" noProof="0"/>
              <a:t>Third level</a:t>
            </a:r>
          </a:p>
          <a:p>
            <a:pPr lvl="3"/>
            <a:r>
              <a:rPr lang="en-US" noProof="0"/>
              <a:t>Fourth level </a:t>
            </a:r>
          </a:p>
          <a:p>
            <a:pPr lvl="4"/>
            <a:r>
              <a:rPr lang="en-US" noProof="0"/>
              <a:t>Fifth level</a:t>
            </a:r>
          </a:p>
        </p:txBody>
      </p:sp>
      <p:sp>
        <p:nvSpPr>
          <p:cNvPr id="16" name="Platshållare för datum 3">
            <a:extLst>
              <a:ext uri="{FF2B5EF4-FFF2-40B4-BE49-F238E27FC236}">
                <a16:creationId xmlns:a16="http://schemas.microsoft.com/office/drawing/2014/main" id="{E89DEF0D-E0BF-5D4C-9494-8D5AE0D65D02}"/>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tx2"/>
                </a:solidFill>
              </a:defRPr>
            </a:lvl1pPr>
          </a:lstStyle>
          <a:p>
            <a:fld id="{2F9806AD-009B-8D45-82A9-B9E8234B6322}" type="datetime1">
              <a:rPr lang="en-US" noProof="0" smtClean="0"/>
              <a:t>10/17/2023</a:t>
            </a:fld>
            <a:endParaRPr lang="en-US" noProof="0"/>
          </a:p>
        </p:txBody>
      </p:sp>
      <p:sp>
        <p:nvSpPr>
          <p:cNvPr id="17" name="Platshållare för sidfot 4">
            <a:extLst>
              <a:ext uri="{FF2B5EF4-FFF2-40B4-BE49-F238E27FC236}">
                <a16:creationId xmlns:a16="http://schemas.microsoft.com/office/drawing/2014/main" id="{59120A69-D01F-A748-9537-2B83B4D28ADB}"/>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tx2"/>
                </a:solidFill>
              </a:defRPr>
            </a:lvl1pPr>
          </a:lstStyle>
          <a:p>
            <a:r>
              <a:rPr lang="en-US" noProof="0"/>
              <a:t>Go to header/footer to change text </a:t>
            </a:r>
          </a:p>
        </p:txBody>
      </p:sp>
      <p:sp>
        <p:nvSpPr>
          <p:cNvPr id="18" name="Platshållare för bildnummer 5">
            <a:extLst>
              <a:ext uri="{FF2B5EF4-FFF2-40B4-BE49-F238E27FC236}">
                <a16:creationId xmlns:a16="http://schemas.microsoft.com/office/drawing/2014/main" id="{943BB26A-3612-3A42-8216-56A3B027D321}"/>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tx2"/>
                </a:solidFill>
              </a:defRPr>
            </a:lvl1pPr>
          </a:lstStyle>
          <a:p>
            <a:fld id="{EF8DBD5B-30F9-4F9C-AE39-E065C1AC514D}" type="slidenum">
              <a:rPr lang="en-US" noProof="0" smtClean="0"/>
              <a:pPr/>
              <a:t>‹#›</a:t>
            </a:fld>
            <a:endParaRPr lang="en-US" noProof="0"/>
          </a:p>
        </p:txBody>
      </p:sp>
      <p:sp>
        <p:nvSpPr>
          <p:cNvPr id="25" name="Text Placeholder 4">
            <a:extLst>
              <a:ext uri="{FF2B5EF4-FFF2-40B4-BE49-F238E27FC236}">
                <a16:creationId xmlns:a16="http://schemas.microsoft.com/office/drawing/2014/main" id="{ADFA69F0-4DC9-E843-AD83-A7CA3C778BDC}"/>
              </a:ext>
            </a:extLst>
          </p:cNvPr>
          <p:cNvSpPr>
            <a:spLocks noGrp="1"/>
          </p:cNvSpPr>
          <p:nvPr>
            <p:ph type="body" sz="quarter" idx="21" hasCustomPrompt="1"/>
          </p:nvPr>
        </p:nvSpPr>
        <p:spPr>
          <a:xfrm rot="5400000">
            <a:off x="10901730" y="803644"/>
            <a:ext cx="2093913" cy="486626"/>
          </a:xfrm>
        </p:spPr>
        <p:txBody>
          <a:bodyPr lIns="180000" tIns="180000" rIns="0" bIns="180000" anchor="ctr">
            <a:spAutoFit/>
          </a:bodyPr>
          <a:lstStyle>
            <a:lvl1pPr marL="6350" indent="0" algn="l">
              <a:buNone/>
              <a:defRPr sz="800"/>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Tree>
    <p:extLst>
      <p:ext uri="{BB962C8B-B14F-4D97-AF65-F5344CB8AC3E}">
        <p14:creationId xmlns:p14="http://schemas.microsoft.com/office/powerpoint/2010/main" val="18619811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6 Text Two Images">
    <p:spTree>
      <p:nvGrpSpPr>
        <p:cNvPr id="1" name=""/>
        <p:cNvGrpSpPr/>
        <p:nvPr/>
      </p:nvGrpSpPr>
      <p:grpSpPr>
        <a:xfrm>
          <a:off x="0" y="0"/>
          <a:ext cx="0" cy="0"/>
          <a:chOff x="0" y="0"/>
          <a:chExt cx="0" cy="0"/>
        </a:xfrm>
      </p:grpSpPr>
      <p:sp>
        <p:nvSpPr>
          <p:cNvPr id="17" name="Picture Placeholder 13">
            <a:extLst>
              <a:ext uri="{FF2B5EF4-FFF2-40B4-BE49-F238E27FC236}">
                <a16:creationId xmlns:a16="http://schemas.microsoft.com/office/drawing/2014/main" id="{9D64F04D-9016-D648-A564-243328D5CF42}"/>
              </a:ext>
            </a:extLst>
          </p:cNvPr>
          <p:cNvSpPr>
            <a:spLocks noGrp="1"/>
          </p:cNvSpPr>
          <p:nvPr>
            <p:ph type="pic" sz="quarter" idx="20" hasCustomPrompt="1"/>
          </p:nvPr>
        </p:nvSpPr>
        <p:spPr>
          <a:xfrm>
            <a:off x="6102124" y="3"/>
            <a:ext cx="6095997" cy="3428998"/>
          </a:xfrm>
          <a:custGeom>
            <a:avLst/>
            <a:gdLst>
              <a:gd name="connsiteX0" fmla="*/ 0 w 6095997"/>
              <a:gd name="connsiteY0" fmla="*/ 0 h 3428998"/>
              <a:gd name="connsiteX1" fmla="*/ 6095997 w 6095997"/>
              <a:gd name="connsiteY1" fmla="*/ 0 h 3428998"/>
              <a:gd name="connsiteX2" fmla="*/ 6095997 w 6095997"/>
              <a:gd name="connsiteY2" fmla="*/ 3428998 h 3428998"/>
              <a:gd name="connsiteX3" fmla="*/ 0 w 6095997"/>
              <a:gd name="connsiteY3" fmla="*/ 3428998 h 3428998"/>
            </a:gdLst>
            <a:ahLst/>
            <a:cxnLst>
              <a:cxn ang="0">
                <a:pos x="connsiteX0" y="connsiteY0"/>
              </a:cxn>
              <a:cxn ang="0">
                <a:pos x="connsiteX1" y="connsiteY1"/>
              </a:cxn>
              <a:cxn ang="0">
                <a:pos x="connsiteX2" y="connsiteY2"/>
              </a:cxn>
              <a:cxn ang="0">
                <a:pos x="connsiteX3" y="connsiteY3"/>
              </a:cxn>
            </a:cxnLst>
            <a:rect l="l" t="t" r="r" b="b"/>
            <a:pathLst>
              <a:path w="6095997" h="3428998">
                <a:moveTo>
                  <a:pt x="0" y="0"/>
                </a:moveTo>
                <a:lnTo>
                  <a:pt x="6095997" y="0"/>
                </a:lnTo>
                <a:lnTo>
                  <a:pt x="6095997" y="3428998"/>
                </a:lnTo>
                <a:lnTo>
                  <a:pt x="0" y="3428998"/>
                </a:lnTo>
                <a:close/>
              </a:path>
            </a:pathLst>
          </a:custGeom>
          <a:solidFill>
            <a:schemeClr val="accent6">
              <a:lumMod val="90000"/>
            </a:schemeClr>
          </a:solidFill>
        </p:spPr>
        <p:txBody>
          <a:bodyPr wrap="square" lIns="36000" tIns="36000" rIns="36000" bIns="36000" anchor="t">
            <a:noAutofit/>
          </a:bodyPr>
          <a:lstStyle>
            <a:lvl1pPr marL="0" indent="0" algn="ctr">
              <a:buNone/>
              <a:defRPr sz="1300">
                <a:solidFill>
                  <a:schemeClr val="tx2"/>
                </a:solidFill>
              </a:defRPr>
            </a:lvl1pPr>
          </a:lstStyle>
          <a:p>
            <a:r>
              <a:rPr lang="en-US" noProof="0"/>
              <a:t>Click on the icon to add an image</a:t>
            </a:r>
          </a:p>
        </p:txBody>
      </p:sp>
      <p:sp>
        <p:nvSpPr>
          <p:cNvPr id="18" name="Picture Placeholder 17">
            <a:extLst>
              <a:ext uri="{FF2B5EF4-FFF2-40B4-BE49-F238E27FC236}">
                <a16:creationId xmlns:a16="http://schemas.microsoft.com/office/drawing/2014/main" id="{F0C79A00-1FF1-DE4A-B834-AE197A728667}"/>
              </a:ext>
            </a:extLst>
          </p:cNvPr>
          <p:cNvSpPr>
            <a:spLocks noGrp="1"/>
          </p:cNvSpPr>
          <p:nvPr>
            <p:ph type="pic" sz="quarter" idx="21" hasCustomPrompt="1"/>
          </p:nvPr>
        </p:nvSpPr>
        <p:spPr>
          <a:xfrm>
            <a:off x="6102124" y="3429002"/>
            <a:ext cx="6095997" cy="3428998"/>
          </a:xfrm>
          <a:custGeom>
            <a:avLst/>
            <a:gdLst>
              <a:gd name="connsiteX0" fmla="*/ 0 w 6095997"/>
              <a:gd name="connsiteY0" fmla="*/ 0 h 3428998"/>
              <a:gd name="connsiteX1" fmla="*/ 6095997 w 6095997"/>
              <a:gd name="connsiteY1" fmla="*/ 0 h 3428998"/>
              <a:gd name="connsiteX2" fmla="*/ 6095997 w 6095997"/>
              <a:gd name="connsiteY2" fmla="*/ 3428998 h 3428998"/>
              <a:gd name="connsiteX3" fmla="*/ 0 w 6095997"/>
              <a:gd name="connsiteY3" fmla="*/ 3428998 h 3428998"/>
            </a:gdLst>
            <a:ahLst/>
            <a:cxnLst>
              <a:cxn ang="0">
                <a:pos x="connsiteX0" y="connsiteY0"/>
              </a:cxn>
              <a:cxn ang="0">
                <a:pos x="connsiteX1" y="connsiteY1"/>
              </a:cxn>
              <a:cxn ang="0">
                <a:pos x="connsiteX2" y="connsiteY2"/>
              </a:cxn>
              <a:cxn ang="0">
                <a:pos x="connsiteX3" y="connsiteY3"/>
              </a:cxn>
            </a:cxnLst>
            <a:rect l="l" t="t" r="r" b="b"/>
            <a:pathLst>
              <a:path w="6095997" h="3428998">
                <a:moveTo>
                  <a:pt x="0" y="0"/>
                </a:moveTo>
                <a:lnTo>
                  <a:pt x="6095997" y="0"/>
                </a:lnTo>
                <a:lnTo>
                  <a:pt x="6095997" y="3428998"/>
                </a:lnTo>
                <a:lnTo>
                  <a:pt x="0" y="3428998"/>
                </a:lnTo>
                <a:close/>
              </a:path>
            </a:pathLst>
          </a:custGeom>
          <a:solidFill>
            <a:schemeClr val="accent6">
              <a:lumMod val="90000"/>
            </a:schemeClr>
          </a:solidFill>
        </p:spPr>
        <p:txBody>
          <a:bodyPr wrap="square" lIns="36000" tIns="36000" rIns="36000" bIns="36000" anchor="t">
            <a:noAutofit/>
          </a:bodyPr>
          <a:lstStyle>
            <a:lvl1pPr marL="0" indent="0" algn="ctr">
              <a:buNone/>
              <a:defRPr sz="1300">
                <a:solidFill>
                  <a:schemeClr val="tx2"/>
                </a:solidFill>
              </a:defRPr>
            </a:lvl1pPr>
          </a:lstStyle>
          <a:p>
            <a:r>
              <a:rPr lang="en-US" noProof="0"/>
              <a:t>Click on the icon to add an image</a:t>
            </a:r>
          </a:p>
        </p:txBody>
      </p:sp>
      <p:grpSp>
        <p:nvGrpSpPr>
          <p:cNvPr id="21" name="Grupp 32">
            <a:extLst>
              <a:ext uri="{FF2B5EF4-FFF2-40B4-BE49-F238E27FC236}">
                <a16:creationId xmlns:a16="http://schemas.microsoft.com/office/drawing/2014/main" id="{CF6F4381-F814-DC49-BAE8-DA80AFFD9E68}"/>
              </a:ext>
            </a:extLst>
          </p:cNvPr>
          <p:cNvGrpSpPr/>
          <p:nvPr userDrawn="1"/>
        </p:nvGrpSpPr>
        <p:grpSpPr>
          <a:xfrm>
            <a:off x="576140" y="6451484"/>
            <a:ext cx="615478" cy="91194"/>
            <a:chOff x="576140" y="6451484"/>
            <a:chExt cx="615478" cy="91194"/>
          </a:xfrm>
          <a:solidFill>
            <a:schemeClr val="tx2"/>
          </a:solidFill>
        </p:grpSpPr>
        <p:sp>
          <p:nvSpPr>
            <p:cNvPr id="22" name="Bild 2">
              <a:extLst>
                <a:ext uri="{FF2B5EF4-FFF2-40B4-BE49-F238E27FC236}">
                  <a16:creationId xmlns:a16="http://schemas.microsoft.com/office/drawing/2014/main" id="{62E9B87D-A5ED-B24D-896A-D5B9B26AB281}"/>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noProof="0">
                <a:solidFill>
                  <a:schemeClr val="tx2"/>
                </a:solidFill>
              </a:endParaRPr>
            </a:p>
          </p:txBody>
        </p:sp>
        <p:sp>
          <p:nvSpPr>
            <p:cNvPr id="23" name="Bild 2">
              <a:extLst>
                <a:ext uri="{FF2B5EF4-FFF2-40B4-BE49-F238E27FC236}">
                  <a16:creationId xmlns:a16="http://schemas.microsoft.com/office/drawing/2014/main" id="{A0B698E7-BE43-3549-8D56-915B35522590}"/>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4" name="Bild 2">
              <a:extLst>
                <a:ext uri="{FF2B5EF4-FFF2-40B4-BE49-F238E27FC236}">
                  <a16:creationId xmlns:a16="http://schemas.microsoft.com/office/drawing/2014/main" id="{AE8F0FFE-43AD-8B46-AD52-5AAAB3A7E141}"/>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33" name="Bild 2">
              <a:extLst>
                <a:ext uri="{FF2B5EF4-FFF2-40B4-BE49-F238E27FC236}">
                  <a16:creationId xmlns:a16="http://schemas.microsoft.com/office/drawing/2014/main" id="{F449D80C-39D5-B049-8099-1AB0DFB21C56}"/>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sp>
          <p:nvSpPr>
            <p:cNvPr id="34" name="Bild 2">
              <a:extLst>
                <a:ext uri="{FF2B5EF4-FFF2-40B4-BE49-F238E27FC236}">
                  <a16:creationId xmlns:a16="http://schemas.microsoft.com/office/drawing/2014/main" id="{20D2215C-82C7-5E49-AD19-A866B46120D1}"/>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noProof="0">
                <a:solidFill>
                  <a:schemeClr val="tx2"/>
                </a:solidFill>
              </a:endParaRPr>
            </a:p>
          </p:txBody>
        </p:sp>
        <p:sp>
          <p:nvSpPr>
            <p:cNvPr id="35" name="Bild 2">
              <a:extLst>
                <a:ext uri="{FF2B5EF4-FFF2-40B4-BE49-F238E27FC236}">
                  <a16:creationId xmlns:a16="http://schemas.microsoft.com/office/drawing/2014/main" id="{70CBD1E9-7FEE-9349-9D43-444D469EBEE7}"/>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36" name="Bild 2">
              <a:extLst>
                <a:ext uri="{FF2B5EF4-FFF2-40B4-BE49-F238E27FC236}">
                  <a16:creationId xmlns:a16="http://schemas.microsoft.com/office/drawing/2014/main" id="{2BE0EC2B-5FD2-9449-827A-76C703008BD0}"/>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grpSp>
      <p:sp>
        <p:nvSpPr>
          <p:cNvPr id="26" name="Text Placeholder 18">
            <a:extLst>
              <a:ext uri="{FF2B5EF4-FFF2-40B4-BE49-F238E27FC236}">
                <a16:creationId xmlns:a16="http://schemas.microsoft.com/office/drawing/2014/main" id="{20467CA4-0B99-3D43-951D-AF48E93B71AF}"/>
              </a:ext>
            </a:extLst>
          </p:cNvPr>
          <p:cNvSpPr>
            <a:spLocks noGrp="1"/>
          </p:cNvSpPr>
          <p:nvPr>
            <p:ph type="body" sz="quarter" idx="14" hasCustomPrompt="1"/>
          </p:nvPr>
        </p:nvSpPr>
        <p:spPr>
          <a:xfrm>
            <a:off x="576000" y="731027"/>
            <a:ext cx="5367178" cy="1365942"/>
          </a:xfrm>
          <a:prstGeom prst="rect">
            <a:avLst/>
          </a:prstGeom>
        </p:spPr>
        <p:txBody>
          <a:bodyPr anchor="t">
            <a:noAutofit/>
          </a:bodyPr>
          <a:lstStyle>
            <a:lvl1pPr marL="0" indent="0">
              <a:lnSpc>
                <a:spcPct val="85000"/>
              </a:lnSpc>
              <a:spcBef>
                <a:spcPts val="0"/>
              </a:spcBef>
              <a:buNone/>
              <a:defRPr sz="3600" spc="40" baseline="0">
                <a:solidFill>
                  <a:schemeClr val="tx2"/>
                </a:solidFill>
                <a:latin typeface="+mj-lt"/>
              </a:defRPr>
            </a:lvl1pPr>
          </a:lstStyle>
          <a:p>
            <a:pPr lvl="0"/>
            <a:r>
              <a:rPr lang="en-US" noProof="0"/>
              <a:t>Click to add a headline </a:t>
            </a:r>
            <a:br>
              <a:rPr lang="en-US" noProof="0"/>
            </a:br>
            <a:r>
              <a:rPr lang="en-US" noProof="0"/>
              <a:t>of maximum three lines</a:t>
            </a:r>
          </a:p>
        </p:txBody>
      </p:sp>
      <p:sp>
        <p:nvSpPr>
          <p:cNvPr id="28" name="Platshållare för text 11">
            <a:extLst>
              <a:ext uri="{FF2B5EF4-FFF2-40B4-BE49-F238E27FC236}">
                <a16:creationId xmlns:a16="http://schemas.microsoft.com/office/drawing/2014/main" id="{6EA4EC91-4073-7042-8C47-9A5C07E48A82}"/>
              </a:ext>
            </a:extLst>
          </p:cNvPr>
          <p:cNvSpPr>
            <a:spLocks noGrp="1"/>
          </p:cNvSpPr>
          <p:nvPr>
            <p:ph type="body" sz="quarter" idx="22" hasCustomPrompt="1"/>
          </p:nvPr>
        </p:nvSpPr>
        <p:spPr>
          <a:xfrm>
            <a:off x="576000" y="2527200"/>
            <a:ext cx="5377125" cy="3600450"/>
          </a:xfrm>
        </p:spPr>
        <p:txBody>
          <a:bodyPr/>
          <a:lstStyle/>
          <a:p>
            <a:pPr lvl="0"/>
            <a:r>
              <a:rPr lang="en-US" noProof="0"/>
              <a:t>Click to add body text</a:t>
            </a:r>
          </a:p>
          <a:p>
            <a:pPr lvl="1"/>
            <a:r>
              <a:rPr lang="en-US" noProof="0"/>
              <a:t>Second level</a:t>
            </a:r>
          </a:p>
          <a:p>
            <a:pPr lvl="2"/>
            <a:r>
              <a:rPr lang="en-US" noProof="0"/>
              <a:t>Third level</a:t>
            </a:r>
          </a:p>
          <a:p>
            <a:pPr lvl="3"/>
            <a:r>
              <a:rPr lang="en-US" noProof="0"/>
              <a:t>Fourth level </a:t>
            </a:r>
          </a:p>
          <a:p>
            <a:pPr lvl="4"/>
            <a:r>
              <a:rPr lang="en-US" noProof="0"/>
              <a:t>Fifth level</a:t>
            </a:r>
          </a:p>
        </p:txBody>
      </p:sp>
      <p:sp>
        <p:nvSpPr>
          <p:cNvPr id="19" name="Platshållare för datum 3">
            <a:extLst>
              <a:ext uri="{FF2B5EF4-FFF2-40B4-BE49-F238E27FC236}">
                <a16:creationId xmlns:a16="http://schemas.microsoft.com/office/drawing/2014/main" id="{45B54E49-CA70-F24E-94C1-2A908903A1EB}"/>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tx2"/>
                </a:solidFill>
              </a:defRPr>
            </a:lvl1pPr>
          </a:lstStyle>
          <a:p>
            <a:fld id="{2F9806AD-009B-8D45-82A9-B9E8234B6322}" type="datetime1">
              <a:rPr lang="en-US" noProof="0" smtClean="0"/>
              <a:t>10/17/2023</a:t>
            </a:fld>
            <a:endParaRPr lang="en-US" noProof="0"/>
          </a:p>
        </p:txBody>
      </p:sp>
      <p:sp>
        <p:nvSpPr>
          <p:cNvPr id="20" name="Platshållare för sidfot 4">
            <a:extLst>
              <a:ext uri="{FF2B5EF4-FFF2-40B4-BE49-F238E27FC236}">
                <a16:creationId xmlns:a16="http://schemas.microsoft.com/office/drawing/2014/main" id="{81CF31E5-3CFA-0741-9FA7-E68B33FF1823}"/>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tx2"/>
                </a:solidFill>
              </a:defRPr>
            </a:lvl1pPr>
          </a:lstStyle>
          <a:p>
            <a:r>
              <a:rPr lang="en-US" noProof="0"/>
              <a:t>Go to header/footer to change text </a:t>
            </a:r>
          </a:p>
        </p:txBody>
      </p:sp>
      <p:sp>
        <p:nvSpPr>
          <p:cNvPr id="25" name="Platshållare för bildnummer 5">
            <a:extLst>
              <a:ext uri="{FF2B5EF4-FFF2-40B4-BE49-F238E27FC236}">
                <a16:creationId xmlns:a16="http://schemas.microsoft.com/office/drawing/2014/main" id="{E01C1CB6-4DB0-AD41-90AA-E2810CAF6C39}"/>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tx2"/>
                </a:solidFill>
              </a:defRPr>
            </a:lvl1pPr>
          </a:lstStyle>
          <a:p>
            <a:fld id="{EF8DBD5B-30F9-4F9C-AE39-E065C1AC514D}" type="slidenum">
              <a:rPr lang="en-US" noProof="0" smtClean="0"/>
              <a:pPr/>
              <a:t>‹#›</a:t>
            </a:fld>
            <a:endParaRPr lang="en-US" noProof="0"/>
          </a:p>
        </p:txBody>
      </p:sp>
      <p:sp>
        <p:nvSpPr>
          <p:cNvPr id="27" name="Text Placeholder 4">
            <a:extLst>
              <a:ext uri="{FF2B5EF4-FFF2-40B4-BE49-F238E27FC236}">
                <a16:creationId xmlns:a16="http://schemas.microsoft.com/office/drawing/2014/main" id="{72EE66E8-7924-5B47-AFDD-577EDE917188}"/>
              </a:ext>
            </a:extLst>
          </p:cNvPr>
          <p:cNvSpPr>
            <a:spLocks noGrp="1"/>
          </p:cNvSpPr>
          <p:nvPr>
            <p:ph type="body" sz="quarter" idx="16" hasCustomPrompt="1"/>
          </p:nvPr>
        </p:nvSpPr>
        <p:spPr>
          <a:xfrm rot="5400000">
            <a:off x="10901730" y="803644"/>
            <a:ext cx="2093913" cy="486626"/>
          </a:xfrm>
        </p:spPr>
        <p:txBody>
          <a:bodyPr lIns="180000" tIns="180000" rIns="0" bIns="180000" anchor="ctr">
            <a:spAutoFit/>
          </a:bodyPr>
          <a:lstStyle>
            <a:lvl1pPr marL="6350" indent="0" algn="l">
              <a:buNone/>
              <a:defRPr sz="800"/>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
        <p:nvSpPr>
          <p:cNvPr id="29" name="Text Placeholder 4">
            <a:extLst>
              <a:ext uri="{FF2B5EF4-FFF2-40B4-BE49-F238E27FC236}">
                <a16:creationId xmlns:a16="http://schemas.microsoft.com/office/drawing/2014/main" id="{F0ECC550-5076-C14C-9AC3-F7D9B43AE5CC}"/>
              </a:ext>
            </a:extLst>
          </p:cNvPr>
          <p:cNvSpPr>
            <a:spLocks noGrp="1"/>
          </p:cNvSpPr>
          <p:nvPr>
            <p:ph type="body" sz="quarter" idx="23" hasCustomPrompt="1"/>
          </p:nvPr>
        </p:nvSpPr>
        <p:spPr>
          <a:xfrm rot="5400000">
            <a:off x="10901730" y="4232646"/>
            <a:ext cx="2093913" cy="486626"/>
          </a:xfrm>
        </p:spPr>
        <p:txBody>
          <a:bodyPr lIns="180000" tIns="180000" rIns="0" bIns="180000" anchor="ctr">
            <a:spAutoFit/>
          </a:bodyPr>
          <a:lstStyle>
            <a:lvl1pPr marL="6350" indent="0" algn="l">
              <a:buNone/>
              <a:defRPr sz="800"/>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Tree>
    <p:extLst>
      <p:ext uri="{BB962C8B-B14F-4D97-AF65-F5344CB8AC3E}">
        <p14:creationId xmlns:p14="http://schemas.microsoft.com/office/powerpoint/2010/main" val="340396147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6 Text Third Image">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83718FC5-379A-3343-904E-06A5A117D84C}"/>
              </a:ext>
            </a:extLst>
          </p:cNvPr>
          <p:cNvSpPr>
            <a:spLocks noGrp="1"/>
          </p:cNvSpPr>
          <p:nvPr>
            <p:ph type="pic" sz="quarter" idx="18" hasCustomPrompt="1"/>
          </p:nvPr>
        </p:nvSpPr>
        <p:spPr>
          <a:xfrm>
            <a:off x="8139600" y="-1"/>
            <a:ext cx="4050000" cy="6868800"/>
          </a:xfrm>
          <a:custGeom>
            <a:avLst/>
            <a:gdLst>
              <a:gd name="connsiteX0" fmla="*/ 0 w 6095997"/>
              <a:gd name="connsiteY0" fmla="*/ 0 h 6857997"/>
              <a:gd name="connsiteX1" fmla="*/ 6095997 w 6095997"/>
              <a:gd name="connsiteY1" fmla="*/ 0 h 6857997"/>
              <a:gd name="connsiteX2" fmla="*/ 6095997 w 6095997"/>
              <a:gd name="connsiteY2" fmla="*/ 3157535 h 6857997"/>
              <a:gd name="connsiteX3" fmla="*/ 6095997 w 6095997"/>
              <a:gd name="connsiteY3" fmla="*/ 3428998 h 6857997"/>
              <a:gd name="connsiteX4" fmla="*/ 6095997 w 6095997"/>
              <a:gd name="connsiteY4" fmla="*/ 6857997 h 6857997"/>
              <a:gd name="connsiteX5" fmla="*/ 0 w 6095997"/>
              <a:gd name="connsiteY5" fmla="*/ 6857997 h 6857997"/>
              <a:gd name="connsiteX6" fmla="*/ 0 w 6095997"/>
              <a:gd name="connsiteY6" fmla="*/ 3428998 h 6857997"/>
              <a:gd name="connsiteX7" fmla="*/ 0 w 6095997"/>
              <a:gd name="connsiteY7" fmla="*/ 3157535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5997" h="6857997">
                <a:moveTo>
                  <a:pt x="0" y="0"/>
                </a:moveTo>
                <a:lnTo>
                  <a:pt x="6095997" y="0"/>
                </a:lnTo>
                <a:lnTo>
                  <a:pt x="6095997" y="3157535"/>
                </a:lnTo>
                <a:lnTo>
                  <a:pt x="6095997" y="3428998"/>
                </a:lnTo>
                <a:lnTo>
                  <a:pt x="6095997" y="6857997"/>
                </a:lnTo>
                <a:lnTo>
                  <a:pt x="0" y="6857997"/>
                </a:lnTo>
                <a:lnTo>
                  <a:pt x="0" y="3428998"/>
                </a:lnTo>
                <a:lnTo>
                  <a:pt x="0" y="3157535"/>
                </a:lnTo>
                <a:close/>
              </a:path>
            </a:pathLst>
          </a:custGeom>
          <a:solidFill>
            <a:schemeClr val="accent6">
              <a:lumMod val="90000"/>
            </a:schemeClr>
          </a:solidFill>
        </p:spPr>
        <p:txBody>
          <a:bodyPr wrap="square" lIns="36000" tIns="36000" rIns="36000" bIns="36000">
            <a:noAutofit/>
          </a:bodyPr>
          <a:lstStyle>
            <a:lvl1pPr marL="0" indent="0" algn="ctr">
              <a:buNone/>
              <a:defRPr sz="1300">
                <a:solidFill>
                  <a:schemeClr val="tx2"/>
                </a:solidFill>
              </a:defRPr>
            </a:lvl1pPr>
          </a:lstStyle>
          <a:p>
            <a:r>
              <a:rPr lang="en-US" noProof="0"/>
              <a:t>Click on the icon to add an image</a:t>
            </a:r>
          </a:p>
        </p:txBody>
      </p:sp>
      <p:sp>
        <p:nvSpPr>
          <p:cNvPr id="19" name="Text Placeholder 18">
            <a:extLst>
              <a:ext uri="{FF2B5EF4-FFF2-40B4-BE49-F238E27FC236}">
                <a16:creationId xmlns:a16="http://schemas.microsoft.com/office/drawing/2014/main" id="{696CCD45-BBC3-4242-B2B8-F5604A1D97BB}"/>
              </a:ext>
            </a:extLst>
          </p:cNvPr>
          <p:cNvSpPr>
            <a:spLocks noGrp="1"/>
          </p:cNvSpPr>
          <p:nvPr>
            <p:ph type="body" sz="quarter" idx="14" hasCustomPrompt="1"/>
          </p:nvPr>
        </p:nvSpPr>
        <p:spPr>
          <a:xfrm>
            <a:off x="576000" y="730801"/>
            <a:ext cx="7258375" cy="860256"/>
          </a:xfrm>
          <a:prstGeom prst="rect">
            <a:avLst/>
          </a:prstGeom>
        </p:spPr>
        <p:txBody>
          <a:bodyPr anchor="t">
            <a:noAutofit/>
          </a:bodyPr>
          <a:lstStyle>
            <a:lvl1pPr marL="0" indent="0">
              <a:lnSpc>
                <a:spcPct val="85000"/>
              </a:lnSpc>
              <a:spcBef>
                <a:spcPts val="0"/>
              </a:spcBef>
              <a:buNone/>
              <a:defRPr sz="3600" spc="40" baseline="0">
                <a:solidFill>
                  <a:schemeClr val="tx2"/>
                </a:solidFill>
                <a:latin typeface="+mj-lt"/>
              </a:defRPr>
            </a:lvl1pPr>
          </a:lstStyle>
          <a:p>
            <a:pPr lvl="0"/>
            <a:r>
              <a:rPr lang="en-US" noProof="0"/>
              <a:t>Click to add a headline </a:t>
            </a:r>
            <a:br>
              <a:rPr lang="en-US" noProof="0"/>
            </a:br>
            <a:r>
              <a:rPr lang="en-US" noProof="0"/>
              <a:t>of maximum two lines</a:t>
            </a:r>
          </a:p>
        </p:txBody>
      </p:sp>
      <p:grpSp>
        <p:nvGrpSpPr>
          <p:cNvPr id="21" name="Grupp 32">
            <a:extLst>
              <a:ext uri="{FF2B5EF4-FFF2-40B4-BE49-F238E27FC236}">
                <a16:creationId xmlns:a16="http://schemas.microsoft.com/office/drawing/2014/main" id="{CF6F4381-F814-DC49-BAE8-DA80AFFD9E68}"/>
              </a:ext>
            </a:extLst>
          </p:cNvPr>
          <p:cNvGrpSpPr/>
          <p:nvPr userDrawn="1"/>
        </p:nvGrpSpPr>
        <p:grpSpPr>
          <a:xfrm>
            <a:off x="576140" y="6451484"/>
            <a:ext cx="615478" cy="91194"/>
            <a:chOff x="576140" y="6451484"/>
            <a:chExt cx="615478" cy="91194"/>
          </a:xfrm>
          <a:solidFill>
            <a:schemeClr val="tx2"/>
          </a:solidFill>
        </p:grpSpPr>
        <p:sp>
          <p:nvSpPr>
            <p:cNvPr id="22" name="Bild 2">
              <a:extLst>
                <a:ext uri="{FF2B5EF4-FFF2-40B4-BE49-F238E27FC236}">
                  <a16:creationId xmlns:a16="http://schemas.microsoft.com/office/drawing/2014/main" id="{62E9B87D-A5ED-B24D-896A-D5B9B26AB281}"/>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noProof="0">
                <a:solidFill>
                  <a:schemeClr val="tx2"/>
                </a:solidFill>
              </a:endParaRPr>
            </a:p>
          </p:txBody>
        </p:sp>
        <p:sp>
          <p:nvSpPr>
            <p:cNvPr id="23" name="Bild 2">
              <a:extLst>
                <a:ext uri="{FF2B5EF4-FFF2-40B4-BE49-F238E27FC236}">
                  <a16:creationId xmlns:a16="http://schemas.microsoft.com/office/drawing/2014/main" id="{A0B698E7-BE43-3549-8D56-915B35522590}"/>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4" name="Bild 2">
              <a:extLst>
                <a:ext uri="{FF2B5EF4-FFF2-40B4-BE49-F238E27FC236}">
                  <a16:creationId xmlns:a16="http://schemas.microsoft.com/office/drawing/2014/main" id="{AE8F0FFE-43AD-8B46-AD52-5AAAB3A7E141}"/>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33" name="Bild 2">
              <a:extLst>
                <a:ext uri="{FF2B5EF4-FFF2-40B4-BE49-F238E27FC236}">
                  <a16:creationId xmlns:a16="http://schemas.microsoft.com/office/drawing/2014/main" id="{F449D80C-39D5-B049-8099-1AB0DFB21C56}"/>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sp>
          <p:nvSpPr>
            <p:cNvPr id="34" name="Bild 2">
              <a:extLst>
                <a:ext uri="{FF2B5EF4-FFF2-40B4-BE49-F238E27FC236}">
                  <a16:creationId xmlns:a16="http://schemas.microsoft.com/office/drawing/2014/main" id="{20D2215C-82C7-5E49-AD19-A866B46120D1}"/>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noProof="0">
                <a:solidFill>
                  <a:schemeClr val="tx2"/>
                </a:solidFill>
              </a:endParaRPr>
            </a:p>
          </p:txBody>
        </p:sp>
        <p:sp>
          <p:nvSpPr>
            <p:cNvPr id="35" name="Bild 2">
              <a:extLst>
                <a:ext uri="{FF2B5EF4-FFF2-40B4-BE49-F238E27FC236}">
                  <a16:creationId xmlns:a16="http://schemas.microsoft.com/office/drawing/2014/main" id="{70CBD1E9-7FEE-9349-9D43-444D469EBEE7}"/>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36" name="Bild 2">
              <a:extLst>
                <a:ext uri="{FF2B5EF4-FFF2-40B4-BE49-F238E27FC236}">
                  <a16:creationId xmlns:a16="http://schemas.microsoft.com/office/drawing/2014/main" id="{2BE0EC2B-5FD2-9449-827A-76C703008BD0}"/>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grpSp>
      <p:sp>
        <p:nvSpPr>
          <p:cNvPr id="8" name="Text Placeholder 7">
            <a:extLst>
              <a:ext uri="{FF2B5EF4-FFF2-40B4-BE49-F238E27FC236}">
                <a16:creationId xmlns:a16="http://schemas.microsoft.com/office/drawing/2014/main" id="{2E443046-6083-654F-90A3-8BC37A592844}"/>
              </a:ext>
            </a:extLst>
          </p:cNvPr>
          <p:cNvSpPr>
            <a:spLocks noGrp="1"/>
          </p:cNvSpPr>
          <p:nvPr>
            <p:ph type="body" sz="quarter" idx="19" hasCustomPrompt="1"/>
          </p:nvPr>
        </p:nvSpPr>
        <p:spPr>
          <a:xfrm>
            <a:off x="576000" y="2527201"/>
            <a:ext cx="3481650" cy="353159"/>
          </a:xfrm>
        </p:spPr>
        <p:txBody>
          <a:bodyPr/>
          <a:lstStyle>
            <a:lvl1pPr marL="0" indent="0">
              <a:lnSpc>
                <a:spcPct val="100000"/>
              </a:lnSpc>
              <a:spcBef>
                <a:spcPts val="0"/>
              </a:spcBef>
              <a:spcAft>
                <a:spcPts val="2000"/>
              </a:spcAft>
              <a:buNone/>
              <a:defRPr sz="1800" b="1" spc="40" baseline="0"/>
            </a:lvl1pPr>
            <a:lvl2pPr marL="180000">
              <a:lnSpc>
                <a:spcPct val="100000"/>
              </a:lnSpc>
              <a:spcBef>
                <a:spcPts val="0"/>
              </a:spcBef>
              <a:spcAft>
                <a:spcPts val="600"/>
              </a:spcAft>
              <a:defRPr sz="1800" spc="40" baseline="0"/>
            </a:lvl2pPr>
            <a:lvl3pPr marL="404813" indent="-182563">
              <a:tabLst/>
              <a:defRPr sz="1400" spc="40" baseline="0"/>
            </a:lvl3pPr>
            <a:lvl4pPr marL="536575" indent="-131763">
              <a:tabLst/>
              <a:defRPr sz="1200" spc="40" baseline="0"/>
            </a:lvl4pPr>
            <a:lvl5pPr marL="627063" indent="-130175">
              <a:tabLst/>
              <a:defRPr sz="1100" spc="40" baseline="0"/>
            </a:lvl5pPr>
          </a:lstStyle>
          <a:p>
            <a:pPr lvl="0"/>
            <a:r>
              <a:rPr lang="en-US" noProof="0"/>
              <a:t>Click to add a short headline</a:t>
            </a:r>
          </a:p>
        </p:txBody>
      </p:sp>
      <p:sp>
        <p:nvSpPr>
          <p:cNvPr id="16" name="Text Placeholder 7">
            <a:extLst>
              <a:ext uri="{FF2B5EF4-FFF2-40B4-BE49-F238E27FC236}">
                <a16:creationId xmlns:a16="http://schemas.microsoft.com/office/drawing/2014/main" id="{E67F9331-98D1-9C4B-905A-0ADF2E53F9BE}"/>
              </a:ext>
            </a:extLst>
          </p:cNvPr>
          <p:cNvSpPr>
            <a:spLocks noGrp="1"/>
          </p:cNvSpPr>
          <p:nvPr>
            <p:ph type="body" sz="quarter" idx="20" hasCustomPrompt="1"/>
          </p:nvPr>
        </p:nvSpPr>
        <p:spPr>
          <a:xfrm>
            <a:off x="4360747" y="2527201"/>
            <a:ext cx="3470274" cy="353159"/>
          </a:xfrm>
        </p:spPr>
        <p:txBody>
          <a:bodyPr/>
          <a:lstStyle>
            <a:lvl1pPr marL="0" indent="0">
              <a:lnSpc>
                <a:spcPct val="100000"/>
              </a:lnSpc>
              <a:spcBef>
                <a:spcPts val="0"/>
              </a:spcBef>
              <a:spcAft>
                <a:spcPts val="2000"/>
              </a:spcAft>
              <a:buNone/>
              <a:defRPr sz="1800" b="1" spc="40" baseline="0"/>
            </a:lvl1pPr>
            <a:lvl2pPr marL="180000">
              <a:lnSpc>
                <a:spcPct val="100000"/>
              </a:lnSpc>
              <a:spcBef>
                <a:spcPts val="0"/>
              </a:spcBef>
              <a:spcAft>
                <a:spcPts val="600"/>
              </a:spcAft>
              <a:defRPr sz="1800" spc="40" baseline="0"/>
            </a:lvl2pPr>
            <a:lvl3pPr marL="404813" indent="-182563">
              <a:tabLst/>
              <a:defRPr sz="1400" spc="40" baseline="0"/>
            </a:lvl3pPr>
            <a:lvl4pPr marL="536575" indent="-131763">
              <a:tabLst/>
              <a:defRPr sz="1200" spc="40" baseline="0"/>
            </a:lvl4pPr>
            <a:lvl5pPr marL="627063" indent="-130175">
              <a:tabLst/>
              <a:defRPr sz="1100" spc="40" baseline="0"/>
            </a:lvl5pPr>
          </a:lstStyle>
          <a:p>
            <a:pPr lvl="0"/>
            <a:r>
              <a:rPr lang="en-US" noProof="0"/>
              <a:t>Click to add a short headline</a:t>
            </a:r>
          </a:p>
        </p:txBody>
      </p:sp>
      <p:sp>
        <p:nvSpPr>
          <p:cNvPr id="18" name="Platshållare för text 11">
            <a:extLst>
              <a:ext uri="{FF2B5EF4-FFF2-40B4-BE49-F238E27FC236}">
                <a16:creationId xmlns:a16="http://schemas.microsoft.com/office/drawing/2014/main" id="{B167AB32-6297-C042-8F90-85FF79E8A715}"/>
              </a:ext>
            </a:extLst>
          </p:cNvPr>
          <p:cNvSpPr>
            <a:spLocks noGrp="1"/>
          </p:cNvSpPr>
          <p:nvPr>
            <p:ph type="body" sz="quarter" idx="22" hasCustomPrompt="1"/>
          </p:nvPr>
        </p:nvSpPr>
        <p:spPr>
          <a:xfrm>
            <a:off x="576001" y="3101340"/>
            <a:ext cx="3481650" cy="3027998"/>
          </a:xfrm>
        </p:spPr>
        <p:txBody>
          <a:bodyPr/>
          <a:lstStyle/>
          <a:p>
            <a:pPr lvl="0"/>
            <a:r>
              <a:rPr lang="en-US" noProof="0"/>
              <a:t>Click to add body text</a:t>
            </a:r>
          </a:p>
          <a:p>
            <a:pPr lvl="1"/>
            <a:r>
              <a:rPr lang="en-US" noProof="0"/>
              <a:t>Second level</a:t>
            </a:r>
          </a:p>
          <a:p>
            <a:pPr lvl="2"/>
            <a:r>
              <a:rPr lang="en-US" noProof="0"/>
              <a:t>Third level</a:t>
            </a:r>
          </a:p>
          <a:p>
            <a:pPr lvl="3"/>
            <a:r>
              <a:rPr lang="en-US" noProof="0"/>
              <a:t>Fourth level </a:t>
            </a:r>
          </a:p>
          <a:p>
            <a:pPr lvl="4"/>
            <a:r>
              <a:rPr lang="en-US" noProof="0"/>
              <a:t>Fifth level</a:t>
            </a:r>
          </a:p>
        </p:txBody>
      </p:sp>
      <p:sp>
        <p:nvSpPr>
          <p:cNvPr id="20" name="Platshållare för text 11">
            <a:extLst>
              <a:ext uri="{FF2B5EF4-FFF2-40B4-BE49-F238E27FC236}">
                <a16:creationId xmlns:a16="http://schemas.microsoft.com/office/drawing/2014/main" id="{A3BB055C-51F0-9547-B732-F77893221A8A}"/>
              </a:ext>
            </a:extLst>
          </p:cNvPr>
          <p:cNvSpPr>
            <a:spLocks noGrp="1"/>
          </p:cNvSpPr>
          <p:nvPr>
            <p:ph type="body" sz="quarter" idx="23" hasCustomPrompt="1"/>
          </p:nvPr>
        </p:nvSpPr>
        <p:spPr>
          <a:xfrm>
            <a:off x="4360747" y="3101340"/>
            <a:ext cx="3468803" cy="3027998"/>
          </a:xfrm>
        </p:spPr>
        <p:txBody>
          <a:bodyPr/>
          <a:lstStyle/>
          <a:p>
            <a:pPr lvl="0"/>
            <a:r>
              <a:rPr lang="en-US" noProof="0"/>
              <a:t>Click to add body text</a:t>
            </a:r>
          </a:p>
          <a:p>
            <a:pPr lvl="1"/>
            <a:r>
              <a:rPr lang="en-US" noProof="0"/>
              <a:t>Second level</a:t>
            </a:r>
          </a:p>
          <a:p>
            <a:pPr lvl="2"/>
            <a:r>
              <a:rPr lang="en-US" noProof="0"/>
              <a:t>Third level</a:t>
            </a:r>
          </a:p>
          <a:p>
            <a:pPr lvl="3"/>
            <a:r>
              <a:rPr lang="en-US" noProof="0"/>
              <a:t>Fourth level </a:t>
            </a:r>
          </a:p>
          <a:p>
            <a:pPr lvl="4"/>
            <a:r>
              <a:rPr lang="en-US" noProof="0"/>
              <a:t>Fifth level</a:t>
            </a:r>
          </a:p>
        </p:txBody>
      </p:sp>
      <p:sp>
        <p:nvSpPr>
          <p:cNvPr id="25" name="Platshållare för datum 3">
            <a:extLst>
              <a:ext uri="{FF2B5EF4-FFF2-40B4-BE49-F238E27FC236}">
                <a16:creationId xmlns:a16="http://schemas.microsoft.com/office/drawing/2014/main" id="{EF8DED46-4381-4A4E-B90C-47E643212D33}"/>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tx2"/>
                </a:solidFill>
              </a:defRPr>
            </a:lvl1pPr>
          </a:lstStyle>
          <a:p>
            <a:fld id="{2F9806AD-009B-8D45-82A9-B9E8234B6322}" type="datetime1">
              <a:rPr lang="en-US" noProof="0" smtClean="0"/>
              <a:t>10/17/2023</a:t>
            </a:fld>
            <a:endParaRPr lang="en-US" noProof="0"/>
          </a:p>
        </p:txBody>
      </p:sp>
      <p:sp>
        <p:nvSpPr>
          <p:cNvPr id="26" name="Platshållare för sidfot 4">
            <a:extLst>
              <a:ext uri="{FF2B5EF4-FFF2-40B4-BE49-F238E27FC236}">
                <a16:creationId xmlns:a16="http://schemas.microsoft.com/office/drawing/2014/main" id="{156B130B-C777-8649-96AB-98BFDD4C3943}"/>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tx2"/>
                </a:solidFill>
              </a:defRPr>
            </a:lvl1pPr>
          </a:lstStyle>
          <a:p>
            <a:r>
              <a:rPr lang="en-US" noProof="0"/>
              <a:t>Go to header/footer to change text </a:t>
            </a:r>
          </a:p>
        </p:txBody>
      </p:sp>
      <p:sp>
        <p:nvSpPr>
          <p:cNvPr id="27" name="Platshållare för bildnummer 5">
            <a:extLst>
              <a:ext uri="{FF2B5EF4-FFF2-40B4-BE49-F238E27FC236}">
                <a16:creationId xmlns:a16="http://schemas.microsoft.com/office/drawing/2014/main" id="{F143B0E1-EC62-C549-82DA-518FA9718F4A}"/>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tx2"/>
                </a:solidFill>
              </a:defRPr>
            </a:lvl1pPr>
          </a:lstStyle>
          <a:p>
            <a:fld id="{EF8DBD5B-30F9-4F9C-AE39-E065C1AC514D}" type="slidenum">
              <a:rPr lang="en-US" noProof="0" smtClean="0"/>
              <a:pPr/>
              <a:t>‹#›</a:t>
            </a:fld>
            <a:endParaRPr lang="en-US" noProof="0"/>
          </a:p>
        </p:txBody>
      </p:sp>
      <p:sp>
        <p:nvSpPr>
          <p:cNvPr id="29" name="Text Placeholder 4">
            <a:extLst>
              <a:ext uri="{FF2B5EF4-FFF2-40B4-BE49-F238E27FC236}">
                <a16:creationId xmlns:a16="http://schemas.microsoft.com/office/drawing/2014/main" id="{451A2045-A8EE-6E45-9F6D-0E79C884BB53}"/>
              </a:ext>
            </a:extLst>
          </p:cNvPr>
          <p:cNvSpPr>
            <a:spLocks noGrp="1"/>
          </p:cNvSpPr>
          <p:nvPr>
            <p:ph type="body" sz="quarter" idx="24" hasCustomPrompt="1"/>
          </p:nvPr>
        </p:nvSpPr>
        <p:spPr>
          <a:xfrm rot="5400000">
            <a:off x="10901730" y="803644"/>
            <a:ext cx="2093913" cy="486626"/>
          </a:xfrm>
        </p:spPr>
        <p:txBody>
          <a:bodyPr lIns="180000" tIns="180000" rIns="0" bIns="180000" anchor="ctr">
            <a:spAutoFit/>
          </a:bodyPr>
          <a:lstStyle>
            <a:lvl1pPr marL="6350" indent="0" algn="l">
              <a:buNone/>
              <a:defRPr sz="800"/>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Tree>
    <p:extLst>
      <p:ext uri="{BB962C8B-B14F-4D97-AF65-F5344CB8AC3E}">
        <p14:creationId xmlns:p14="http://schemas.microsoft.com/office/powerpoint/2010/main" val="85071364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6 Full Image Text">
    <p:bg>
      <p:bgPr>
        <a:solidFill>
          <a:schemeClr val="tx2"/>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3CBA7EE4-EB8C-8F45-95DB-49CBDE2D978D}"/>
              </a:ext>
            </a:extLst>
          </p:cNvPr>
          <p:cNvSpPr>
            <a:spLocks noGrp="1"/>
          </p:cNvSpPr>
          <p:nvPr>
            <p:ph type="pic" sz="quarter" idx="13" hasCustomPrompt="1"/>
          </p:nvPr>
        </p:nvSpPr>
        <p:spPr>
          <a:xfrm>
            <a:off x="5" y="5"/>
            <a:ext cx="12191997" cy="6857997"/>
          </a:xfrm>
          <a:custGeom>
            <a:avLst/>
            <a:gdLst>
              <a:gd name="connsiteX0" fmla="*/ 1146049 w 12191997"/>
              <a:gd name="connsiteY0" fmla="*/ 6470534 h 6857997"/>
              <a:gd name="connsiteX1" fmla="*/ 1157832 w 12191997"/>
              <a:gd name="connsiteY1" fmla="*/ 6505507 h 6857997"/>
              <a:gd name="connsiteX2" fmla="*/ 1134642 w 12191997"/>
              <a:gd name="connsiteY2" fmla="*/ 6505507 h 6857997"/>
              <a:gd name="connsiteX3" fmla="*/ 788170 w 12191997"/>
              <a:gd name="connsiteY3" fmla="*/ 6470534 h 6857997"/>
              <a:gd name="connsiteX4" fmla="*/ 799953 w 12191997"/>
              <a:gd name="connsiteY4" fmla="*/ 6505507 h 6857997"/>
              <a:gd name="connsiteX5" fmla="*/ 776763 w 12191997"/>
              <a:gd name="connsiteY5" fmla="*/ 6505507 h 6857997"/>
              <a:gd name="connsiteX6" fmla="*/ 1132323 w 12191997"/>
              <a:gd name="connsiteY6" fmla="*/ 6451543 h 6857997"/>
              <a:gd name="connsiteX7" fmla="*/ 1100860 w 12191997"/>
              <a:gd name="connsiteY7" fmla="*/ 6542674 h 6857997"/>
              <a:gd name="connsiteX8" fmla="*/ 1123110 w 12191997"/>
              <a:gd name="connsiteY8" fmla="*/ 6542674 h 6857997"/>
              <a:gd name="connsiteX9" fmla="*/ 1128876 w 12191997"/>
              <a:gd name="connsiteY9" fmla="*/ 6524060 h 6857997"/>
              <a:gd name="connsiteX10" fmla="*/ 1163786 w 12191997"/>
              <a:gd name="connsiteY10" fmla="*/ 6524060 h 6857997"/>
              <a:gd name="connsiteX11" fmla="*/ 1169741 w 12191997"/>
              <a:gd name="connsiteY11" fmla="*/ 6542674 h 6857997"/>
              <a:gd name="connsiteX12" fmla="*/ 1191615 w 12191997"/>
              <a:gd name="connsiteY12" fmla="*/ 6542674 h 6857997"/>
              <a:gd name="connsiteX13" fmla="*/ 1159148 w 12191997"/>
              <a:gd name="connsiteY13" fmla="*/ 6451543 h 6857997"/>
              <a:gd name="connsiteX14" fmla="*/ 961907 w 12191997"/>
              <a:gd name="connsiteY14" fmla="*/ 6451543 h 6857997"/>
              <a:gd name="connsiteX15" fmla="*/ 933640 w 12191997"/>
              <a:gd name="connsiteY15" fmla="*/ 6479246 h 6857997"/>
              <a:gd name="connsiteX16" fmla="*/ 961907 w 12191997"/>
              <a:gd name="connsiteY16" fmla="*/ 6505821 h 6857997"/>
              <a:gd name="connsiteX17" fmla="*/ 983468 w 12191997"/>
              <a:gd name="connsiteY17" fmla="*/ 6505821 h 6857997"/>
              <a:gd name="connsiteX18" fmla="*/ 991678 w 12191997"/>
              <a:gd name="connsiteY18" fmla="*/ 6514282 h 6857997"/>
              <a:gd name="connsiteX19" fmla="*/ 983468 w 12191997"/>
              <a:gd name="connsiteY19" fmla="*/ 6522743 h 6857997"/>
              <a:gd name="connsiteX20" fmla="*/ 937338 w 12191997"/>
              <a:gd name="connsiteY20" fmla="*/ 6522743 h 6857997"/>
              <a:gd name="connsiteX21" fmla="*/ 937338 w 12191997"/>
              <a:gd name="connsiteY21" fmla="*/ 6542674 h 6857997"/>
              <a:gd name="connsiteX22" fmla="*/ 982716 w 12191997"/>
              <a:gd name="connsiteY22" fmla="*/ 6542674 h 6857997"/>
              <a:gd name="connsiteX23" fmla="*/ 1011358 w 12191997"/>
              <a:gd name="connsiteY23" fmla="*/ 6514282 h 6857997"/>
              <a:gd name="connsiteX24" fmla="*/ 986727 w 12191997"/>
              <a:gd name="connsiteY24" fmla="*/ 6487707 h 6857997"/>
              <a:gd name="connsiteX25" fmla="*/ 961907 w 12191997"/>
              <a:gd name="connsiteY25" fmla="*/ 6487707 h 6857997"/>
              <a:gd name="connsiteX26" fmla="*/ 953321 w 12191997"/>
              <a:gd name="connsiteY26" fmla="*/ 6479246 h 6857997"/>
              <a:gd name="connsiteX27" fmla="*/ 961907 w 12191997"/>
              <a:gd name="connsiteY27" fmla="*/ 6470785 h 6857997"/>
              <a:gd name="connsiteX28" fmla="*/ 1004965 w 12191997"/>
              <a:gd name="connsiteY28" fmla="*/ 6470785 h 6857997"/>
              <a:gd name="connsiteX29" fmla="*/ 1004965 w 12191997"/>
              <a:gd name="connsiteY29" fmla="*/ 6451543 h 6857997"/>
              <a:gd name="connsiteX30" fmla="*/ 841570 w 12191997"/>
              <a:gd name="connsiteY30" fmla="*/ 6451543 h 6857997"/>
              <a:gd name="connsiteX31" fmla="*/ 841570 w 12191997"/>
              <a:gd name="connsiteY31" fmla="*/ 6542674 h 6857997"/>
              <a:gd name="connsiteX32" fmla="*/ 862692 w 12191997"/>
              <a:gd name="connsiteY32" fmla="*/ 6542674 h 6857997"/>
              <a:gd name="connsiteX33" fmla="*/ 862692 w 12191997"/>
              <a:gd name="connsiteY33" fmla="*/ 6486454 h 6857997"/>
              <a:gd name="connsiteX34" fmla="*/ 898981 w 12191997"/>
              <a:gd name="connsiteY34" fmla="*/ 6542486 h 6857997"/>
              <a:gd name="connsiteX35" fmla="*/ 898981 w 12191997"/>
              <a:gd name="connsiteY35" fmla="*/ 6542674 h 6857997"/>
              <a:gd name="connsiteX36" fmla="*/ 920855 w 12191997"/>
              <a:gd name="connsiteY36" fmla="*/ 6542674 h 6857997"/>
              <a:gd name="connsiteX37" fmla="*/ 920793 w 12191997"/>
              <a:gd name="connsiteY37" fmla="*/ 6522994 h 6857997"/>
              <a:gd name="connsiteX38" fmla="*/ 920667 w 12191997"/>
              <a:gd name="connsiteY38" fmla="*/ 6451543 h 6857997"/>
              <a:gd name="connsiteX39" fmla="*/ 899671 w 12191997"/>
              <a:gd name="connsiteY39" fmla="*/ 6451543 h 6857997"/>
              <a:gd name="connsiteX40" fmla="*/ 899671 w 12191997"/>
              <a:gd name="connsiteY40" fmla="*/ 6508829 h 6857997"/>
              <a:gd name="connsiteX41" fmla="*/ 863068 w 12191997"/>
              <a:gd name="connsiteY41" fmla="*/ 6451543 h 6857997"/>
              <a:gd name="connsiteX42" fmla="*/ 774444 w 12191997"/>
              <a:gd name="connsiteY42" fmla="*/ 6451543 h 6857997"/>
              <a:gd name="connsiteX43" fmla="*/ 742918 w 12191997"/>
              <a:gd name="connsiteY43" fmla="*/ 6542674 h 6857997"/>
              <a:gd name="connsiteX44" fmla="*/ 765168 w 12191997"/>
              <a:gd name="connsiteY44" fmla="*/ 6542674 h 6857997"/>
              <a:gd name="connsiteX45" fmla="*/ 770934 w 12191997"/>
              <a:gd name="connsiteY45" fmla="*/ 6524060 h 6857997"/>
              <a:gd name="connsiteX46" fmla="*/ 805845 w 12191997"/>
              <a:gd name="connsiteY46" fmla="*/ 6524060 h 6857997"/>
              <a:gd name="connsiteX47" fmla="*/ 811799 w 12191997"/>
              <a:gd name="connsiteY47" fmla="*/ 6542674 h 6857997"/>
              <a:gd name="connsiteX48" fmla="*/ 833735 w 12191997"/>
              <a:gd name="connsiteY48" fmla="*/ 6542674 h 6857997"/>
              <a:gd name="connsiteX49" fmla="*/ 801269 w 12191997"/>
              <a:gd name="connsiteY49" fmla="*/ 6451543 h 6857997"/>
              <a:gd name="connsiteX50" fmla="*/ 604404 w 12191997"/>
              <a:gd name="connsiteY50" fmla="*/ 6451543 h 6857997"/>
              <a:gd name="connsiteX51" fmla="*/ 576137 w 12191997"/>
              <a:gd name="connsiteY51" fmla="*/ 6479246 h 6857997"/>
              <a:gd name="connsiteX52" fmla="*/ 604404 w 12191997"/>
              <a:gd name="connsiteY52" fmla="*/ 6505821 h 6857997"/>
              <a:gd name="connsiteX53" fmla="*/ 625964 w 12191997"/>
              <a:gd name="connsiteY53" fmla="*/ 6505821 h 6857997"/>
              <a:gd name="connsiteX54" fmla="*/ 634174 w 12191997"/>
              <a:gd name="connsiteY54" fmla="*/ 6514282 h 6857997"/>
              <a:gd name="connsiteX55" fmla="*/ 625964 w 12191997"/>
              <a:gd name="connsiteY55" fmla="*/ 6522743 h 6857997"/>
              <a:gd name="connsiteX56" fmla="*/ 579772 w 12191997"/>
              <a:gd name="connsiteY56" fmla="*/ 6522743 h 6857997"/>
              <a:gd name="connsiteX57" fmla="*/ 579772 w 12191997"/>
              <a:gd name="connsiteY57" fmla="*/ 6542674 h 6857997"/>
              <a:gd name="connsiteX58" fmla="*/ 625149 w 12191997"/>
              <a:gd name="connsiteY58" fmla="*/ 6542674 h 6857997"/>
              <a:gd name="connsiteX59" fmla="*/ 653792 w 12191997"/>
              <a:gd name="connsiteY59" fmla="*/ 6514282 h 6857997"/>
              <a:gd name="connsiteX60" fmla="*/ 629223 w 12191997"/>
              <a:gd name="connsiteY60" fmla="*/ 6487707 h 6857997"/>
              <a:gd name="connsiteX61" fmla="*/ 604404 w 12191997"/>
              <a:gd name="connsiteY61" fmla="*/ 6487707 h 6857997"/>
              <a:gd name="connsiteX62" fmla="*/ 595817 w 12191997"/>
              <a:gd name="connsiteY62" fmla="*/ 6479246 h 6857997"/>
              <a:gd name="connsiteX63" fmla="*/ 604404 w 12191997"/>
              <a:gd name="connsiteY63" fmla="*/ 6470785 h 6857997"/>
              <a:gd name="connsiteX64" fmla="*/ 647462 w 12191997"/>
              <a:gd name="connsiteY64" fmla="*/ 6470785 h 6857997"/>
              <a:gd name="connsiteX65" fmla="*/ 647462 w 12191997"/>
              <a:gd name="connsiteY65" fmla="*/ 6451543 h 6857997"/>
              <a:gd name="connsiteX66" fmla="*/ 1023956 w 12191997"/>
              <a:gd name="connsiteY66" fmla="*/ 6451480 h 6857997"/>
              <a:gd name="connsiteX67" fmla="*/ 1023956 w 12191997"/>
              <a:gd name="connsiteY67" fmla="*/ 6542674 h 6857997"/>
              <a:gd name="connsiteX68" fmla="*/ 1045016 w 12191997"/>
              <a:gd name="connsiteY68" fmla="*/ 6542674 h 6857997"/>
              <a:gd name="connsiteX69" fmla="*/ 1045016 w 12191997"/>
              <a:gd name="connsiteY69" fmla="*/ 6504191 h 6857997"/>
              <a:gd name="connsiteX70" fmla="*/ 1074975 w 12191997"/>
              <a:gd name="connsiteY70" fmla="*/ 6542674 h 6857997"/>
              <a:gd name="connsiteX71" fmla="*/ 1099481 w 12191997"/>
              <a:gd name="connsiteY71" fmla="*/ 6542674 h 6857997"/>
              <a:gd name="connsiteX72" fmla="*/ 1065009 w 12191997"/>
              <a:gd name="connsiteY72" fmla="*/ 6497109 h 6857997"/>
              <a:gd name="connsiteX73" fmla="*/ 1099481 w 12191997"/>
              <a:gd name="connsiteY73" fmla="*/ 6451480 h 6857997"/>
              <a:gd name="connsiteX74" fmla="*/ 1074975 w 12191997"/>
              <a:gd name="connsiteY74" fmla="*/ 6451480 h 6857997"/>
              <a:gd name="connsiteX75" fmla="*/ 1045016 w 12191997"/>
              <a:gd name="connsiteY75" fmla="*/ 6489963 h 6857997"/>
              <a:gd name="connsiteX76" fmla="*/ 1045016 w 12191997"/>
              <a:gd name="connsiteY76" fmla="*/ 6451480 h 6857997"/>
              <a:gd name="connsiteX77" fmla="*/ 666077 w 12191997"/>
              <a:gd name="connsiteY77" fmla="*/ 6451480 h 6857997"/>
              <a:gd name="connsiteX78" fmla="*/ 666077 w 12191997"/>
              <a:gd name="connsiteY78" fmla="*/ 6542674 h 6857997"/>
              <a:gd name="connsiteX79" fmla="*/ 687073 w 12191997"/>
              <a:gd name="connsiteY79" fmla="*/ 6542674 h 6857997"/>
              <a:gd name="connsiteX80" fmla="*/ 687073 w 12191997"/>
              <a:gd name="connsiteY80" fmla="*/ 6504191 h 6857997"/>
              <a:gd name="connsiteX81" fmla="*/ 717033 w 12191997"/>
              <a:gd name="connsiteY81" fmla="*/ 6542674 h 6857997"/>
              <a:gd name="connsiteX82" fmla="*/ 741602 w 12191997"/>
              <a:gd name="connsiteY82" fmla="*/ 6542674 h 6857997"/>
              <a:gd name="connsiteX83" fmla="*/ 707067 w 12191997"/>
              <a:gd name="connsiteY83" fmla="*/ 6497109 h 6857997"/>
              <a:gd name="connsiteX84" fmla="*/ 741602 w 12191997"/>
              <a:gd name="connsiteY84" fmla="*/ 6451480 h 6857997"/>
              <a:gd name="connsiteX85" fmla="*/ 717033 w 12191997"/>
              <a:gd name="connsiteY85" fmla="*/ 6451480 h 6857997"/>
              <a:gd name="connsiteX86" fmla="*/ 687073 w 12191997"/>
              <a:gd name="connsiteY86" fmla="*/ 6489963 h 6857997"/>
              <a:gd name="connsiteX87" fmla="*/ 687073 w 12191997"/>
              <a:gd name="connsiteY87" fmla="*/ 6451480 h 6857997"/>
              <a:gd name="connsiteX88" fmla="*/ 0 w 12191997"/>
              <a:gd name="connsiteY88" fmla="*/ 0 h 6857997"/>
              <a:gd name="connsiteX89" fmla="*/ 12191997 w 12191997"/>
              <a:gd name="connsiteY89" fmla="*/ 0 h 6857997"/>
              <a:gd name="connsiteX90" fmla="*/ 12191997 w 12191997"/>
              <a:gd name="connsiteY90" fmla="*/ 6857997 h 6857997"/>
              <a:gd name="connsiteX91" fmla="*/ 0 w 12191997"/>
              <a:gd name="connsiteY91" fmla="*/ 6857997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2191997" h="6857997">
                <a:moveTo>
                  <a:pt x="1146049" y="6470534"/>
                </a:moveTo>
                <a:lnTo>
                  <a:pt x="1157832" y="6505507"/>
                </a:lnTo>
                <a:lnTo>
                  <a:pt x="1134642" y="6505507"/>
                </a:lnTo>
                <a:close/>
                <a:moveTo>
                  <a:pt x="788170" y="6470534"/>
                </a:moveTo>
                <a:lnTo>
                  <a:pt x="799953" y="6505507"/>
                </a:lnTo>
                <a:lnTo>
                  <a:pt x="776763" y="6505507"/>
                </a:lnTo>
                <a:close/>
                <a:moveTo>
                  <a:pt x="1132323" y="6451543"/>
                </a:moveTo>
                <a:lnTo>
                  <a:pt x="1100860" y="6542674"/>
                </a:lnTo>
                <a:lnTo>
                  <a:pt x="1123110" y="6542674"/>
                </a:lnTo>
                <a:lnTo>
                  <a:pt x="1128876" y="6524060"/>
                </a:lnTo>
                <a:lnTo>
                  <a:pt x="1163786" y="6524060"/>
                </a:lnTo>
                <a:lnTo>
                  <a:pt x="1169741" y="6542674"/>
                </a:lnTo>
                <a:lnTo>
                  <a:pt x="1191615" y="6542674"/>
                </a:lnTo>
                <a:lnTo>
                  <a:pt x="1159148" y="6451543"/>
                </a:lnTo>
                <a:close/>
                <a:moveTo>
                  <a:pt x="961907" y="6451543"/>
                </a:moveTo>
                <a:cubicBezTo>
                  <a:pt x="944358" y="6451543"/>
                  <a:pt x="933640" y="6461822"/>
                  <a:pt x="933640" y="6479246"/>
                </a:cubicBezTo>
                <a:cubicBezTo>
                  <a:pt x="933640" y="6496670"/>
                  <a:pt x="945987" y="6505821"/>
                  <a:pt x="961907" y="6505821"/>
                </a:cubicBezTo>
                <a:lnTo>
                  <a:pt x="983468" y="6505821"/>
                </a:lnTo>
                <a:cubicBezTo>
                  <a:pt x="988921" y="6505821"/>
                  <a:pt x="991678" y="6509957"/>
                  <a:pt x="991678" y="6514282"/>
                </a:cubicBezTo>
                <a:cubicBezTo>
                  <a:pt x="991678" y="6518732"/>
                  <a:pt x="988921" y="6522743"/>
                  <a:pt x="983468" y="6522743"/>
                </a:cubicBezTo>
                <a:lnTo>
                  <a:pt x="937338" y="6522743"/>
                </a:lnTo>
                <a:lnTo>
                  <a:pt x="937338" y="6542674"/>
                </a:lnTo>
                <a:lnTo>
                  <a:pt x="982716" y="6542674"/>
                </a:lnTo>
                <a:cubicBezTo>
                  <a:pt x="1000704" y="6542674"/>
                  <a:pt x="1011358" y="6532772"/>
                  <a:pt x="1011358" y="6514282"/>
                </a:cubicBezTo>
                <a:cubicBezTo>
                  <a:pt x="1011358" y="6497610"/>
                  <a:pt x="1000641" y="6487707"/>
                  <a:pt x="986727" y="6487707"/>
                </a:cubicBezTo>
                <a:lnTo>
                  <a:pt x="961907" y="6487707"/>
                </a:lnTo>
                <a:cubicBezTo>
                  <a:pt x="956078" y="6487707"/>
                  <a:pt x="953321" y="6483696"/>
                  <a:pt x="953321" y="6479246"/>
                </a:cubicBezTo>
                <a:cubicBezTo>
                  <a:pt x="953321" y="6474796"/>
                  <a:pt x="956078" y="6470785"/>
                  <a:pt x="961907" y="6470785"/>
                </a:cubicBezTo>
                <a:lnTo>
                  <a:pt x="1004965" y="6470785"/>
                </a:lnTo>
                <a:lnTo>
                  <a:pt x="1004965" y="6451543"/>
                </a:lnTo>
                <a:close/>
                <a:moveTo>
                  <a:pt x="841570" y="6451543"/>
                </a:moveTo>
                <a:lnTo>
                  <a:pt x="841570" y="6542674"/>
                </a:lnTo>
                <a:lnTo>
                  <a:pt x="862692" y="6542674"/>
                </a:lnTo>
                <a:lnTo>
                  <a:pt x="862692" y="6486454"/>
                </a:lnTo>
                <a:lnTo>
                  <a:pt x="898981" y="6542486"/>
                </a:lnTo>
                <a:lnTo>
                  <a:pt x="898981" y="6542674"/>
                </a:lnTo>
                <a:lnTo>
                  <a:pt x="920855" y="6542674"/>
                </a:lnTo>
                <a:lnTo>
                  <a:pt x="920793" y="6522994"/>
                </a:lnTo>
                <a:lnTo>
                  <a:pt x="920667" y="6451543"/>
                </a:lnTo>
                <a:lnTo>
                  <a:pt x="899671" y="6451543"/>
                </a:lnTo>
                <a:lnTo>
                  <a:pt x="899671" y="6508829"/>
                </a:lnTo>
                <a:lnTo>
                  <a:pt x="863068" y="6451543"/>
                </a:lnTo>
                <a:close/>
                <a:moveTo>
                  <a:pt x="774444" y="6451543"/>
                </a:moveTo>
                <a:lnTo>
                  <a:pt x="742918" y="6542674"/>
                </a:lnTo>
                <a:lnTo>
                  <a:pt x="765168" y="6542674"/>
                </a:lnTo>
                <a:lnTo>
                  <a:pt x="770934" y="6524060"/>
                </a:lnTo>
                <a:lnTo>
                  <a:pt x="805845" y="6524060"/>
                </a:lnTo>
                <a:lnTo>
                  <a:pt x="811799" y="6542674"/>
                </a:lnTo>
                <a:lnTo>
                  <a:pt x="833735" y="6542674"/>
                </a:lnTo>
                <a:lnTo>
                  <a:pt x="801269" y="6451543"/>
                </a:lnTo>
                <a:close/>
                <a:moveTo>
                  <a:pt x="604404" y="6451543"/>
                </a:moveTo>
                <a:cubicBezTo>
                  <a:pt x="586792" y="6451543"/>
                  <a:pt x="576137" y="6461822"/>
                  <a:pt x="576137" y="6479246"/>
                </a:cubicBezTo>
                <a:cubicBezTo>
                  <a:pt x="576137" y="6496670"/>
                  <a:pt x="588484" y="6505821"/>
                  <a:pt x="604404" y="6505821"/>
                </a:cubicBezTo>
                <a:lnTo>
                  <a:pt x="625964" y="6505821"/>
                </a:lnTo>
                <a:cubicBezTo>
                  <a:pt x="631417" y="6505821"/>
                  <a:pt x="634174" y="6509957"/>
                  <a:pt x="634174" y="6514282"/>
                </a:cubicBezTo>
                <a:cubicBezTo>
                  <a:pt x="634174" y="6518732"/>
                  <a:pt x="631417" y="6522743"/>
                  <a:pt x="625964" y="6522743"/>
                </a:cubicBezTo>
                <a:lnTo>
                  <a:pt x="579772" y="6522743"/>
                </a:lnTo>
                <a:lnTo>
                  <a:pt x="579772" y="6542674"/>
                </a:lnTo>
                <a:lnTo>
                  <a:pt x="625149" y="6542674"/>
                </a:lnTo>
                <a:cubicBezTo>
                  <a:pt x="643137" y="6542674"/>
                  <a:pt x="653792" y="6532772"/>
                  <a:pt x="653792" y="6514282"/>
                </a:cubicBezTo>
                <a:cubicBezTo>
                  <a:pt x="653792" y="6497610"/>
                  <a:pt x="643137" y="6487707"/>
                  <a:pt x="629223" y="6487707"/>
                </a:cubicBezTo>
                <a:lnTo>
                  <a:pt x="604404" y="6487707"/>
                </a:lnTo>
                <a:cubicBezTo>
                  <a:pt x="598575" y="6487707"/>
                  <a:pt x="595817" y="6483696"/>
                  <a:pt x="595817" y="6479246"/>
                </a:cubicBezTo>
                <a:cubicBezTo>
                  <a:pt x="595817" y="6474796"/>
                  <a:pt x="598575" y="6470785"/>
                  <a:pt x="604404" y="6470785"/>
                </a:cubicBezTo>
                <a:lnTo>
                  <a:pt x="647462" y="6470785"/>
                </a:lnTo>
                <a:lnTo>
                  <a:pt x="647462" y="6451543"/>
                </a:lnTo>
                <a:close/>
                <a:moveTo>
                  <a:pt x="1023956" y="6451480"/>
                </a:moveTo>
                <a:lnTo>
                  <a:pt x="1023956" y="6542674"/>
                </a:lnTo>
                <a:lnTo>
                  <a:pt x="1045016" y="6542674"/>
                </a:lnTo>
                <a:lnTo>
                  <a:pt x="1045016" y="6504191"/>
                </a:lnTo>
                <a:lnTo>
                  <a:pt x="1074975" y="6542674"/>
                </a:lnTo>
                <a:lnTo>
                  <a:pt x="1099481" y="6542674"/>
                </a:lnTo>
                <a:lnTo>
                  <a:pt x="1065009" y="6497109"/>
                </a:lnTo>
                <a:lnTo>
                  <a:pt x="1099481" y="6451480"/>
                </a:lnTo>
                <a:lnTo>
                  <a:pt x="1074975" y="6451480"/>
                </a:lnTo>
                <a:lnTo>
                  <a:pt x="1045016" y="6489963"/>
                </a:lnTo>
                <a:lnTo>
                  <a:pt x="1045016" y="6451480"/>
                </a:lnTo>
                <a:close/>
                <a:moveTo>
                  <a:pt x="666077" y="6451480"/>
                </a:moveTo>
                <a:lnTo>
                  <a:pt x="666077" y="6542674"/>
                </a:lnTo>
                <a:lnTo>
                  <a:pt x="687073" y="6542674"/>
                </a:lnTo>
                <a:lnTo>
                  <a:pt x="687073" y="6504191"/>
                </a:lnTo>
                <a:lnTo>
                  <a:pt x="717033" y="6542674"/>
                </a:lnTo>
                <a:lnTo>
                  <a:pt x="741602" y="6542674"/>
                </a:lnTo>
                <a:lnTo>
                  <a:pt x="707067" y="6497109"/>
                </a:lnTo>
                <a:lnTo>
                  <a:pt x="741602" y="6451480"/>
                </a:lnTo>
                <a:lnTo>
                  <a:pt x="717033" y="6451480"/>
                </a:lnTo>
                <a:lnTo>
                  <a:pt x="687073" y="6489963"/>
                </a:lnTo>
                <a:lnTo>
                  <a:pt x="687073" y="6451480"/>
                </a:lnTo>
                <a:close/>
                <a:moveTo>
                  <a:pt x="0" y="0"/>
                </a:moveTo>
                <a:lnTo>
                  <a:pt x="12191997" y="0"/>
                </a:lnTo>
                <a:lnTo>
                  <a:pt x="12191997" y="6857997"/>
                </a:lnTo>
                <a:lnTo>
                  <a:pt x="0" y="6857997"/>
                </a:lnTo>
                <a:close/>
              </a:path>
            </a:pathLst>
          </a:custGeom>
          <a:solidFill>
            <a:srgbClr val="ECECEC"/>
          </a:solidFill>
        </p:spPr>
        <p:txBody>
          <a:bodyPr wrap="square" lIns="36000" tIns="36000" rIns="36000" bIns="36000">
            <a:noAutofit/>
          </a:bodyPr>
          <a:lstStyle>
            <a:lvl1pPr marL="0" indent="0" algn="ctr">
              <a:buNone/>
              <a:defRPr sz="1300">
                <a:solidFill>
                  <a:schemeClr val="tx2"/>
                </a:solidFill>
              </a:defRPr>
            </a:lvl1pPr>
          </a:lstStyle>
          <a:p>
            <a:r>
              <a:rPr lang="en-US" noProof="0"/>
              <a:t>If the image placeholder icon is underneath the text box, select the gray placeholder box and then go to insert in the top menu and add picture. Do NOT move the textbox!</a:t>
            </a:r>
          </a:p>
          <a:p>
            <a:endParaRPr lang="en-US" noProof="0"/>
          </a:p>
        </p:txBody>
      </p:sp>
      <p:sp>
        <p:nvSpPr>
          <p:cNvPr id="9" name="Text Placeholder 18">
            <a:extLst>
              <a:ext uri="{FF2B5EF4-FFF2-40B4-BE49-F238E27FC236}">
                <a16:creationId xmlns:a16="http://schemas.microsoft.com/office/drawing/2014/main" id="{58CE51E9-6C0E-C949-894C-193AA77B60DF}"/>
              </a:ext>
            </a:extLst>
          </p:cNvPr>
          <p:cNvSpPr>
            <a:spLocks noGrp="1"/>
          </p:cNvSpPr>
          <p:nvPr>
            <p:ph type="body" sz="quarter" idx="14" hasCustomPrompt="1"/>
          </p:nvPr>
        </p:nvSpPr>
        <p:spPr>
          <a:xfrm>
            <a:off x="576000" y="730800"/>
            <a:ext cx="7258375" cy="860400"/>
          </a:xfrm>
          <a:prstGeom prst="rect">
            <a:avLst/>
          </a:prstGeom>
        </p:spPr>
        <p:txBody>
          <a:bodyPr anchor="t">
            <a:noAutofit/>
          </a:bodyPr>
          <a:lstStyle>
            <a:lvl1pPr marL="0" indent="0">
              <a:lnSpc>
                <a:spcPct val="85000"/>
              </a:lnSpc>
              <a:spcBef>
                <a:spcPts val="0"/>
              </a:spcBef>
              <a:buNone/>
              <a:defRPr sz="3600" spc="40" baseline="0">
                <a:solidFill>
                  <a:schemeClr val="tx2"/>
                </a:solidFill>
                <a:latin typeface="+mj-lt"/>
              </a:defRPr>
            </a:lvl1pPr>
          </a:lstStyle>
          <a:p>
            <a:pPr lvl="0"/>
            <a:r>
              <a:rPr lang="en-US" noProof="0"/>
              <a:t>Click to add a headline </a:t>
            </a:r>
            <a:br>
              <a:rPr lang="en-US" noProof="0"/>
            </a:br>
            <a:r>
              <a:rPr lang="en-US" noProof="0"/>
              <a:t>of maximum two lines</a:t>
            </a:r>
          </a:p>
        </p:txBody>
      </p:sp>
      <p:sp>
        <p:nvSpPr>
          <p:cNvPr id="11" name="Platshållare för text 11">
            <a:extLst>
              <a:ext uri="{FF2B5EF4-FFF2-40B4-BE49-F238E27FC236}">
                <a16:creationId xmlns:a16="http://schemas.microsoft.com/office/drawing/2014/main" id="{C5482E94-5FA1-1F47-8B93-C0D85448BA6E}"/>
              </a:ext>
            </a:extLst>
          </p:cNvPr>
          <p:cNvSpPr>
            <a:spLocks noGrp="1"/>
          </p:cNvSpPr>
          <p:nvPr>
            <p:ph type="body" sz="quarter" idx="22" hasCustomPrompt="1"/>
          </p:nvPr>
        </p:nvSpPr>
        <p:spPr>
          <a:xfrm>
            <a:off x="576000" y="2527200"/>
            <a:ext cx="7253550" cy="3600450"/>
          </a:xfrm>
        </p:spPr>
        <p:txBody>
          <a:bodyPr/>
          <a:lstStyle/>
          <a:p>
            <a:pPr lvl="0"/>
            <a:r>
              <a:rPr lang="en-US" noProof="0"/>
              <a:t>Click to add body text</a:t>
            </a:r>
          </a:p>
          <a:p>
            <a:pPr lvl="1"/>
            <a:r>
              <a:rPr lang="en-US" noProof="0"/>
              <a:t>Second level</a:t>
            </a:r>
          </a:p>
          <a:p>
            <a:pPr lvl="2"/>
            <a:r>
              <a:rPr lang="en-US" noProof="0"/>
              <a:t>Third level</a:t>
            </a:r>
          </a:p>
          <a:p>
            <a:pPr lvl="3"/>
            <a:r>
              <a:rPr lang="en-US" noProof="0"/>
              <a:t>Fourth level </a:t>
            </a:r>
          </a:p>
          <a:p>
            <a:pPr lvl="4"/>
            <a:r>
              <a:rPr lang="en-US" noProof="0"/>
              <a:t>Fifth level</a:t>
            </a:r>
          </a:p>
        </p:txBody>
      </p:sp>
      <p:sp>
        <p:nvSpPr>
          <p:cNvPr id="12" name="textruta 5">
            <a:extLst>
              <a:ext uri="{FF2B5EF4-FFF2-40B4-BE49-F238E27FC236}">
                <a16:creationId xmlns:a16="http://schemas.microsoft.com/office/drawing/2014/main" id="{45196D91-67ED-F14C-AA23-1BB0E2429AAA}"/>
              </a:ext>
            </a:extLst>
          </p:cNvPr>
          <p:cNvSpPr txBox="1"/>
          <p:nvPr userDrawn="1"/>
        </p:nvSpPr>
        <p:spPr>
          <a:xfrm>
            <a:off x="12395260" y="1453483"/>
            <a:ext cx="1681523" cy="646331"/>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the textboxes disappears after adding or changing an imag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right click the image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and use – </a:t>
            </a:r>
            <a:r>
              <a:rPr lang="en-US" sz="900" b="1" noProof="0">
                <a:solidFill>
                  <a:schemeClr val="tx1">
                    <a:lumMod val="65000"/>
                    <a:lumOff val="35000"/>
                  </a:schemeClr>
                </a:solidFill>
                <a:latin typeface="Arial" panose="020B0604020202020204" pitchFamily="34" charset="0"/>
                <a:cs typeface="Arial" panose="020B0604020202020204" pitchFamily="34" charset="0"/>
              </a:rPr>
              <a:t>S</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end to back</a:t>
            </a:r>
          </a:p>
        </p:txBody>
      </p:sp>
      <p:sp>
        <p:nvSpPr>
          <p:cNvPr id="13" name="textruta 12">
            <a:extLst>
              <a:ext uri="{FF2B5EF4-FFF2-40B4-BE49-F238E27FC236}">
                <a16:creationId xmlns:a16="http://schemas.microsoft.com/office/drawing/2014/main" id="{E0F263F1-6466-534C-AD87-EA9164E74147}"/>
              </a:ext>
            </a:extLst>
          </p:cNvPr>
          <p:cNvSpPr txBox="1"/>
          <p:nvPr userDrawn="1"/>
        </p:nvSpPr>
        <p:spPr>
          <a:xfrm>
            <a:off x="12395260" y="-12189"/>
            <a:ext cx="1681523" cy="1338828"/>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you need to change the color of the logo, right click outside work area,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Format Background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from context menu and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Solid fill</a:t>
            </a:r>
            <a:r>
              <a:rPr lang="en-US" sz="900" baseline="0" noProof="0">
                <a:solidFill>
                  <a:schemeClr val="tx1">
                    <a:lumMod val="65000"/>
                    <a:lumOff val="35000"/>
                  </a:schemeClr>
                </a:solidFill>
                <a:latin typeface="Arial" panose="020B0604020202020204" pitchFamily="34" charset="0"/>
                <a:cs typeface="Arial" panose="020B0604020202020204" pitchFamily="34" charset="0"/>
              </a:rPr>
              <a:t> –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White or Blue</a:t>
            </a: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p:txBody>
      </p:sp>
      <p:sp>
        <p:nvSpPr>
          <p:cNvPr id="14" name="Rektangel 13">
            <a:extLst>
              <a:ext uri="{FF2B5EF4-FFF2-40B4-BE49-F238E27FC236}">
                <a16:creationId xmlns:a16="http://schemas.microsoft.com/office/drawing/2014/main" id="{916D287D-EFE0-9C43-8645-225101052B01}"/>
              </a:ext>
            </a:extLst>
          </p:cNvPr>
          <p:cNvSpPr/>
          <p:nvPr userDrawn="1"/>
        </p:nvSpPr>
        <p:spPr>
          <a:xfrm>
            <a:off x="13255337" y="926211"/>
            <a:ext cx="341194" cy="305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5" name="Rektangel 14">
            <a:extLst>
              <a:ext uri="{FF2B5EF4-FFF2-40B4-BE49-F238E27FC236}">
                <a16:creationId xmlns:a16="http://schemas.microsoft.com/office/drawing/2014/main" id="{5C7F710D-EE3C-7646-9CC3-62F39C8BE8FF}"/>
              </a:ext>
            </a:extLst>
          </p:cNvPr>
          <p:cNvSpPr/>
          <p:nvPr userDrawn="1"/>
        </p:nvSpPr>
        <p:spPr>
          <a:xfrm>
            <a:off x="12833410" y="926211"/>
            <a:ext cx="341194" cy="30590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6" name="Platshållare för datum 3">
            <a:extLst>
              <a:ext uri="{FF2B5EF4-FFF2-40B4-BE49-F238E27FC236}">
                <a16:creationId xmlns:a16="http://schemas.microsoft.com/office/drawing/2014/main" id="{8484B784-9A21-5346-B2A6-6BA631846E39}"/>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tx2"/>
                </a:solidFill>
              </a:defRPr>
            </a:lvl1pPr>
          </a:lstStyle>
          <a:p>
            <a:fld id="{2F9806AD-009B-8D45-82A9-B9E8234B6322}" type="datetime1">
              <a:rPr lang="en-US" noProof="0" smtClean="0"/>
              <a:t>10/17/2023</a:t>
            </a:fld>
            <a:endParaRPr lang="en-US" noProof="0"/>
          </a:p>
        </p:txBody>
      </p:sp>
      <p:sp>
        <p:nvSpPr>
          <p:cNvPr id="17" name="Platshållare för sidfot 4">
            <a:extLst>
              <a:ext uri="{FF2B5EF4-FFF2-40B4-BE49-F238E27FC236}">
                <a16:creationId xmlns:a16="http://schemas.microsoft.com/office/drawing/2014/main" id="{955F9113-DA62-B146-B028-59AA4C8F85F8}"/>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tx2"/>
                </a:solidFill>
              </a:defRPr>
            </a:lvl1pPr>
          </a:lstStyle>
          <a:p>
            <a:r>
              <a:rPr lang="en-US" noProof="0"/>
              <a:t>Go to header/footer to change text </a:t>
            </a:r>
          </a:p>
        </p:txBody>
      </p:sp>
      <p:sp>
        <p:nvSpPr>
          <p:cNvPr id="18" name="Platshållare för bildnummer 5">
            <a:extLst>
              <a:ext uri="{FF2B5EF4-FFF2-40B4-BE49-F238E27FC236}">
                <a16:creationId xmlns:a16="http://schemas.microsoft.com/office/drawing/2014/main" id="{6FEAA033-CF77-9242-8C81-8C8DA5690778}"/>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tx2"/>
                </a:solidFill>
              </a:defRPr>
            </a:lvl1pPr>
          </a:lstStyle>
          <a:p>
            <a:fld id="{EF8DBD5B-30F9-4F9C-AE39-E065C1AC514D}" type="slidenum">
              <a:rPr lang="en-US" noProof="0" smtClean="0"/>
              <a:pPr/>
              <a:t>‹#›</a:t>
            </a:fld>
            <a:endParaRPr lang="en-US" noProof="0"/>
          </a:p>
        </p:txBody>
      </p:sp>
      <p:sp>
        <p:nvSpPr>
          <p:cNvPr id="20" name="Text Placeholder 4">
            <a:extLst>
              <a:ext uri="{FF2B5EF4-FFF2-40B4-BE49-F238E27FC236}">
                <a16:creationId xmlns:a16="http://schemas.microsoft.com/office/drawing/2014/main" id="{9C994672-C586-454D-ABE5-E160AD756DE0}"/>
              </a:ext>
            </a:extLst>
          </p:cNvPr>
          <p:cNvSpPr>
            <a:spLocks noGrp="1"/>
          </p:cNvSpPr>
          <p:nvPr>
            <p:ph type="body" sz="quarter" idx="23" hasCustomPrompt="1"/>
          </p:nvPr>
        </p:nvSpPr>
        <p:spPr>
          <a:xfrm rot="5400000">
            <a:off x="10901730" y="803644"/>
            <a:ext cx="2093913" cy="486626"/>
          </a:xfrm>
        </p:spPr>
        <p:txBody>
          <a:bodyPr lIns="180000" tIns="180000" rIns="0" bIns="180000" anchor="ctr">
            <a:spAutoFit/>
          </a:bodyPr>
          <a:lstStyle>
            <a:lvl1pPr marL="6350" indent="0" algn="l">
              <a:buNone/>
              <a:defRPr sz="800"/>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Tree>
    <p:extLst>
      <p:ext uri="{BB962C8B-B14F-4D97-AF65-F5344CB8AC3E}">
        <p14:creationId xmlns:p14="http://schemas.microsoft.com/office/powerpoint/2010/main" val="230624458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6 Four Images Percentage">
    <p:bg>
      <p:bgPr>
        <a:solidFill>
          <a:schemeClr val="bg1"/>
        </a:solidFill>
        <a:effectLst/>
      </p:bgPr>
    </p:bg>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0794AD3A-B730-0944-AAFA-F8EE554E7682}"/>
              </a:ext>
            </a:extLst>
          </p:cNvPr>
          <p:cNvSpPr>
            <a:spLocks noGrp="1"/>
          </p:cNvSpPr>
          <p:nvPr>
            <p:ph type="pic" sz="quarter" idx="13" hasCustomPrompt="1"/>
          </p:nvPr>
        </p:nvSpPr>
        <p:spPr>
          <a:xfrm>
            <a:off x="3" y="3"/>
            <a:ext cx="6095997" cy="3428998"/>
          </a:xfrm>
          <a:custGeom>
            <a:avLst/>
            <a:gdLst>
              <a:gd name="connsiteX0" fmla="*/ 0 w 6095997"/>
              <a:gd name="connsiteY0" fmla="*/ 0 h 3428998"/>
              <a:gd name="connsiteX1" fmla="*/ 6095997 w 6095997"/>
              <a:gd name="connsiteY1" fmla="*/ 0 h 3428998"/>
              <a:gd name="connsiteX2" fmla="*/ 6095997 w 6095997"/>
              <a:gd name="connsiteY2" fmla="*/ 3428998 h 3428998"/>
              <a:gd name="connsiteX3" fmla="*/ 0 w 6095997"/>
              <a:gd name="connsiteY3" fmla="*/ 3428998 h 3428998"/>
            </a:gdLst>
            <a:ahLst/>
            <a:cxnLst>
              <a:cxn ang="0">
                <a:pos x="connsiteX0" y="connsiteY0"/>
              </a:cxn>
              <a:cxn ang="0">
                <a:pos x="connsiteX1" y="connsiteY1"/>
              </a:cxn>
              <a:cxn ang="0">
                <a:pos x="connsiteX2" y="connsiteY2"/>
              </a:cxn>
              <a:cxn ang="0">
                <a:pos x="connsiteX3" y="connsiteY3"/>
              </a:cxn>
            </a:cxnLst>
            <a:rect l="l" t="t" r="r" b="b"/>
            <a:pathLst>
              <a:path w="6095997" h="3428998">
                <a:moveTo>
                  <a:pt x="0" y="0"/>
                </a:moveTo>
                <a:lnTo>
                  <a:pt x="6095997" y="0"/>
                </a:lnTo>
                <a:lnTo>
                  <a:pt x="6095997" y="3428998"/>
                </a:lnTo>
                <a:lnTo>
                  <a:pt x="0" y="3428998"/>
                </a:lnTo>
                <a:close/>
              </a:path>
            </a:pathLst>
          </a:custGeom>
          <a:solidFill>
            <a:srgbClr val="ECECEC"/>
          </a:solidFill>
        </p:spPr>
        <p:txBody>
          <a:bodyPr wrap="square" lIns="36000" tIns="36000" rIns="36000" bIns="36000" anchor="t">
            <a:noAutofit/>
          </a:bodyPr>
          <a:lstStyle>
            <a:lvl1pPr marL="0" indent="0" algn="ctr">
              <a:buNone/>
              <a:defRPr sz="1300">
                <a:solidFill>
                  <a:schemeClr val="tx2"/>
                </a:solidFill>
              </a:defRPr>
            </a:lvl1pPr>
          </a:lstStyle>
          <a:p>
            <a:r>
              <a:rPr lang="en-US" noProof="0"/>
              <a:t>If the image placeholder icon is underneath the text box, select the gray placeholder box and then go to insert in the top menu and add picture. Do NOT move the textbox!</a:t>
            </a:r>
          </a:p>
          <a:p>
            <a:endParaRPr lang="en-US" noProof="0"/>
          </a:p>
        </p:txBody>
      </p:sp>
      <p:sp>
        <p:nvSpPr>
          <p:cNvPr id="14" name="Picture Placeholder 13">
            <a:extLst>
              <a:ext uri="{FF2B5EF4-FFF2-40B4-BE49-F238E27FC236}">
                <a16:creationId xmlns:a16="http://schemas.microsoft.com/office/drawing/2014/main" id="{FF008750-47A3-4D46-89C6-9F1EFAE7170D}"/>
              </a:ext>
            </a:extLst>
          </p:cNvPr>
          <p:cNvSpPr>
            <a:spLocks noGrp="1"/>
          </p:cNvSpPr>
          <p:nvPr>
            <p:ph type="pic" sz="quarter" idx="16" hasCustomPrompt="1"/>
          </p:nvPr>
        </p:nvSpPr>
        <p:spPr>
          <a:xfrm>
            <a:off x="6096557" y="3"/>
            <a:ext cx="6095997" cy="3428998"/>
          </a:xfrm>
          <a:custGeom>
            <a:avLst/>
            <a:gdLst>
              <a:gd name="connsiteX0" fmla="*/ 0 w 6095997"/>
              <a:gd name="connsiteY0" fmla="*/ 0 h 3428998"/>
              <a:gd name="connsiteX1" fmla="*/ 6095997 w 6095997"/>
              <a:gd name="connsiteY1" fmla="*/ 0 h 3428998"/>
              <a:gd name="connsiteX2" fmla="*/ 6095997 w 6095997"/>
              <a:gd name="connsiteY2" fmla="*/ 3428998 h 3428998"/>
              <a:gd name="connsiteX3" fmla="*/ 0 w 6095997"/>
              <a:gd name="connsiteY3" fmla="*/ 3428998 h 3428998"/>
            </a:gdLst>
            <a:ahLst/>
            <a:cxnLst>
              <a:cxn ang="0">
                <a:pos x="connsiteX0" y="connsiteY0"/>
              </a:cxn>
              <a:cxn ang="0">
                <a:pos x="connsiteX1" y="connsiteY1"/>
              </a:cxn>
              <a:cxn ang="0">
                <a:pos x="connsiteX2" y="connsiteY2"/>
              </a:cxn>
              <a:cxn ang="0">
                <a:pos x="connsiteX3" y="connsiteY3"/>
              </a:cxn>
            </a:cxnLst>
            <a:rect l="l" t="t" r="r" b="b"/>
            <a:pathLst>
              <a:path w="6095997" h="3428998">
                <a:moveTo>
                  <a:pt x="0" y="0"/>
                </a:moveTo>
                <a:lnTo>
                  <a:pt x="6095997" y="0"/>
                </a:lnTo>
                <a:lnTo>
                  <a:pt x="6095997" y="3428998"/>
                </a:lnTo>
                <a:lnTo>
                  <a:pt x="0" y="3428998"/>
                </a:lnTo>
                <a:close/>
              </a:path>
            </a:pathLst>
          </a:custGeom>
          <a:solidFill>
            <a:srgbClr val="ECECEC"/>
          </a:solidFill>
        </p:spPr>
        <p:txBody>
          <a:bodyPr wrap="square" lIns="36000" tIns="36000" rIns="36000" bIns="36000" anchor="t">
            <a:noAutofit/>
          </a:bodyPr>
          <a:lstStyle>
            <a:lvl1pPr marL="0" indent="0" algn="ctr">
              <a:buNone/>
              <a:defRPr sz="1300">
                <a:solidFill>
                  <a:schemeClr val="tx2"/>
                </a:solidFill>
              </a:defRPr>
            </a:lvl1pPr>
          </a:lstStyle>
          <a:p>
            <a:r>
              <a:rPr lang="en-US" noProof="0"/>
              <a:t>If the image placeholder icon is underneath the text box, select the gray placeholder box and then go to insert in the top menu and add picture. Do NOT move the textbox!</a:t>
            </a:r>
          </a:p>
          <a:p>
            <a:endParaRPr lang="en-US" noProof="0"/>
          </a:p>
        </p:txBody>
      </p:sp>
      <p:sp>
        <p:nvSpPr>
          <p:cNvPr id="29" name="Picture Placeholder 28">
            <a:extLst>
              <a:ext uri="{FF2B5EF4-FFF2-40B4-BE49-F238E27FC236}">
                <a16:creationId xmlns:a16="http://schemas.microsoft.com/office/drawing/2014/main" id="{C37FC6B3-B9C9-A04F-8FCD-09803B9D6C38}"/>
              </a:ext>
            </a:extLst>
          </p:cNvPr>
          <p:cNvSpPr>
            <a:spLocks noGrp="1"/>
          </p:cNvSpPr>
          <p:nvPr>
            <p:ph type="pic" sz="quarter" idx="17" hasCustomPrompt="1"/>
          </p:nvPr>
        </p:nvSpPr>
        <p:spPr>
          <a:xfrm>
            <a:off x="4" y="3429002"/>
            <a:ext cx="6095996" cy="3428998"/>
          </a:xfrm>
          <a:custGeom>
            <a:avLst/>
            <a:gdLst>
              <a:gd name="connsiteX0" fmla="*/ 1146049 w 6095996"/>
              <a:gd name="connsiteY0" fmla="*/ 3041536 h 3428998"/>
              <a:gd name="connsiteX1" fmla="*/ 1157832 w 6095996"/>
              <a:gd name="connsiteY1" fmla="*/ 3076509 h 3428998"/>
              <a:gd name="connsiteX2" fmla="*/ 1134642 w 6095996"/>
              <a:gd name="connsiteY2" fmla="*/ 3076509 h 3428998"/>
              <a:gd name="connsiteX3" fmla="*/ 788169 w 6095996"/>
              <a:gd name="connsiteY3" fmla="*/ 3041536 h 3428998"/>
              <a:gd name="connsiteX4" fmla="*/ 799952 w 6095996"/>
              <a:gd name="connsiteY4" fmla="*/ 3076509 h 3428998"/>
              <a:gd name="connsiteX5" fmla="*/ 776762 w 6095996"/>
              <a:gd name="connsiteY5" fmla="*/ 3076509 h 3428998"/>
              <a:gd name="connsiteX6" fmla="*/ 1132323 w 6095996"/>
              <a:gd name="connsiteY6" fmla="*/ 3022545 h 3428998"/>
              <a:gd name="connsiteX7" fmla="*/ 1100859 w 6095996"/>
              <a:gd name="connsiteY7" fmla="*/ 3113676 h 3428998"/>
              <a:gd name="connsiteX8" fmla="*/ 1123109 w 6095996"/>
              <a:gd name="connsiteY8" fmla="*/ 3113676 h 3428998"/>
              <a:gd name="connsiteX9" fmla="*/ 1128876 w 6095996"/>
              <a:gd name="connsiteY9" fmla="*/ 3095062 h 3428998"/>
              <a:gd name="connsiteX10" fmla="*/ 1163786 w 6095996"/>
              <a:gd name="connsiteY10" fmla="*/ 3095062 h 3428998"/>
              <a:gd name="connsiteX11" fmla="*/ 1169740 w 6095996"/>
              <a:gd name="connsiteY11" fmla="*/ 3113676 h 3428998"/>
              <a:gd name="connsiteX12" fmla="*/ 1191614 w 6095996"/>
              <a:gd name="connsiteY12" fmla="*/ 3113676 h 3428998"/>
              <a:gd name="connsiteX13" fmla="*/ 1159148 w 6095996"/>
              <a:gd name="connsiteY13" fmla="*/ 3022545 h 3428998"/>
              <a:gd name="connsiteX14" fmla="*/ 961907 w 6095996"/>
              <a:gd name="connsiteY14" fmla="*/ 3022545 h 3428998"/>
              <a:gd name="connsiteX15" fmla="*/ 933640 w 6095996"/>
              <a:gd name="connsiteY15" fmla="*/ 3050248 h 3428998"/>
              <a:gd name="connsiteX16" fmla="*/ 961907 w 6095996"/>
              <a:gd name="connsiteY16" fmla="*/ 3076823 h 3428998"/>
              <a:gd name="connsiteX17" fmla="*/ 983467 w 6095996"/>
              <a:gd name="connsiteY17" fmla="*/ 3076823 h 3428998"/>
              <a:gd name="connsiteX18" fmla="*/ 991678 w 6095996"/>
              <a:gd name="connsiteY18" fmla="*/ 3085284 h 3428998"/>
              <a:gd name="connsiteX19" fmla="*/ 983467 w 6095996"/>
              <a:gd name="connsiteY19" fmla="*/ 3093745 h 3428998"/>
              <a:gd name="connsiteX20" fmla="*/ 937338 w 6095996"/>
              <a:gd name="connsiteY20" fmla="*/ 3093745 h 3428998"/>
              <a:gd name="connsiteX21" fmla="*/ 937338 w 6095996"/>
              <a:gd name="connsiteY21" fmla="*/ 3113676 h 3428998"/>
              <a:gd name="connsiteX22" fmla="*/ 982715 w 6095996"/>
              <a:gd name="connsiteY22" fmla="*/ 3113676 h 3428998"/>
              <a:gd name="connsiteX23" fmla="*/ 1011358 w 6095996"/>
              <a:gd name="connsiteY23" fmla="*/ 3085284 h 3428998"/>
              <a:gd name="connsiteX24" fmla="*/ 986727 w 6095996"/>
              <a:gd name="connsiteY24" fmla="*/ 3058709 h 3428998"/>
              <a:gd name="connsiteX25" fmla="*/ 961907 w 6095996"/>
              <a:gd name="connsiteY25" fmla="*/ 3058709 h 3428998"/>
              <a:gd name="connsiteX26" fmla="*/ 953320 w 6095996"/>
              <a:gd name="connsiteY26" fmla="*/ 3050248 h 3428998"/>
              <a:gd name="connsiteX27" fmla="*/ 961907 w 6095996"/>
              <a:gd name="connsiteY27" fmla="*/ 3041787 h 3428998"/>
              <a:gd name="connsiteX28" fmla="*/ 1004965 w 6095996"/>
              <a:gd name="connsiteY28" fmla="*/ 3041787 h 3428998"/>
              <a:gd name="connsiteX29" fmla="*/ 1004965 w 6095996"/>
              <a:gd name="connsiteY29" fmla="*/ 3022545 h 3428998"/>
              <a:gd name="connsiteX30" fmla="*/ 841570 w 6095996"/>
              <a:gd name="connsiteY30" fmla="*/ 3022545 h 3428998"/>
              <a:gd name="connsiteX31" fmla="*/ 841570 w 6095996"/>
              <a:gd name="connsiteY31" fmla="*/ 3113676 h 3428998"/>
              <a:gd name="connsiteX32" fmla="*/ 862691 w 6095996"/>
              <a:gd name="connsiteY32" fmla="*/ 3113676 h 3428998"/>
              <a:gd name="connsiteX33" fmla="*/ 862691 w 6095996"/>
              <a:gd name="connsiteY33" fmla="*/ 3057456 h 3428998"/>
              <a:gd name="connsiteX34" fmla="*/ 898981 w 6095996"/>
              <a:gd name="connsiteY34" fmla="*/ 3113488 h 3428998"/>
              <a:gd name="connsiteX35" fmla="*/ 898981 w 6095996"/>
              <a:gd name="connsiteY35" fmla="*/ 3113676 h 3428998"/>
              <a:gd name="connsiteX36" fmla="*/ 920855 w 6095996"/>
              <a:gd name="connsiteY36" fmla="*/ 3113676 h 3428998"/>
              <a:gd name="connsiteX37" fmla="*/ 920792 w 6095996"/>
              <a:gd name="connsiteY37" fmla="*/ 3093996 h 3428998"/>
              <a:gd name="connsiteX38" fmla="*/ 920667 w 6095996"/>
              <a:gd name="connsiteY38" fmla="*/ 3022545 h 3428998"/>
              <a:gd name="connsiteX39" fmla="*/ 899670 w 6095996"/>
              <a:gd name="connsiteY39" fmla="*/ 3022545 h 3428998"/>
              <a:gd name="connsiteX40" fmla="*/ 899670 w 6095996"/>
              <a:gd name="connsiteY40" fmla="*/ 3079831 h 3428998"/>
              <a:gd name="connsiteX41" fmla="*/ 863067 w 6095996"/>
              <a:gd name="connsiteY41" fmla="*/ 3022545 h 3428998"/>
              <a:gd name="connsiteX42" fmla="*/ 774443 w 6095996"/>
              <a:gd name="connsiteY42" fmla="*/ 3022545 h 3428998"/>
              <a:gd name="connsiteX43" fmla="*/ 742918 w 6095996"/>
              <a:gd name="connsiteY43" fmla="*/ 3113676 h 3428998"/>
              <a:gd name="connsiteX44" fmla="*/ 765167 w 6095996"/>
              <a:gd name="connsiteY44" fmla="*/ 3113676 h 3428998"/>
              <a:gd name="connsiteX45" fmla="*/ 770934 w 6095996"/>
              <a:gd name="connsiteY45" fmla="*/ 3095062 h 3428998"/>
              <a:gd name="connsiteX46" fmla="*/ 805844 w 6095996"/>
              <a:gd name="connsiteY46" fmla="*/ 3095062 h 3428998"/>
              <a:gd name="connsiteX47" fmla="*/ 811798 w 6095996"/>
              <a:gd name="connsiteY47" fmla="*/ 3113676 h 3428998"/>
              <a:gd name="connsiteX48" fmla="*/ 833735 w 6095996"/>
              <a:gd name="connsiteY48" fmla="*/ 3113676 h 3428998"/>
              <a:gd name="connsiteX49" fmla="*/ 801269 w 6095996"/>
              <a:gd name="connsiteY49" fmla="*/ 3022545 h 3428998"/>
              <a:gd name="connsiteX50" fmla="*/ 604403 w 6095996"/>
              <a:gd name="connsiteY50" fmla="*/ 3022545 h 3428998"/>
              <a:gd name="connsiteX51" fmla="*/ 576136 w 6095996"/>
              <a:gd name="connsiteY51" fmla="*/ 3050248 h 3428998"/>
              <a:gd name="connsiteX52" fmla="*/ 604403 w 6095996"/>
              <a:gd name="connsiteY52" fmla="*/ 3076823 h 3428998"/>
              <a:gd name="connsiteX53" fmla="*/ 625964 w 6095996"/>
              <a:gd name="connsiteY53" fmla="*/ 3076823 h 3428998"/>
              <a:gd name="connsiteX54" fmla="*/ 634174 w 6095996"/>
              <a:gd name="connsiteY54" fmla="*/ 3085284 h 3428998"/>
              <a:gd name="connsiteX55" fmla="*/ 625964 w 6095996"/>
              <a:gd name="connsiteY55" fmla="*/ 3093745 h 3428998"/>
              <a:gd name="connsiteX56" fmla="*/ 579772 w 6095996"/>
              <a:gd name="connsiteY56" fmla="*/ 3093745 h 3428998"/>
              <a:gd name="connsiteX57" fmla="*/ 579772 w 6095996"/>
              <a:gd name="connsiteY57" fmla="*/ 3113676 h 3428998"/>
              <a:gd name="connsiteX58" fmla="*/ 625149 w 6095996"/>
              <a:gd name="connsiteY58" fmla="*/ 3113676 h 3428998"/>
              <a:gd name="connsiteX59" fmla="*/ 653792 w 6095996"/>
              <a:gd name="connsiteY59" fmla="*/ 3085284 h 3428998"/>
              <a:gd name="connsiteX60" fmla="*/ 629223 w 6095996"/>
              <a:gd name="connsiteY60" fmla="*/ 3058709 h 3428998"/>
              <a:gd name="connsiteX61" fmla="*/ 604403 w 6095996"/>
              <a:gd name="connsiteY61" fmla="*/ 3058709 h 3428998"/>
              <a:gd name="connsiteX62" fmla="*/ 595817 w 6095996"/>
              <a:gd name="connsiteY62" fmla="*/ 3050248 h 3428998"/>
              <a:gd name="connsiteX63" fmla="*/ 604403 w 6095996"/>
              <a:gd name="connsiteY63" fmla="*/ 3041787 h 3428998"/>
              <a:gd name="connsiteX64" fmla="*/ 647461 w 6095996"/>
              <a:gd name="connsiteY64" fmla="*/ 3041787 h 3428998"/>
              <a:gd name="connsiteX65" fmla="*/ 647461 w 6095996"/>
              <a:gd name="connsiteY65" fmla="*/ 3022545 h 3428998"/>
              <a:gd name="connsiteX66" fmla="*/ 1023956 w 6095996"/>
              <a:gd name="connsiteY66" fmla="*/ 3022482 h 3428998"/>
              <a:gd name="connsiteX67" fmla="*/ 1023956 w 6095996"/>
              <a:gd name="connsiteY67" fmla="*/ 3113676 h 3428998"/>
              <a:gd name="connsiteX68" fmla="*/ 1045015 w 6095996"/>
              <a:gd name="connsiteY68" fmla="*/ 3113676 h 3428998"/>
              <a:gd name="connsiteX69" fmla="*/ 1045015 w 6095996"/>
              <a:gd name="connsiteY69" fmla="*/ 3075193 h 3428998"/>
              <a:gd name="connsiteX70" fmla="*/ 1074975 w 6095996"/>
              <a:gd name="connsiteY70" fmla="*/ 3113676 h 3428998"/>
              <a:gd name="connsiteX71" fmla="*/ 1099481 w 6095996"/>
              <a:gd name="connsiteY71" fmla="*/ 3113676 h 3428998"/>
              <a:gd name="connsiteX72" fmla="*/ 1065009 w 6095996"/>
              <a:gd name="connsiteY72" fmla="*/ 3068111 h 3428998"/>
              <a:gd name="connsiteX73" fmla="*/ 1099481 w 6095996"/>
              <a:gd name="connsiteY73" fmla="*/ 3022482 h 3428998"/>
              <a:gd name="connsiteX74" fmla="*/ 1074975 w 6095996"/>
              <a:gd name="connsiteY74" fmla="*/ 3022482 h 3428998"/>
              <a:gd name="connsiteX75" fmla="*/ 1045015 w 6095996"/>
              <a:gd name="connsiteY75" fmla="*/ 3060965 h 3428998"/>
              <a:gd name="connsiteX76" fmla="*/ 1045015 w 6095996"/>
              <a:gd name="connsiteY76" fmla="*/ 3022482 h 3428998"/>
              <a:gd name="connsiteX77" fmla="*/ 666076 w 6095996"/>
              <a:gd name="connsiteY77" fmla="*/ 3022482 h 3428998"/>
              <a:gd name="connsiteX78" fmla="*/ 666076 w 6095996"/>
              <a:gd name="connsiteY78" fmla="*/ 3113676 h 3428998"/>
              <a:gd name="connsiteX79" fmla="*/ 687073 w 6095996"/>
              <a:gd name="connsiteY79" fmla="*/ 3113676 h 3428998"/>
              <a:gd name="connsiteX80" fmla="*/ 687073 w 6095996"/>
              <a:gd name="connsiteY80" fmla="*/ 3075193 h 3428998"/>
              <a:gd name="connsiteX81" fmla="*/ 717032 w 6095996"/>
              <a:gd name="connsiteY81" fmla="*/ 3113676 h 3428998"/>
              <a:gd name="connsiteX82" fmla="*/ 741601 w 6095996"/>
              <a:gd name="connsiteY82" fmla="*/ 3113676 h 3428998"/>
              <a:gd name="connsiteX83" fmla="*/ 707067 w 6095996"/>
              <a:gd name="connsiteY83" fmla="*/ 3068111 h 3428998"/>
              <a:gd name="connsiteX84" fmla="*/ 741601 w 6095996"/>
              <a:gd name="connsiteY84" fmla="*/ 3022482 h 3428998"/>
              <a:gd name="connsiteX85" fmla="*/ 717032 w 6095996"/>
              <a:gd name="connsiteY85" fmla="*/ 3022482 h 3428998"/>
              <a:gd name="connsiteX86" fmla="*/ 687073 w 6095996"/>
              <a:gd name="connsiteY86" fmla="*/ 3060965 h 3428998"/>
              <a:gd name="connsiteX87" fmla="*/ 687073 w 6095996"/>
              <a:gd name="connsiteY87" fmla="*/ 3022482 h 3428998"/>
              <a:gd name="connsiteX88" fmla="*/ 0 w 6095996"/>
              <a:gd name="connsiteY88" fmla="*/ 0 h 3428998"/>
              <a:gd name="connsiteX89" fmla="*/ 6095996 w 6095996"/>
              <a:gd name="connsiteY89" fmla="*/ 0 h 3428998"/>
              <a:gd name="connsiteX90" fmla="*/ 6095996 w 6095996"/>
              <a:gd name="connsiteY90" fmla="*/ 3428998 h 3428998"/>
              <a:gd name="connsiteX91" fmla="*/ 0 w 6095996"/>
              <a:gd name="connsiteY91" fmla="*/ 3428998 h 3428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6095996" h="3428998">
                <a:moveTo>
                  <a:pt x="1146049" y="3041536"/>
                </a:moveTo>
                <a:lnTo>
                  <a:pt x="1157832" y="3076509"/>
                </a:lnTo>
                <a:lnTo>
                  <a:pt x="1134642" y="3076509"/>
                </a:lnTo>
                <a:close/>
                <a:moveTo>
                  <a:pt x="788169" y="3041536"/>
                </a:moveTo>
                <a:lnTo>
                  <a:pt x="799952" y="3076509"/>
                </a:lnTo>
                <a:lnTo>
                  <a:pt x="776762" y="3076509"/>
                </a:lnTo>
                <a:close/>
                <a:moveTo>
                  <a:pt x="1132323" y="3022545"/>
                </a:moveTo>
                <a:lnTo>
                  <a:pt x="1100859" y="3113676"/>
                </a:lnTo>
                <a:lnTo>
                  <a:pt x="1123109" y="3113676"/>
                </a:lnTo>
                <a:lnTo>
                  <a:pt x="1128876" y="3095062"/>
                </a:lnTo>
                <a:lnTo>
                  <a:pt x="1163786" y="3095062"/>
                </a:lnTo>
                <a:lnTo>
                  <a:pt x="1169740" y="3113676"/>
                </a:lnTo>
                <a:lnTo>
                  <a:pt x="1191614" y="3113676"/>
                </a:lnTo>
                <a:lnTo>
                  <a:pt x="1159148" y="3022545"/>
                </a:lnTo>
                <a:close/>
                <a:moveTo>
                  <a:pt x="961907" y="3022545"/>
                </a:moveTo>
                <a:cubicBezTo>
                  <a:pt x="944358" y="3022545"/>
                  <a:pt x="933640" y="3032824"/>
                  <a:pt x="933640" y="3050248"/>
                </a:cubicBezTo>
                <a:cubicBezTo>
                  <a:pt x="933640" y="3067672"/>
                  <a:pt x="945987" y="3076823"/>
                  <a:pt x="961907" y="3076823"/>
                </a:cubicBezTo>
                <a:lnTo>
                  <a:pt x="983467" y="3076823"/>
                </a:lnTo>
                <a:cubicBezTo>
                  <a:pt x="988920" y="3076823"/>
                  <a:pt x="991678" y="3080959"/>
                  <a:pt x="991678" y="3085284"/>
                </a:cubicBezTo>
                <a:cubicBezTo>
                  <a:pt x="991678" y="3089734"/>
                  <a:pt x="988920" y="3093745"/>
                  <a:pt x="983467" y="3093745"/>
                </a:cubicBezTo>
                <a:lnTo>
                  <a:pt x="937338" y="3093745"/>
                </a:lnTo>
                <a:lnTo>
                  <a:pt x="937338" y="3113676"/>
                </a:lnTo>
                <a:lnTo>
                  <a:pt x="982715" y="3113676"/>
                </a:lnTo>
                <a:cubicBezTo>
                  <a:pt x="1000703" y="3113676"/>
                  <a:pt x="1011358" y="3103774"/>
                  <a:pt x="1011358" y="3085284"/>
                </a:cubicBezTo>
                <a:cubicBezTo>
                  <a:pt x="1011358" y="3068612"/>
                  <a:pt x="1000641" y="3058709"/>
                  <a:pt x="986727" y="3058709"/>
                </a:cubicBezTo>
                <a:lnTo>
                  <a:pt x="961907" y="3058709"/>
                </a:lnTo>
                <a:cubicBezTo>
                  <a:pt x="956078" y="3058709"/>
                  <a:pt x="953320" y="3054698"/>
                  <a:pt x="953320" y="3050248"/>
                </a:cubicBezTo>
                <a:cubicBezTo>
                  <a:pt x="953320" y="3045798"/>
                  <a:pt x="956078" y="3041787"/>
                  <a:pt x="961907" y="3041787"/>
                </a:cubicBezTo>
                <a:lnTo>
                  <a:pt x="1004965" y="3041787"/>
                </a:lnTo>
                <a:lnTo>
                  <a:pt x="1004965" y="3022545"/>
                </a:lnTo>
                <a:close/>
                <a:moveTo>
                  <a:pt x="841570" y="3022545"/>
                </a:moveTo>
                <a:lnTo>
                  <a:pt x="841570" y="3113676"/>
                </a:lnTo>
                <a:lnTo>
                  <a:pt x="862691" y="3113676"/>
                </a:lnTo>
                <a:lnTo>
                  <a:pt x="862691" y="3057456"/>
                </a:lnTo>
                <a:lnTo>
                  <a:pt x="898981" y="3113488"/>
                </a:lnTo>
                <a:lnTo>
                  <a:pt x="898981" y="3113676"/>
                </a:lnTo>
                <a:lnTo>
                  <a:pt x="920855" y="3113676"/>
                </a:lnTo>
                <a:lnTo>
                  <a:pt x="920792" y="3093996"/>
                </a:lnTo>
                <a:lnTo>
                  <a:pt x="920667" y="3022545"/>
                </a:lnTo>
                <a:lnTo>
                  <a:pt x="899670" y="3022545"/>
                </a:lnTo>
                <a:lnTo>
                  <a:pt x="899670" y="3079831"/>
                </a:lnTo>
                <a:lnTo>
                  <a:pt x="863067" y="3022545"/>
                </a:lnTo>
                <a:close/>
                <a:moveTo>
                  <a:pt x="774443" y="3022545"/>
                </a:moveTo>
                <a:lnTo>
                  <a:pt x="742918" y="3113676"/>
                </a:lnTo>
                <a:lnTo>
                  <a:pt x="765167" y="3113676"/>
                </a:lnTo>
                <a:lnTo>
                  <a:pt x="770934" y="3095062"/>
                </a:lnTo>
                <a:lnTo>
                  <a:pt x="805844" y="3095062"/>
                </a:lnTo>
                <a:lnTo>
                  <a:pt x="811798" y="3113676"/>
                </a:lnTo>
                <a:lnTo>
                  <a:pt x="833735" y="3113676"/>
                </a:lnTo>
                <a:lnTo>
                  <a:pt x="801269" y="3022545"/>
                </a:lnTo>
                <a:close/>
                <a:moveTo>
                  <a:pt x="604403" y="3022545"/>
                </a:moveTo>
                <a:cubicBezTo>
                  <a:pt x="586791" y="3022545"/>
                  <a:pt x="576136" y="3032824"/>
                  <a:pt x="576136" y="3050248"/>
                </a:cubicBezTo>
                <a:cubicBezTo>
                  <a:pt x="576136" y="3067672"/>
                  <a:pt x="588484" y="3076823"/>
                  <a:pt x="604403" y="3076823"/>
                </a:cubicBezTo>
                <a:lnTo>
                  <a:pt x="625964" y="3076823"/>
                </a:lnTo>
                <a:cubicBezTo>
                  <a:pt x="631416" y="3076823"/>
                  <a:pt x="634174" y="3080959"/>
                  <a:pt x="634174" y="3085284"/>
                </a:cubicBezTo>
                <a:cubicBezTo>
                  <a:pt x="634174" y="3089734"/>
                  <a:pt x="631416" y="3093745"/>
                  <a:pt x="625964" y="3093745"/>
                </a:cubicBezTo>
                <a:lnTo>
                  <a:pt x="579772" y="3093745"/>
                </a:lnTo>
                <a:lnTo>
                  <a:pt x="579772" y="3113676"/>
                </a:lnTo>
                <a:lnTo>
                  <a:pt x="625149" y="3113676"/>
                </a:lnTo>
                <a:cubicBezTo>
                  <a:pt x="643137" y="3113676"/>
                  <a:pt x="653792" y="3103774"/>
                  <a:pt x="653792" y="3085284"/>
                </a:cubicBezTo>
                <a:cubicBezTo>
                  <a:pt x="653792" y="3068612"/>
                  <a:pt x="643137" y="3058709"/>
                  <a:pt x="629223" y="3058709"/>
                </a:cubicBezTo>
                <a:lnTo>
                  <a:pt x="604403" y="3058709"/>
                </a:lnTo>
                <a:cubicBezTo>
                  <a:pt x="598574" y="3058709"/>
                  <a:pt x="595817" y="3054698"/>
                  <a:pt x="595817" y="3050248"/>
                </a:cubicBezTo>
                <a:cubicBezTo>
                  <a:pt x="595817" y="3045798"/>
                  <a:pt x="598574" y="3041787"/>
                  <a:pt x="604403" y="3041787"/>
                </a:cubicBezTo>
                <a:lnTo>
                  <a:pt x="647461" y="3041787"/>
                </a:lnTo>
                <a:lnTo>
                  <a:pt x="647461" y="3022545"/>
                </a:lnTo>
                <a:close/>
                <a:moveTo>
                  <a:pt x="1023956" y="3022482"/>
                </a:moveTo>
                <a:lnTo>
                  <a:pt x="1023956" y="3113676"/>
                </a:lnTo>
                <a:lnTo>
                  <a:pt x="1045015" y="3113676"/>
                </a:lnTo>
                <a:lnTo>
                  <a:pt x="1045015" y="3075193"/>
                </a:lnTo>
                <a:lnTo>
                  <a:pt x="1074975" y="3113676"/>
                </a:lnTo>
                <a:lnTo>
                  <a:pt x="1099481" y="3113676"/>
                </a:lnTo>
                <a:lnTo>
                  <a:pt x="1065009" y="3068111"/>
                </a:lnTo>
                <a:lnTo>
                  <a:pt x="1099481" y="3022482"/>
                </a:lnTo>
                <a:lnTo>
                  <a:pt x="1074975" y="3022482"/>
                </a:lnTo>
                <a:lnTo>
                  <a:pt x="1045015" y="3060965"/>
                </a:lnTo>
                <a:lnTo>
                  <a:pt x="1045015" y="3022482"/>
                </a:lnTo>
                <a:close/>
                <a:moveTo>
                  <a:pt x="666076" y="3022482"/>
                </a:moveTo>
                <a:lnTo>
                  <a:pt x="666076" y="3113676"/>
                </a:lnTo>
                <a:lnTo>
                  <a:pt x="687073" y="3113676"/>
                </a:lnTo>
                <a:lnTo>
                  <a:pt x="687073" y="3075193"/>
                </a:lnTo>
                <a:lnTo>
                  <a:pt x="717032" y="3113676"/>
                </a:lnTo>
                <a:lnTo>
                  <a:pt x="741601" y="3113676"/>
                </a:lnTo>
                <a:lnTo>
                  <a:pt x="707067" y="3068111"/>
                </a:lnTo>
                <a:lnTo>
                  <a:pt x="741601" y="3022482"/>
                </a:lnTo>
                <a:lnTo>
                  <a:pt x="717032" y="3022482"/>
                </a:lnTo>
                <a:lnTo>
                  <a:pt x="687073" y="3060965"/>
                </a:lnTo>
                <a:lnTo>
                  <a:pt x="687073" y="3022482"/>
                </a:lnTo>
                <a:close/>
                <a:moveTo>
                  <a:pt x="0" y="0"/>
                </a:moveTo>
                <a:lnTo>
                  <a:pt x="6095996" y="0"/>
                </a:lnTo>
                <a:lnTo>
                  <a:pt x="6095996" y="3428998"/>
                </a:lnTo>
                <a:lnTo>
                  <a:pt x="0" y="3428998"/>
                </a:lnTo>
                <a:close/>
              </a:path>
            </a:pathLst>
          </a:custGeom>
          <a:solidFill>
            <a:srgbClr val="ECECEC"/>
          </a:solidFill>
        </p:spPr>
        <p:txBody>
          <a:bodyPr wrap="square" lIns="36000" tIns="36000" rIns="36000" bIns="36000" anchor="t">
            <a:noAutofit/>
          </a:bodyPr>
          <a:lstStyle>
            <a:lvl1pPr marL="0" indent="0" algn="ctr">
              <a:buNone/>
              <a:defRPr sz="1300">
                <a:solidFill>
                  <a:schemeClr val="tx2"/>
                </a:solidFill>
              </a:defRPr>
            </a:lvl1pPr>
          </a:lstStyle>
          <a:p>
            <a:r>
              <a:rPr lang="en-US" noProof="0"/>
              <a:t>If the image placeholder icon is underneath the text box, select the gray placeholder box and then go to insert in the top menu and add picture. Do NOT move the textbox!</a:t>
            </a:r>
          </a:p>
          <a:p>
            <a:endParaRPr lang="en-US" noProof="0"/>
          </a:p>
        </p:txBody>
      </p:sp>
      <p:sp>
        <p:nvSpPr>
          <p:cNvPr id="18" name="Picture Placeholder 17">
            <a:extLst>
              <a:ext uri="{FF2B5EF4-FFF2-40B4-BE49-F238E27FC236}">
                <a16:creationId xmlns:a16="http://schemas.microsoft.com/office/drawing/2014/main" id="{1D8C10B2-C5B9-8C42-AAE6-7022794E8D33}"/>
              </a:ext>
            </a:extLst>
          </p:cNvPr>
          <p:cNvSpPr>
            <a:spLocks noGrp="1"/>
          </p:cNvSpPr>
          <p:nvPr>
            <p:ph type="pic" sz="quarter" idx="18" hasCustomPrompt="1"/>
          </p:nvPr>
        </p:nvSpPr>
        <p:spPr>
          <a:xfrm>
            <a:off x="6096557" y="3429002"/>
            <a:ext cx="6095997" cy="3428998"/>
          </a:xfrm>
          <a:custGeom>
            <a:avLst/>
            <a:gdLst>
              <a:gd name="connsiteX0" fmla="*/ 0 w 6095997"/>
              <a:gd name="connsiteY0" fmla="*/ 0 h 3428998"/>
              <a:gd name="connsiteX1" fmla="*/ 6095997 w 6095997"/>
              <a:gd name="connsiteY1" fmla="*/ 0 h 3428998"/>
              <a:gd name="connsiteX2" fmla="*/ 6095997 w 6095997"/>
              <a:gd name="connsiteY2" fmla="*/ 3428998 h 3428998"/>
              <a:gd name="connsiteX3" fmla="*/ 0 w 6095997"/>
              <a:gd name="connsiteY3" fmla="*/ 3428998 h 3428998"/>
            </a:gdLst>
            <a:ahLst/>
            <a:cxnLst>
              <a:cxn ang="0">
                <a:pos x="connsiteX0" y="connsiteY0"/>
              </a:cxn>
              <a:cxn ang="0">
                <a:pos x="connsiteX1" y="connsiteY1"/>
              </a:cxn>
              <a:cxn ang="0">
                <a:pos x="connsiteX2" y="connsiteY2"/>
              </a:cxn>
              <a:cxn ang="0">
                <a:pos x="connsiteX3" y="connsiteY3"/>
              </a:cxn>
            </a:cxnLst>
            <a:rect l="l" t="t" r="r" b="b"/>
            <a:pathLst>
              <a:path w="6095997" h="3428998">
                <a:moveTo>
                  <a:pt x="0" y="0"/>
                </a:moveTo>
                <a:lnTo>
                  <a:pt x="6095997" y="0"/>
                </a:lnTo>
                <a:lnTo>
                  <a:pt x="6095997" y="3428998"/>
                </a:lnTo>
                <a:lnTo>
                  <a:pt x="0" y="3428998"/>
                </a:lnTo>
                <a:close/>
              </a:path>
            </a:pathLst>
          </a:custGeom>
          <a:solidFill>
            <a:srgbClr val="ECECEC"/>
          </a:solidFill>
        </p:spPr>
        <p:txBody>
          <a:bodyPr wrap="square" lIns="36000" tIns="36000" rIns="36000" bIns="36000" anchor="t">
            <a:noAutofit/>
          </a:bodyPr>
          <a:lstStyle>
            <a:lvl1pPr marL="0" indent="0" algn="ctr">
              <a:buNone/>
              <a:defRPr sz="1300">
                <a:solidFill>
                  <a:schemeClr val="tx2"/>
                </a:solidFill>
              </a:defRPr>
            </a:lvl1pPr>
          </a:lstStyle>
          <a:p>
            <a:r>
              <a:rPr lang="en-US" noProof="0"/>
              <a:t>If the image placeholder icon is underneath the text box, select the gray placeholder box and then go to insert in the top menu and add picture. Do NOT move the textbox!</a:t>
            </a:r>
          </a:p>
          <a:p>
            <a:endParaRPr lang="en-US" noProof="0"/>
          </a:p>
        </p:txBody>
      </p:sp>
      <p:sp>
        <p:nvSpPr>
          <p:cNvPr id="28" name="Text Placeholder 18">
            <a:extLst>
              <a:ext uri="{FF2B5EF4-FFF2-40B4-BE49-F238E27FC236}">
                <a16:creationId xmlns:a16="http://schemas.microsoft.com/office/drawing/2014/main" id="{2DF6F143-809A-5045-8C63-0CB7DDC37D20}"/>
              </a:ext>
            </a:extLst>
          </p:cNvPr>
          <p:cNvSpPr>
            <a:spLocks noGrp="1"/>
          </p:cNvSpPr>
          <p:nvPr>
            <p:ph type="body" sz="quarter" idx="35" hasCustomPrompt="1"/>
          </p:nvPr>
        </p:nvSpPr>
        <p:spPr>
          <a:xfrm>
            <a:off x="3088267" y="1300220"/>
            <a:ext cx="2491409" cy="828564"/>
          </a:xfrm>
          <a:prstGeom prst="rect">
            <a:avLst/>
          </a:prstGeom>
        </p:spPr>
        <p:txBody>
          <a:bodyPr anchor="ctr">
            <a:noAutofit/>
          </a:bodyPr>
          <a:lstStyle>
            <a:lvl1pPr marL="0" indent="0" algn="l">
              <a:lnSpc>
                <a:spcPct val="85000"/>
              </a:lnSpc>
              <a:spcBef>
                <a:spcPts val="0"/>
              </a:spcBef>
              <a:buNone/>
              <a:defRPr sz="1800" spc="40" baseline="0">
                <a:solidFill>
                  <a:schemeClr val="bg1"/>
                </a:solidFill>
              </a:defRPr>
            </a:lvl1pPr>
          </a:lstStyle>
          <a:p>
            <a:pPr lvl="0"/>
            <a:r>
              <a:rPr lang="en-US" noProof="0"/>
              <a:t>Click to add text</a:t>
            </a:r>
          </a:p>
        </p:txBody>
      </p:sp>
      <p:sp>
        <p:nvSpPr>
          <p:cNvPr id="30" name="Text Placeholder 18">
            <a:extLst>
              <a:ext uri="{FF2B5EF4-FFF2-40B4-BE49-F238E27FC236}">
                <a16:creationId xmlns:a16="http://schemas.microsoft.com/office/drawing/2014/main" id="{9304EB74-76ED-4B45-9D59-3E0FE9DA6187}"/>
              </a:ext>
            </a:extLst>
          </p:cNvPr>
          <p:cNvSpPr>
            <a:spLocks noGrp="1"/>
          </p:cNvSpPr>
          <p:nvPr>
            <p:ph type="body" sz="quarter" idx="36" hasCustomPrompt="1"/>
          </p:nvPr>
        </p:nvSpPr>
        <p:spPr>
          <a:xfrm>
            <a:off x="953647" y="1300220"/>
            <a:ext cx="2152968" cy="828564"/>
          </a:xfrm>
          <a:prstGeom prst="rect">
            <a:avLst/>
          </a:prstGeom>
        </p:spPr>
        <p:txBody>
          <a:bodyPr anchor="ctr">
            <a:noAutofit/>
          </a:bodyPr>
          <a:lstStyle>
            <a:lvl1pPr marL="0" indent="0" algn="l">
              <a:lnSpc>
                <a:spcPct val="85000"/>
              </a:lnSpc>
              <a:spcBef>
                <a:spcPts val="0"/>
              </a:spcBef>
              <a:buNone/>
              <a:defRPr sz="7500" b="1" spc="40" baseline="0">
                <a:solidFill>
                  <a:schemeClr val="bg1"/>
                </a:solidFill>
              </a:defRPr>
            </a:lvl1pPr>
          </a:lstStyle>
          <a:p>
            <a:pPr lvl="0"/>
            <a:r>
              <a:rPr lang="en-US" noProof="0"/>
              <a:t>XX%</a:t>
            </a:r>
          </a:p>
        </p:txBody>
      </p:sp>
      <p:sp>
        <p:nvSpPr>
          <p:cNvPr id="33" name="Text Placeholder 18">
            <a:extLst>
              <a:ext uri="{FF2B5EF4-FFF2-40B4-BE49-F238E27FC236}">
                <a16:creationId xmlns:a16="http://schemas.microsoft.com/office/drawing/2014/main" id="{3FD14E92-C0C8-364E-BEAC-3BDE33210C69}"/>
              </a:ext>
            </a:extLst>
          </p:cNvPr>
          <p:cNvSpPr>
            <a:spLocks noGrp="1"/>
          </p:cNvSpPr>
          <p:nvPr>
            <p:ph type="body" sz="quarter" idx="37" hasCustomPrompt="1"/>
          </p:nvPr>
        </p:nvSpPr>
        <p:spPr>
          <a:xfrm>
            <a:off x="3088267" y="4729219"/>
            <a:ext cx="2491409" cy="828564"/>
          </a:xfrm>
          <a:prstGeom prst="rect">
            <a:avLst/>
          </a:prstGeom>
        </p:spPr>
        <p:txBody>
          <a:bodyPr anchor="ctr">
            <a:noAutofit/>
          </a:bodyPr>
          <a:lstStyle>
            <a:lvl1pPr marL="0" indent="0" algn="l">
              <a:lnSpc>
                <a:spcPct val="85000"/>
              </a:lnSpc>
              <a:spcBef>
                <a:spcPts val="0"/>
              </a:spcBef>
              <a:buNone/>
              <a:defRPr sz="1800" spc="40" baseline="0">
                <a:solidFill>
                  <a:schemeClr val="bg1"/>
                </a:solidFill>
              </a:defRPr>
            </a:lvl1pPr>
          </a:lstStyle>
          <a:p>
            <a:pPr lvl="0"/>
            <a:r>
              <a:rPr lang="en-US" noProof="0"/>
              <a:t>Click to add text</a:t>
            </a:r>
          </a:p>
        </p:txBody>
      </p:sp>
      <p:sp>
        <p:nvSpPr>
          <p:cNvPr id="34" name="Text Placeholder 18">
            <a:extLst>
              <a:ext uri="{FF2B5EF4-FFF2-40B4-BE49-F238E27FC236}">
                <a16:creationId xmlns:a16="http://schemas.microsoft.com/office/drawing/2014/main" id="{C3C27830-0043-6743-8610-2CB87E45DD43}"/>
              </a:ext>
            </a:extLst>
          </p:cNvPr>
          <p:cNvSpPr>
            <a:spLocks noGrp="1"/>
          </p:cNvSpPr>
          <p:nvPr>
            <p:ph type="body" sz="quarter" idx="38" hasCustomPrompt="1"/>
          </p:nvPr>
        </p:nvSpPr>
        <p:spPr>
          <a:xfrm>
            <a:off x="953647" y="4729219"/>
            <a:ext cx="2152968" cy="828564"/>
          </a:xfrm>
          <a:prstGeom prst="rect">
            <a:avLst/>
          </a:prstGeom>
        </p:spPr>
        <p:txBody>
          <a:bodyPr anchor="ctr">
            <a:noAutofit/>
          </a:bodyPr>
          <a:lstStyle>
            <a:lvl1pPr marL="0" indent="0" algn="l">
              <a:lnSpc>
                <a:spcPct val="85000"/>
              </a:lnSpc>
              <a:spcBef>
                <a:spcPts val="0"/>
              </a:spcBef>
              <a:buNone/>
              <a:defRPr sz="7500" b="1" spc="40" baseline="0">
                <a:solidFill>
                  <a:schemeClr val="bg1"/>
                </a:solidFill>
              </a:defRPr>
            </a:lvl1pPr>
          </a:lstStyle>
          <a:p>
            <a:pPr lvl="0"/>
            <a:r>
              <a:rPr lang="en-US" noProof="0"/>
              <a:t>XX%</a:t>
            </a:r>
          </a:p>
        </p:txBody>
      </p:sp>
      <p:sp>
        <p:nvSpPr>
          <p:cNvPr id="35" name="Text Placeholder 18">
            <a:extLst>
              <a:ext uri="{FF2B5EF4-FFF2-40B4-BE49-F238E27FC236}">
                <a16:creationId xmlns:a16="http://schemas.microsoft.com/office/drawing/2014/main" id="{6DE9334C-562A-5C4C-BB8C-952C00B60182}"/>
              </a:ext>
            </a:extLst>
          </p:cNvPr>
          <p:cNvSpPr>
            <a:spLocks noGrp="1"/>
          </p:cNvSpPr>
          <p:nvPr>
            <p:ph type="body" sz="quarter" idx="39" hasCustomPrompt="1"/>
          </p:nvPr>
        </p:nvSpPr>
        <p:spPr>
          <a:xfrm>
            <a:off x="8762237" y="1300220"/>
            <a:ext cx="2491409" cy="828564"/>
          </a:xfrm>
          <a:prstGeom prst="rect">
            <a:avLst/>
          </a:prstGeom>
        </p:spPr>
        <p:txBody>
          <a:bodyPr anchor="ctr">
            <a:noAutofit/>
          </a:bodyPr>
          <a:lstStyle>
            <a:lvl1pPr marL="0" indent="0" algn="l">
              <a:lnSpc>
                <a:spcPct val="85000"/>
              </a:lnSpc>
              <a:spcBef>
                <a:spcPts val="0"/>
              </a:spcBef>
              <a:buNone/>
              <a:defRPr sz="1800" spc="40" baseline="0">
                <a:solidFill>
                  <a:schemeClr val="bg1"/>
                </a:solidFill>
              </a:defRPr>
            </a:lvl1pPr>
          </a:lstStyle>
          <a:p>
            <a:pPr lvl="0"/>
            <a:r>
              <a:rPr lang="en-US" noProof="0"/>
              <a:t>Click to add text</a:t>
            </a:r>
          </a:p>
        </p:txBody>
      </p:sp>
      <p:sp>
        <p:nvSpPr>
          <p:cNvPr id="36" name="Text Placeholder 18">
            <a:extLst>
              <a:ext uri="{FF2B5EF4-FFF2-40B4-BE49-F238E27FC236}">
                <a16:creationId xmlns:a16="http://schemas.microsoft.com/office/drawing/2014/main" id="{4B5F202E-21CC-1B4D-A21D-5E824680D7C3}"/>
              </a:ext>
            </a:extLst>
          </p:cNvPr>
          <p:cNvSpPr>
            <a:spLocks noGrp="1"/>
          </p:cNvSpPr>
          <p:nvPr>
            <p:ph type="body" sz="quarter" idx="40" hasCustomPrompt="1"/>
          </p:nvPr>
        </p:nvSpPr>
        <p:spPr>
          <a:xfrm>
            <a:off x="6627617" y="1300220"/>
            <a:ext cx="2152968" cy="828564"/>
          </a:xfrm>
          <a:prstGeom prst="rect">
            <a:avLst/>
          </a:prstGeom>
        </p:spPr>
        <p:txBody>
          <a:bodyPr anchor="ctr">
            <a:noAutofit/>
          </a:bodyPr>
          <a:lstStyle>
            <a:lvl1pPr marL="0" indent="0" algn="l">
              <a:lnSpc>
                <a:spcPct val="85000"/>
              </a:lnSpc>
              <a:spcBef>
                <a:spcPts val="0"/>
              </a:spcBef>
              <a:buNone/>
              <a:defRPr sz="7500" b="1" spc="40" baseline="0">
                <a:solidFill>
                  <a:schemeClr val="bg1"/>
                </a:solidFill>
              </a:defRPr>
            </a:lvl1pPr>
          </a:lstStyle>
          <a:p>
            <a:pPr lvl="0"/>
            <a:r>
              <a:rPr lang="en-US" noProof="0"/>
              <a:t>XX%</a:t>
            </a:r>
          </a:p>
        </p:txBody>
      </p:sp>
      <p:sp>
        <p:nvSpPr>
          <p:cNvPr id="37" name="Text Placeholder 18">
            <a:extLst>
              <a:ext uri="{FF2B5EF4-FFF2-40B4-BE49-F238E27FC236}">
                <a16:creationId xmlns:a16="http://schemas.microsoft.com/office/drawing/2014/main" id="{8D75ACEF-8209-9749-9CB8-7EA7DA9892D4}"/>
              </a:ext>
            </a:extLst>
          </p:cNvPr>
          <p:cNvSpPr>
            <a:spLocks noGrp="1"/>
          </p:cNvSpPr>
          <p:nvPr>
            <p:ph type="body" sz="quarter" idx="41" hasCustomPrompt="1"/>
          </p:nvPr>
        </p:nvSpPr>
        <p:spPr>
          <a:xfrm>
            <a:off x="8762237" y="4729219"/>
            <a:ext cx="2491409" cy="828564"/>
          </a:xfrm>
          <a:prstGeom prst="rect">
            <a:avLst/>
          </a:prstGeom>
        </p:spPr>
        <p:txBody>
          <a:bodyPr anchor="ctr">
            <a:noAutofit/>
          </a:bodyPr>
          <a:lstStyle>
            <a:lvl1pPr marL="0" indent="0" algn="l">
              <a:lnSpc>
                <a:spcPct val="85000"/>
              </a:lnSpc>
              <a:spcBef>
                <a:spcPts val="0"/>
              </a:spcBef>
              <a:buNone/>
              <a:defRPr sz="1800" spc="40" baseline="0">
                <a:solidFill>
                  <a:schemeClr val="bg1"/>
                </a:solidFill>
              </a:defRPr>
            </a:lvl1pPr>
          </a:lstStyle>
          <a:p>
            <a:pPr lvl="0"/>
            <a:r>
              <a:rPr lang="en-US" noProof="0"/>
              <a:t>Click to add text</a:t>
            </a:r>
          </a:p>
        </p:txBody>
      </p:sp>
      <p:sp>
        <p:nvSpPr>
          <p:cNvPr id="38" name="Text Placeholder 18">
            <a:extLst>
              <a:ext uri="{FF2B5EF4-FFF2-40B4-BE49-F238E27FC236}">
                <a16:creationId xmlns:a16="http://schemas.microsoft.com/office/drawing/2014/main" id="{1469836C-111D-B74A-A176-3FEDB9A33016}"/>
              </a:ext>
            </a:extLst>
          </p:cNvPr>
          <p:cNvSpPr>
            <a:spLocks noGrp="1"/>
          </p:cNvSpPr>
          <p:nvPr>
            <p:ph type="body" sz="quarter" idx="42" hasCustomPrompt="1"/>
          </p:nvPr>
        </p:nvSpPr>
        <p:spPr>
          <a:xfrm>
            <a:off x="6627617" y="4729219"/>
            <a:ext cx="2152968" cy="828564"/>
          </a:xfrm>
          <a:prstGeom prst="rect">
            <a:avLst/>
          </a:prstGeom>
        </p:spPr>
        <p:txBody>
          <a:bodyPr anchor="ctr">
            <a:noAutofit/>
          </a:bodyPr>
          <a:lstStyle>
            <a:lvl1pPr marL="0" indent="0" algn="l">
              <a:lnSpc>
                <a:spcPct val="85000"/>
              </a:lnSpc>
              <a:spcBef>
                <a:spcPts val="0"/>
              </a:spcBef>
              <a:buNone/>
              <a:defRPr sz="7500" b="1" spc="40" baseline="0">
                <a:solidFill>
                  <a:schemeClr val="bg1"/>
                </a:solidFill>
              </a:defRPr>
            </a:lvl1pPr>
          </a:lstStyle>
          <a:p>
            <a:pPr lvl="0"/>
            <a:r>
              <a:rPr lang="en-US" noProof="0"/>
              <a:t>XX%</a:t>
            </a:r>
          </a:p>
        </p:txBody>
      </p:sp>
      <p:sp>
        <p:nvSpPr>
          <p:cNvPr id="17" name="textruta 5">
            <a:extLst>
              <a:ext uri="{FF2B5EF4-FFF2-40B4-BE49-F238E27FC236}">
                <a16:creationId xmlns:a16="http://schemas.microsoft.com/office/drawing/2014/main" id="{E90C3209-4C05-3C43-B48E-1ECBEF52FBA7}"/>
              </a:ext>
            </a:extLst>
          </p:cNvPr>
          <p:cNvSpPr txBox="1"/>
          <p:nvPr userDrawn="1"/>
        </p:nvSpPr>
        <p:spPr>
          <a:xfrm>
            <a:off x="12395260" y="1453483"/>
            <a:ext cx="1681523" cy="646331"/>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the textboxes disappears after adding or changing an imag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right click the image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and use – </a:t>
            </a:r>
            <a:r>
              <a:rPr lang="en-US" sz="900" b="1" noProof="0">
                <a:solidFill>
                  <a:schemeClr val="tx1">
                    <a:lumMod val="65000"/>
                    <a:lumOff val="35000"/>
                  </a:schemeClr>
                </a:solidFill>
                <a:latin typeface="Arial" panose="020B0604020202020204" pitchFamily="34" charset="0"/>
                <a:cs typeface="Arial" panose="020B0604020202020204" pitchFamily="34" charset="0"/>
              </a:rPr>
              <a:t>S</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end to back</a:t>
            </a:r>
          </a:p>
        </p:txBody>
      </p:sp>
      <p:sp>
        <p:nvSpPr>
          <p:cNvPr id="19" name="textruta 18">
            <a:extLst>
              <a:ext uri="{FF2B5EF4-FFF2-40B4-BE49-F238E27FC236}">
                <a16:creationId xmlns:a16="http://schemas.microsoft.com/office/drawing/2014/main" id="{88F68831-1F31-F148-A602-C4C4933E8B69}"/>
              </a:ext>
            </a:extLst>
          </p:cNvPr>
          <p:cNvSpPr txBox="1"/>
          <p:nvPr userDrawn="1"/>
        </p:nvSpPr>
        <p:spPr>
          <a:xfrm>
            <a:off x="12395260" y="-12189"/>
            <a:ext cx="1681523" cy="1338828"/>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you need to change the color of the logo, right click outside work area,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Format Background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from context menu and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Solid fill</a:t>
            </a:r>
            <a:r>
              <a:rPr lang="en-US" sz="900" baseline="0" noProof="0">
                <a:solidFill>
                  <a:schemeClr val="tx1">
                    <a:lumMod val="65000"/>
                    <a:lumOff val="35000"/>
                  </a:schemeClr>
                </a:solidFill>
                <a:latin typeface="Arial" panose="020B0604020202020204" pitchFamily="34" charset="0"/>
                <a:cs typeface="Arial" panose="020B0604020202020204" pitchFamily="34" charset="0"/>
              </a:rPr>
              <a:t> –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White or Blue</a:t>
            </a: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p:txBody>
      </p:sp>
      <p:sp>
        <p:nvSpPr>
          <p:cNvPr id="20" name="Rektangel 19">
            <a:extLst>
              <a:ext uri="{FF2B5EF4-FFF2-40B4-BE49-F238E27FC236}">
                <a16:creationId xmlns:a16="http://schemas.microsoft.com/office/drawing/2014/main" id="{C29F9589-B689-ED44-8A45-2DD215DCBD14}"/>
              </a:ext>
            </a:extLst>
          </p:cNvPr>
          <p:cNvSpPr/>
          <p:nvPr userDrawn="1"/>
        </p:nvSpPr>
        <p:spPr>
          <a:xfrm>
            <a:off x="13255337" y="926211"/>
            <a:ext cx="341194" cy="305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1" name="Rektangel 20">
            <a:extLst>
              <a:ext uri="{FF2B5EF4-FFF2-40B4-BE49-F238E27FC236}">
                <a16:creationId xmlns:a16="http://schemas.microsoft.com/office/drawing/2014/main" id="{B0464F1E-024A-AA42-97B1-2B23E046CA94}"/>
              </a:ext>
            </a:extLst>
          </p:cNvPr>
          <p:cNvSpPr/>
          <p:nvPr userDrawn="1"/>
        </p:nvSpPr>
        <p:spPr>
          <a:xfrm>
            <a:off x="12833410" y="926211"/>
            <a:ext cx="341194" cy="30590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2" name="Platshållare för datum 3">
            <a:extLst>
              <a:ext uri="{FF2B5EF4-FFF2-40B4-BE49-F238E27FC236}">
                <a16:creationId xmlns:a16="http://schemas.microsoft.com/office/drawing/2014/main" id="{AD71DE8A-70D0-DF46-9215-74304BF95816}"/>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bg1"/>
                </a:solidFill>
              </a:defRPr>
            </a:lvl1pPr>
          </a:lstStyle>
          <a:p>
            <a:fld id="{2F9806AD-009B-8D45-82A9-B9E8234B6322}" type="datetime1">
              <a:rPr lang="en-US" smtClean="0"/>
              <a:pPr/>
              <a:t>10/17/2023</a:t>
            </a:fld>
            <a:endParaRPr lang="en-US"/>
          </a:p>
        </p:txBody>
      </p:sp>
      <p:sp>
        <p:nvSpPr>
          <p:cNvPr id="23" name="Platshållare för sidfot 4">
            <a:extLst>
              <a:ext uri="{FF2B5EF4-FFF2-40B4-BE49-F238E27FC236}">
                <a16:creationId xmlns:a16="http://schemas.microsoft.com/office/drawing/2014/main" id="{51D5C77F-E4FC-CE46-8460-3ECBA17B7451}"/>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bg1"/>
                </a:solidFill>
              </a:defRPr>
            </a:lvl1pPr>
          </a:lstStyle>
          <a:p>
            <a:r>
              <a:rPr lang="en-US"/>
              <a:t>Go to header/footer to change text </a:t>
            </a:r>
          </a:p>
        </p:txBody>
      </p:sp>
      <p:sp>
        <p:nvSpPr>
          <p:cNvPr id="24" name="Platshållare för bildnummer 5">
            <a:extLst>
              <a:ext uri="{FF2B5EF4-FFF2-40B4-BE49-F238E27FC236}">
                <a16:creationId xmlns:a16="http://schemas.microsoft.com/office/drawing/2014/main" id="{69DE8965-1F24-2141-B9C3-65976942F2F1}"/>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bg1"/>
                </a:solidFill>
              </a:defRPr>
            </a:lvl1pPr>
          </a:lstStyle>
          <a:p>
            <a:fld id="{EF8DBD5B-30F9-4F9C-AE39-E065C1AC514D}" type="slidenum">
              <a:rPr lang="en-US" smtClean="0"/>
              <a:pPr/>
              <a:t>‹#›</a:t>
            </a:fld>
            <a:endParaRPr lang="en-US"/>
          </a:p>
        </p:txBody>
      </p:sp>
      <p:sp>
        <p:nvSpPr>
          <p:cNvPr id="25" name="Text Placeholder 4">
            <a:extLst>
              <a:ext uri="{FF2B5EF4-FFF2-40B4-BE49-F238E27FC236}">
                <a16:creationId xmlns:a16="http://schemas.microsoft.com/office/drawing/2014/main" id="{FE0E1D06-6CCE-1142-8EDF-E1C3A54A7FD1}"/>
              </a:ext>
            </a:extLst>
          </p:cNvPr>
          <p:cNvSpPr>
            <a:spLocks noGrp="1"/>
          </p:cNvSpPr>
          <p:nvPr>
            <p:ph type="body" sz="quarter" idx="43" hasCustomPrompt="1"/>
          </p:nvPr>
        </p:nvSpPr>
        <p:spPr>
          <a:xfrm rot="5400000">
            <a:off x="10901730" y="803644"/>
            <a:ext cx="2093913" cy="486626"/>
          </a:xfrm>
        </p:spPr>
        <p:txBody>
          <a:bodyPr lIns="180000" tIns="180000" rIns="0" bIns="180000" anchor="ctr">
            <a:spAutoFit/>
          </a:bodyPr>
          <a:lstStyle>
            <a:lvl1pPr marL="6350" indent="0" algn="l">
              <a:buNone/>
              <a:defRPr sz="800">
                <a:solidFill>
                  <a:schemeClr val="bg1"/>
                </a:solidFill>
              </a:defRPr>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
        <p:nvSpPr>
          <p:cNvPr id="26" name="Text Placeholder 4">
            <a:extLst>
              <a:ext uri="{FF2B5EF4-FFF2-40B4-BE49-F238E27FC236}">
                <a16:creationId xmlns:a16="http://schemas.microsoft.com/office/drawing/2014/main" id="{739985EA-42BD-7B49-BFB3-4CC099D34377}"/>
              </a:ext>
            </a:extLst>
          </p:cNvPr>
          <p:cNvSpPr>
            <a:spLocks noGrp="1"/>
          </p:cNvSpPr>
          <p:nvPr>
            <p:ph type="body" sz="quarter" idx="44" hasCustomPrompt="1"/>
          </p:nvPr>
        </p:nvSpPr>
        <p:spPr>
          <a:xfrm rot="5400000">
            <a:off x="4805730" y="803644"/>
            <a:ext cx="2093913" cy="486626"/>
          </a:xfrm>
        </p:spPr>
        <p:txBody>
          <a:bodyPr lIns="180000" tIns="180000" rIns="0" bIns="180000" anchor="ctr">
            <a:spAutoFit/>
          </a:bodyPr>
          <a:lstStyle>
            <a:lvl1pPr marL="6350" indent="0" algn="l">
              <a:buNone/>
              <a:defRPr sz="800">
                <a:solidFill>
                  <a:schemeClr val="bg1"/>
                </a:solidFill>
              </a:defRPr>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
        <p:nvSpPr>
          <p:cNvPr id="27" name="Text Placeholder 4">
            <a:extLst>
              <a:ext uri="{FF2B5EF4-FFF2-40B4-BE49-F238E27FC236}">
                <a16:creationId xmlns:a16="http://schemas.microsoft.com/office/drawing/2014/main" id="{768BF38A-9DCF-A849-8886-2CB394E1E2A9}"/>
              </a:ext>
            </a:extLst>
          </p:cNvPr>
          <p:cNvSpPr>
            <a:spLocks noGrp="1"/>
          </p:cNvSpPr>
          <p:nvPr>
            <p:ph type="body" sz="quarter" idx="45" hasCustomPrompt="1"/>
          </p:nvPr>
        </p:nvSpPr>
        <p:spPr>
          <a:xfrm rot="5400000">
            <a:off x="4805730" y="4232646"/>
            <a:ext cx="2093913" cy="486626"/>
          </a:xfrm>
        </p:spPr>
        <p:txBody>
          <a:bodyPr lIns="180000" tIns="180000" rIns="0" bIns="180000" anchor="ctr">
            <a:spAutoFit/>
          </a:bodyPr>
          <a:lstStyle>
            <a:lvl1pPr marL="6350" indent="0" algn="l">
              <a:buNone/>
              <a:defRPr sz="800">
                <a:solidFill>
                  <a:schemeClr val="bg1"/>
                </a:solidFill>
              </a:defRPr>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
        <p:nvSpPr>
          <p:cNvPr id="31" name="Text Placeholder 4">
            <a:extLst>
              <a:ext uri="{FF2B5EF4-FFF2-40B4-BE49-F238E27FC236}">
                <a16:creationId xmlns:a16="http://schemas.microsoft.com/office/drawing/2014/main" id="{2F363A2B-194E-9D4E-91E2-5DE1EBFE1122}"/>
              </a:ext>
            </a:extLst>
          </p:cNvPr>
          <p:cNvSpPr>
            <a:spLocks noGrp="1"/>
          </p:cNvSpPr>
          <p:nvPr>
            <p:ph type="body" sz="quarter" idx="46" hasCustomPrompt="1"/>
          </p:nvPr>
        </p:nvSpPr>
        <p:spPr>
          <a:xfrm rot="5400000">
            <a:off x="10901730" y="4232646"/>
            <a:ext cx="2093913" cy="486626"/>
          </a:xfrm>
        </p:spPr>
        <p:txBody>
          <a:bodyPr lIns="180000" tIns="180000" rIns="0" bIns="180000" anchor="ctr">
            <a:spAutoFit/>
          </a:bodyPr>
          <a:lstStyle>
            <a:lvl1pPr marL="6350" indent="0" algn="l">
              <a:buNone/>
              <a:defRPr sz="800">
                <a:solidFill>
                  <a:schemeClr val="bg1"/>
                </a:solidFill>
              </a:defRPr>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Tree>
    <p:extLst>
      <p:ext uri="{BB962C8B-B14F-4D97-AF65-F5344CB8AC3E}">
        <p14:creationId xmlns:p14="http://schemas.microsoft.com/office/powerpoint/2010/main" val="254649721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6 Headline Text">
    <p:spTree>
      <p:nvGrpSpPr>
        <p:cNvPr id="1" name=""/>
        <p:cNvGrpSpPr/>
        <p:nvPr/>
      </p:nvGrpSpPr>
      <p:grpSpPr>
        <a:xfrm>
          <a:off x="0" y="0"/>
          <a:ext cx="0" cy="0"/>
          <a:chOff x="0" y="0"/>
          <a:chExt cx="0" cy="0"/>
        </a:xfrm>
      </p:grpSpPr>
      <p:grpSp>
        <p:nvGrpSpPr>
          <p:cNvPr id="17" name="Grupp 32">
            <a:extLst>
              <a:ext uri="{FF2B5EF4-FFF2-40B4-BE49-F238E27FC236}">
                <a16:creationId xmlns:a16="http://schemas.microsoft.com/office/drawing/2014/main" id="{06A06E8E-9AC5-474F-9D8F-BE8A4B8DF25A}"/>
              </a:ext>
            </a:extLst>
          </p:cNvPr>
          <p:cNvGrpSpPr/>
          <p:nvPr userDrawn="1"/>
        </p:nvGrpSpPr>
        <p:grpSpPr>
          <a:xfrm>
            <a:off x="576140" y="6451484"/>
            <a:ext cx="615478" cy="91194"/>
            <a:chOff x="576140" y="6451484"/>
            <a:chExt cx="615478" cy="91194"/>
          </a:xfrm>
          <a:solidFill>
            <a:schemeClr val="tx2"/>
          </a:solidFill>
        </p:grpSpPr>
        <p:sp>
          <p:nvSpPr>
            <p:cNvPr id="18" name="Bild 2">
              <a:extLst>
                <a:ext uri="{FF2B5EF4-FFF2-40B4-BE49-F238E27FC236}">
                  <a16:creationId xmlns:a16="http://schemas.microsoft.com/office/drawing/2014/main" id="{75F62DFF-CE28-2847-9178-371361C4B379}"/>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noProof="0">
                <a:solidFill>
                  <a:schemeClr val="tx2"/>
                </a:solidFill>
              </a:endParaRPr>
            </a:p>
          </p:txBody>
        </p:sp>
        <p:sp>
          <p:nvSpPr>
            <p:cNvPr id="19" name="Bild 2">
              <a:extLst>
                <a:ext uri="{FF2B5EF4-FFF2-40B4-BE49-F238E27FC236}">
                  <a16:creationId xmlns:a16="http://schemas.microsoft.com/office/drawing/2014/main" id="{56F4E682-4CA9-5346-8CD6-98F8EACD6CE7}"/>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0" name="Bild 2">
              <a:extLst>
                <a:ext uri="{FF2B5EF4-FFF2-40B4-BE49-F238E27FC236}">
                  <a16:creationId xmlns:a16="http://schemas.microsoft.com/office/drawing/2014/main" id="{11510029-65DB-F040-9ED5-A182045EEF2B}"/>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21" name="Bild 2">
              <a:extLst>
                <a:ext uri="{FF2B5EF4-FFF2-40B4-BE49-F238E27FC236}">
                  <a16:creationId xmlns:a16="http://schemas.microsoft.com/office/drawing/2014/main" id="{882E3E49-2F44-5445-B3D9-4FA93CE1837A}"/>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2" name="Bild 2">
              <a:extLst>
                <a:ext uri="{FF2B5EF4-FFF2-40B4-BE49-F238E27FC236}">
                  <a16:creationId xmlns:a16="http://schemas.microsoft.com/office/drawing/2014/main" id="{E77E397B-C384-F949-9F60-67A86BD39DCA}"/>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noProof="0">
                <a:solidFill>
                  <a:schemeClr val="tx2"/>
                </a:solidFill>
              </a:endParaRPr>
            </a:p>
          </p:txBody>
        </p:sp>
        <p:sp>
          <p:nvSpPr>
            <p:cNvPr id="23" name="Bild 2">
              <a:extLst>
                <a:ext uri="{FF2B5EF4-FFF2-40B4-BE49-F238E27FC236}">
                  <a16:creationId xmlns:a16="http://schemas.microsoft.com/office/drawing/2014/main" id="{DBE8665D-1D7B-BC49-9416-388A79FA9660}"/>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24" name="Bild 2">
              <a:extLst>
                <a:ext uri="{FF2B5EF4-FFF2-40B4-BE49-F238E27FC236}">
                  <a16:creationId xmlns:a16="http://schemas.microsoft.com/office/drawing/2014/main" id="{E25BD59B-C1DD-BF4D-89DA-D56603C3E329}"/>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grpSp>
      <p:sp>
        <p:nvSpPr>
          <p:cNvPr id="26" name="Text Placeholder 18">
            <a:extLst>
              <a:ext uri="{FF2B5EF4-FFF2-40B4-BE49-F238E27FC236}">
                <a16:creationId xmlns:a16="http://schemas.microsoft.com/office/drawing/2014/main" id="{A6ED295F-AFF0-3548-BAA8-8DAFA2BDE3F6}"/>
              </a:ext>
            </a:extLst>
          </p:cNvPr>
          <p:cNvSpPr>
            <a:spLocks noGrp="1"/>
          </p:cNvSpPr>
          <p:nvPr>
            <p:ph type="body" sz="quarter" idx="14" hasCustomPrompt="1"/>
          </p:nvPr>
        </p:nvSpPr>
        <p:spPr>
          <a:xfrm>
            <a:off x="576000" y="731027"/>
            <a:ext cx="11039738" cy="860400"/>
          </a:xfrm>
          <a:prstGeom prst="rect">
            <a:avLst/>
          </a:prstGeom>
        </p:spPr>
        <p:txBody>
          <a:bodyPr anchor="t">
            <a:noAutofit/>
          </a:bodyPr>
          <a:lstStyle>
            <a:lvl1pPr marL="0" indent="0">
              <a:lnSpc>
                <a:spcPct val="85000"/>
              </a:lnSpc>
              <a:spcBef>
                <a:spcPts val="0"/>
              </a:spcBef>
              <a:buNone/>
              <a:defRPr sz="3600" spc="40" baseline="0">
                <a:solidFill>
                  <a:schemeClr val="tx2"/>
                </a:solidFill>
                <a:latin typeface="+mj-lt"/>
              </a:defRPr>
            </a:lvl1pPr>
          </a:lstStyle>
          <a:p>
            <a:pPr lvl="0"/>
            <a:r>
              <a:rPr lang="en-US" noProof="0"/>
              <a:t>Click to add a headline of maximum two lines</a:t>
            </a:r>
          </a:p>
        </p:txBody>
      </p:sp>
      <p:sp>
        <p:nvSpPr>
          <p:cNvPr id="25" name="Platshållare för text 11">
            <a:extLst>
              <a:ext uri="{FF2B5EF4-FFF2-40B4-BE49-F238E27FC236}">
                <a16:creationId xmlns:a16="http://schemas.microsoft.com/office/drawing/2014/main" id="{2E8EBC9E-D535-B04E-BD8C-391B61C35F12}"/>
              </a:ext>
            </a:extLst>
          </p:cNvPr>
          <p:cNvSpPr>
            <a:spLocks noGrp="1"/>
          </p:cNvSpPr>
          <p:nvPr>
            <p:ph type="body" sz="quarter" idx="20" hasCustomPrompt="1"/>
          </p:nvPr>
        </p:nvSpPr>
        <p:spPr>
          <a:xfrm>
            <a:off x="576000" y="2527200"/>
            <a:ext cx="5377125" cy="3600450"/>
          </a:xfrm>
        </p:spPr>
        <p:txBody>
          <a:bodyPr/>
          <a:lstStyle/>
          <a:p>
            <a:pPr lvl="0"/>
            <a:r>
              <a:rPr lang="en-US" noProof="0"/>
              <a:t>Click to add body text</a:t>
            </a:r>
          </a:p>
          <a:p>
            <a:pPr lvl="1"/>
            <a:r>
              <a:rPr lang="en-US" noProof="0"/>
              <a:t>Second level</a:t>
            </a:r>
          </a:p>
          <a:p>
            <a:pPr lvl="2"/>
            <a:r>
              <a:rPr lang="en-US" noProof="0"/>
              <a:t>Third level</a:t>
            </a:r>
          </a:p>
          <a:p>
            <a:pPr lvl="3"/>
            <a:r>
              <a:rPr lang="en-US" noProof="0"/>
              <a:t>Fourth level </a:t>
            </a:r>
          </a:p>
          <a:p>
            <a:pPr lvl="4"/>
            <a:r>
              <a:rPr lang="en-US" noProof="0"/>
              <a:t>Fifth level</a:t>
            </a:r>
          </a:p>
        </p:txBody>
      </p:sp>
      <p:sp>
        <p:nvSpPr>
          <p:cNvPr id="15" name="Platshållare för datum 3">
            <a:extLst>
              <a:ext uri="{FF2B5EF4-FFF2-40B4-BE49-F238E27FC236}">
                <a16:creationId xmlns:a16="http://schemas.microsoft.com/office/drawing/2014/main" id="{733CC2DA-8DFA-764F-8E5E-F7A7044146E6}"/>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tx2"/>
                </a:solidFill>
              </a:defRPr>
            </a:lvl1pPr>
          </a:lstStyle>
          <a:p>
            <a:fld id="{2F9806AD-009B-8D45-82A9-B9E8234B6322}" type="datetime1">
              <a:rPr lang="en-US" noProof="0" smtClean="0"/>
              <a:t>10/17/2023</a:t>
            </a:fld>
            <a:endParaRPr lang="en-US" noProof="0"/>
          </a:p>
        </p:txBody>
      </p:sp>
      <p:sp>
        <p:nvSpPr>
          <p:cNvPr id="16" name="Platshållare för sidfot 4">
            <a:extLst>
              <a:ext uri="{FF2B5EF4-FFF2-40B4-BE49-F238E27FC236}">
                <a16:creationId xmlns:a16="http://schemas.microsoft.com/office/drawing/2014/main" id="{067D4784-F924-C644-B32C-74F9BB27C9B2}"/>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tx2"/>
                </a:solidFill>
              </a:defRPr>
            </a:lvl1pPr>
          </a:lstStyle>
          <a:p>
            <a:r>
              <a:rPr lang="en-US" noProof="0"/>
              <a:t>Go to header/footer to change text </a:t>
            </a:r>
          </a:p>
        </p:txBody>
      </p:sp>
      <p:sp>
        <p:nvSpPr>
          <p:cNvPr id="27" name="Platshållare för bildnummer 5">
            <a:extLst>
              <a:ext uri="{FF2B5EF4-FFF2-40B4-BE49-F238E27FC236}">
                <a16:creationId xmlns:a16="http://schemas.microsoft.com/office/drawing/2014/main" id="{31F4C005-599D-6342-ABC7-0A72573226B1}"/>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tx2"/>
                </a:solidFill>
              </a:defRPr>
            </a:lvl1pPr>
          </a:lstStyle>
          <a:p>
            <a:fld id="{EF8DBD5B-30F9-4F9C-AE39-E065C1AC514D}" type="slidenum">
              <a:rPr lang="en-US" noProof="0" smtClean="0"/>
              <a:pPr/>
              <a:t>‹#›</a:t>
            </a:fld>
            <a:endParaRPr lang="en-US" noProof="0"/>
          </a:p>
        </p:txBody>
      </p:sp>
    </p:spTree>
    <p:extLst>
      <p:ext uri="{BB962C8B-B14F-4D97-AF65-F5344CB8AC3E}">
        <p14:creationId xmlns:p14="http://schemas.microsoft.com/office/powerpoint/2010/main" val="19411135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 Title Start Image Blue">
    <p:bg>
      <p:bgPr>
        <a:solidFill>
          <a:schemeClr val="tx2"/>
        </a:solidFill>
        <a:effectLst/>
      </p:bgPr>
    </p:bg>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65EEAE91-E57E-6747-89AA-18B1431204B2}"/>
              </a:ext>
            </a:extLst>
          </p:cNvPr>
          <p:cNvSpPr>
            <a:spLocks noGrp="1"/>
          </p:cNvSpPr>
          <p:nvPr>
            <p:ph type="pic" sz="quarter" idx="13" hasCustomPrompt="1"/>
          </p:nvPr>
        </p:nvSpPr>
        <p:spPr>
          <a:xfrm>
            <a:off x="3" y="3"/>
            <a:ext cx="12191998" cy="6857998"/>
          </a:xfrm>
          <a:custGeom>
            <a:avLst/>
            <a:gdLst>
              <a:gd name="connsiteX0" fmla="*/ 936965 w 12191998"/>
              <a:gd name="connsiteY0" fmla="*/ 389410 h 6857998"/>
              <a:gd name="connsiteX1" fmla="*/ 957275 w 12191998"/>
              <a:gd name="connsiteY1" fmla="*/ 449691 h 6857998"/>
              <a:gd name="connsiteX2" fmla="*/ 917304 w 12191998"/>
              <a:gd name="connsiteY2" fmla="*/ 449691 h 6857998"/>
              <a:gd name="connsiteX3" fmla="*/ 1553818 w 12191998"/>
              <a:gd name="connsiteY3" fmla="*/ 389410 h 6857998"/>
              <a:gd name="connsiteX4" fmla="*/ 1574127 w 12191998"/>
              <a:gd name="connsiteY4" fmla="*/ 449690 h 6857998"/>
              <a:gd name="connsiteX5" fmla="*/ 1534156 w 12191998"/>
              <a:gd name="connsiteY5" fmla="*/ 449690 h 6857998"/>
              <a:gd name="connsiteX6" fmla="*/ 1029007 w 12191998"/>
              <a:gd name="connsiteY6" fmla="*/ 356677 h 6857998"/>
              <a:gd name="connsiteX7" fmla="*/ 1029007 w 12191998"/>
              <a:gd name="connsiteY7" fmla="*/ 513753 h 6857998"/>
              <a:gd name="connsiteX8" fmla="*/ 1065413 w 12191998"/>
              <a:gd name="connsiteY8" fmla="*/ 513753 h 6857998"/>
              <a:gd name="connsiteX9" fmla="*/ 1065413 w 12191998"/>
              <a:gd name="connsiteY9" fmla="*/ 416850 h 6857998"/>
              <a:gd name="connsiteX10" fmla="*/ 1127963 w 12191998"/>
              <a:gd name="connsiteY10" fmla="*/ 513429 h 6857998"/>
              <a:gd name="connsiteX11" fmla="*/ 1127963 w 12191998"/>
              <a:gd name="connsiteY11" fmla="*/ 513753 h 6857998"/>
              <a:gd name="connsiteX12" fmla="*/ 1165665 w 12191998"/>
              <a:gd name="connsiteY12" fmla="*/ 513753 h 6857998"/>
              <a:gd name="connsiteX13" fmla="*/ 1165557 w 12191998"/>
              <a:gd name="connsiteY13" fmla="*/ 479831 h 6857998"/>
              <a:gd name="connsiteX14" fmla="*/ 1165341 w 12191998"/>
              <a:gd name="connsiteY14" fmla="*/ 356677 h 6857998"/>
              <a:gd name="connsiteX15" fmla="*/ 1129151 w 12191998"/>
              <a:gd name="connsiteY15" fmla="*/ 356677 h 6857998"/>
              <a:gd name="connsiteX16" fmla="*/ 1129151 w 12191998"/>
              <a:gd name="connsiteY16" fmla="*/ 455416 h 6857998"/>
              <a:gd name="connsiteX17" fmla="*/ 1066062 w 12191998"/>
              <a:gd name="connsiteY17" fmla="*/ 356677 h 6857998"/>
              <a:gd name="connsiteX18" fmla="*/ 913306 w 12191998"/>
              <a:gd name="connsiteY18" fmla="*/ 356677 h 6857998"/>
              <a:gd name="connsiteX19" fmla="*/ 858967 w 12191998"/>
              <a:gd name="connsiteY19" fmla="*/ 513753 h 6857998"/>
              <a:gd name="connsiteX20" fmla="*/ 897318 w 12191998"/>
              <a:gd name="connsiteY20" fmla="*/ 513753 h 6857998"/>
              <a:gd name="connsiteX21" fmla="*/ 907257 w 12191998"/>
              <a:gd name="connsiteY21" fmla="*/ 481668 h 6857998"/>
              <a:gd name="connsiteX22" fmla="*/ 967430 w 12191998"/>
              <a:gd name="connsiteY22" fmla="*/ 481668 h 6857998"/>
              <a:gd name="connsiteX23" fmla="*/ 977693 w 12191998"/>
              <a:gd name="connsiteY23" fmla="*/ 513753 h 6857998"/>
              <a:gd name="connsiteX24" fmla="*/ 1015503 w 12191998"/>
              <a:gd name="connsiteY24" fmla="*/ 513753 h 6857998"/>
              <a:gd name="connsiteX25" fmla="*/ 959543 w 12191998"/>
              <a:gd name="connsiteY25" fmla="*/ 356677 h 6857998"/>
              <a:gd name="connsiteX26" fmla="*/ 620219 w 12191998"/>
              <a:gd name="connsiteY26" fmla="*/ 356677 h 6857998"/>
              <a:gd name="connsiteX27" fmla="*/ 571498 w 12191998"/>
              <a:gd name="connsiteY27" fmla="*/ 404426 h 6857998"/>
              <a:gd name="connsiteX28" fmla="*/ 620219 w 12191998"/>
              <a:gd name="connsiteY28" fmla="*/ 450231 h 6857998"/>
              <a:gd name="connsiteX29" fmla="*/ 657382 w 12191998"/>
              <a:gd name="connsiteY29" fmla="*/ 450231 h 6857998"/>
              <a:gd name="connsiteX30" fmla="*/ 671534 w 12191998"/>
              <a:gd name="connsiteY30" fmla="*/ 464815 h 6857998"/>
              <a:gd name="connsiteX31" fmla="*/ 657382 w 12191998"/>
              <a:gd name="connsiteY31" fmla="*/ 479399 h 6857998"/>
              <a:gd name="connsiteX32" fmla="*/ 577764 w 12191998"/>
              <a:gd name="connsiteY32" fmla="*/ 479399 h 6857998"/>
              <a:gd name="connsiteX33" fmla="*/ 577764 w 12191998"/>
              <a:gd name="connsiteY33" fmla="*/ 513753 h 6857998"/>
              <a:gd name="connsiteX34" fmla="*/ 655977 w 12191998"/>
              <a:gd name="connsiteY34" fmla="*/ 513753 h 6857998"/>
              <a:gd name="connsiteX35" fmla="*/ 705347 w 12191998"/>
              <a:gd name="connsiteY35" fmla="*/ 464815 h 6857998"/>
              <a:gd name="connsiteX36" fmla="*/ 662999 w 12191998"/>
              <a:gd name="connsiteY36" fmla="*/ 419010 h 6857998"/>
              <a:gd name="connsiteX37" fmla="*/ 620219 w 12191998"/>
              <a:gd name="connsiteY37" fmla="*/ 419010 h 6857998"/>
              <a:gd name="connsiteX38" fmla="*/ 605419 w 12191998"/>
              <a:gd name="connsiteY38" fmla="*/ 404426 h 6857998"/>
              <a:gd name="connsiteX39" fmla="*/ 620219 w 12191998"/>
              <a:gd name="connsiteY39" fmla="*/ 389842 h 6857998"/>
              <a:gd name="connsiteX40" fmla="*/ 694436 w 12191998"/>
              <a:gd name="connsiteY40" fmla="*/ 389842 h 6857998"/>
              <a:gd name="connsiteX41" fmla="*/ 694436 w 12191998"/>
              <a:gd name="connsiteY41" fmla="*/ 356677 h 6857998"/>
              <a:gd name="connsiteX42" fmla="*/ 1530159 w 12191998"/>
              <a:gd name="connsiteY42" fmla="*/ 356676 h 6857998"/>
              <a:gd name="connsiteX43" fmla="*/ 1475928 w 12191998"/>
              <a:gd name="connsiteY43" fmla="*/ 513752 h 6857998"/>
              <a:gd name="connsiteX44" fmla="*/ 1514278 w 12191998"/>
              <a:gd name="connsiteY44" fmla="*/ 513752 h 6857998"/>
              <a:gd name="connsiteX45" fmla="*/ 1524217 w 12191998"/>
              <a:gd name="connsiteY45" fmla="*/ 481668 h 6857998"/>
              <a:gd name="connsiteX46" fmla="*/ 1584390 w 12191998"/>
              <a:gd name="connsiteY46" fmla="*/ 481668 h 6857998"/>
              <a:gd name="connsiteX47" fmla="*/ 1594653 w 12191998"/>
              <a:gd name="connsiteY47" fmla="*/ 513752 h 6857998"/>
              <a:gd name="connsiteX48" fmla="*/ 1632356 w 12191998"/>
              <a:gd name="connsiteY48" fmla="*/ 513752 h 6857998"/>
              <a:gd name="connsiteX49" fmla="*/ 1576396 w 12191998"/>
              <a:gd name="connsiteY49" fmla="*/ 356676 h 6857998"/>
              <a:gd name="connsiteX50" fmla="*/ 1236424 w 12191998"/>
              <a:gd name="connsiteY50" fmla="*/ 356676 h 6857998"/>
              <a:gd name="connsiteX51" fmla="*/ 1187702 w 12191998"/>
              <a:gd name="connsiteY51" fmla="*/ 404426 h 6857998"/>
              <a:gd name="connsiteX52" fmla="*/ 1236424 w 12191998"/>
              <a:gd name="connsiteY52" fmla="*/ 450231 h 6857998"/>
              <a:gd name="connsiteX53" fmla="*/ 1273587 w 12191998"/>
              <a:gd name="connsiteY53" fmla="*/ 450231 h 6857998"/>
              <a:gd name="connsiteX54" fmla="*/ 1287739 w 12191998"/>
              <a:gd name="connsiteY54" fmla="*/ 464815 h 6857998"/>
              <a:gd name="connsiteX55" fmla="*/ 1273587 w 12191998"/>
              <a:gd name="connsiteY55" fmla="*/ 479399 h 6857998"/>
              <a:gd name="connsiteX56" fmla="*/ 1194076 w 12191998"/>
              <a:gd name="connsiteY56" fmla="*/ 479399 h 6857998"/>
              <a:gd name="connsiteX57" fmla="*/ 1194076 w 12191998"/>
              <a:gd name="connsiteY57" fmla="*/ 513752 h 6857998"/>
              <a:gd name="connsiteX58" fmla="*/ 1272290 w 12191998"/>
              <a:gd name="connsiteY58" fmla="*/ 513752 h 6857998"/>
              <a:gd name="connsiteX59" fmla="*/ 1321660 w 12191998"/>
              <a:gd name="connsiteY59" fmla="*/ 464815 h 6857998"/>
              <a:gd name="connsiteX60" fmla="*/ 1279204 w 12191998"/>
              <a:gd name="connsiteY60" fmla="*/ 419010 h 6857998"/>
              <a:gd name="connsiteX61" fmla="*/ 1236424 w 12191998"/>
              <a:gd name="connsiteY61" fmla="*/ 419010 h 6857998"/>
              <a:gd name="connsiteX62" fmla="*/ 1221624 w 12191998"/>
              <a:gd name="connsiteY62" fmla="*/ 404426 h 6857998"/>
              <a:gd name="connsiteX63" fmla="*/ 1236424 w 12191998"/>
              <a:gd name="connsiteY63" fmla="*/ 389842 h 6857998"/>
              <a:gd name="connsiteX64" fmla="*/ 1310641 w 12191998"/>
              <a:gd name="connsiteY64" fmla="*/ 389842 h 6857998"/>
              <a:gd name="connsiteX65" fmla="*/ 1310641 w 12191998"/>
              <a:gd name="connsiteY65" fmla="*/ 356676 h 6857998"/>
              <a:gd name="connsiteX66" fmla="*/ 726522 w 12191998"/>
              <a:gd name="connsiteY66" fmla="*/ 356568 h 6857998"/>
              <a:gd name="connsiteX67" fmla="*/ 726522 w 12191998"/>
              <a:gd name="connsiteY67" fmla="*/ 513752 h 6857998"/>
              <a:gd name="connsiteX68" fmla="*/ 762712 w 12191998"/>
              <a:gd name="connsiteY68" fmla="*/ 513752 h 6857998"/>
              <a:gd name="connsiteX69" fmla="*/ 762712 w 12191998"/>
              <a:gd name="connsiteY69" fmla="*/ 447422 h 6857998"/>
              <a:gd name="connsiteX70" fmla="*/ 814351 w 12191998"/>
              <a:gd name="connsiteY70" fmla="*/ 513752 h 6857998"/>
              <a:gd name="connsiteX71" fmla="*/ 856699 w 12191998"/>
              <a:gd name="connsiteY71" fmla="*/ 513752 h 6857998"/>
              <a:gd name="connsiteX72" fmla="*/ 797174 w 12191998"/>
              <a:gd name="connsiteY72" fmla="*/ 435214 h 6857998"/>
              <a:gd name="connsiteX73" fmla="*/ 856699 w 12191998"/>
              <a:gd name="connsiteY73" fmla="*/ 356568 h 6857998"/>
              <a:gd name="connsiteX74" fmla="*/ 814351 w 12191998"/>
              <a:gd name="connsiteY74" fmla="*/ 356568 h 6857998"/>
              <a:gd name="connsiteX75" fmla="*/ 762712 w 12191998"/>
              <a:gd name="connsiteY75" fmla="*/ 422899 h 6857998"/>
              <a:gd name="connsiteX76" fmla="*/ 762712 w 12191998"/>
              <a:gd name="connsiteY76" fmla="*/ 356568 h 6857998"/>
              <a:gd name="connsiteX77" fmla="*/ 1343374 w 12191998"/>
              <a:gd name="connsiteY77" fmla="*/ 356568 h 6857998"/>
              <a:gd name="connsiteX78" fmla="*/ 1343374 w 12191998"/>
              <a:gd name="connsiteY78" fmla="*/ 513752 h 6857998"/>
              <a:gd name="connsiteX79" fmla="*/ 1379673 w 12191998"/>
              <a:gd name="connsiteY79" fmla="*/ 513752 h 6857998"/>
              <a:gd name="connsiteX80" fmla="*/ 1379673 w 12191998"/>
              <a:gd name="connsiteY80" fmla="*/ 447422 h 6857998"/>
              <a:gd name="connsiteX81" fmla="*/ 1431311 w 12191998"/>
              <a:gd name="connsiteY81" fmla="*/ 513752 h 6857998"/>
              <a:gd name="connsiteX82" fmla="*/ 1473551 w 12191998"/>
              <a:gd name="connsiteY82" fmla="*/ 513752 h 6857998"/>
              <a:gd name="connsiteX83" fmla="*/ 1414134 w 12191998"/>
              <a:gd name="connsiteY83" fmla="*/ 435214 h 6857998"/>
              <a:gd name="connsiteX84" fmla="*/ 1473551 w 12191998"/>
              <a:gd name="connsiteY84" fmla="*/ 356568 h 6857998"/>
              <a:gd name="connsiteX85" fmla="*/ 1431311 w 12191998"/>
              <a:gd name="connsiteY85" fmla="*/ 356568 h 6857998"/>
              <a:gd name="connsiteX86" fmla="*/ 1379673 w 12191998"/>
              <a:gd name="connsiteY86" fmla="*/ 422899 h 6857998"/>
              <a:gd name="connsiteX87" fmla="*/ 1379673 w 12191998"/>
              <a:gd name="connsiteY87" fmla="*/ 356568 h 6857998"/>
              <a:gd name="connsiteX88" fmla="*/ 0 w 12191998"/>
              <a:gd name="connsiteY88" fmla="*/ 0 h 6857998"/>
              <a:gd name="connsiteX89" fmla="*/ 12191998 w 12191998"/>
              <a:gd name="connsiteY89" fmla="*/ 0 h 6857998"/>
              <a:gd name="connsiteX90" fmla="*/ 12191998 w 12191998"/>
              <a:gd name="connsiteY90" fmla="*/ 6857998 h 6857998"/>
              <a:gd name="connsiteX91" fmla="*/ 0 w 12191998"/>
              <a:gd name="connsiteY91" fmla="*/ 685799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2191998" h="6857998">
                <a:moveTo>
                  <a:pt x="936965" y="389410"/>
                </a:moveTo>
                <a:lnTo>
                  <a:pt x="957275" y="449691"/>
                </a:lnTo>
                <a:lnTo>
                  <a:pt x="917304" y="449691"/>
                </a:lnTo>
                <a:close/>
                <a:moveTo>
                  <a:pt x="1553818" y="389410"/>
                </a:moveTo>
                <a:lnTo>
                  <a:pt x="1574127" y="449690"/>
                </a:lnTo>
                <a:lnTo>
                  <a:pt x="1534156" y="449690"/>
                </a:lnTo>
                <a:close/>
                <a:moveTo>
                  <a:pt x="1029007" y="356677"/>
                </a:moveTo>
                <a:lnTo>
                  <a:pt x="1029007" y="513753"/>
                </a:lnTo>
                <a:lnTo>
                  <a:pt x="1065413" y="513753"/>
                </a:lnTo>
                <a:lnTo>
                  <a:pt x="1065413" y="416850"/>
                </a:lnTo>
                <a:lnTo>
                  <a:pt x="1127963" y="513429"/>
                </a:lnTo>
                <a:lnTo>
                  <a:pt x="1127963" y="513753"/>
                </a:lnTo>
                <a:lnTo>
                  <a:pt x="1165665" y="513753"/>
                </a:lnTo>
                <a:lnTo>
                  <a:pt x="1165557" y="479831"/>
                </a:lnTo>
                <a:lnTo>
                  <a:pt x="1165341" y="356677"/>
                </a:lnTo>
                <a:lnTo>
                  <a:pt x="1129151" y="356677"/>
                </a:lnTo>
                <a:lnTo>
                  <a:pt x="1129151" y="455416"/>
                </a:lnTo>
                <a:lnTo>
                  <a:pt x="1066062" y="356677"/>
                </a:lnTo>
                <a:close/>
                <a:moveTo>
                  <a:pt x="913306" y="356677"/>
                </a:moveTo>
                <a:lnTo>
                  <a:pt x="858967" y="513753"/>
                </a:lnTo>
                <a:lnTo>
                  <a:pt x="897318" y="513753"/>
                </a:lnTo>
                <a:lnTo>
                  <a:pt x="907257" y="481668"/>
                </a:lnTo>
                <a:lnTo>
                  <a:pt x="967430" y="481668"/>
                </a:lnTo>
                <a:lnTo>
                  <a:pt x="977693" y="513753"/>
                </a:lnTo>
                <a:lnTo>
                  <a:pt x="1015503" y="513753"/>
                </a:lnTo>
                <a:lnTo>
                  <a:pt x="959543" y="356677"/>
                </a:lnTo>
                <a:close/>
                <a:moveTo>
                  <a:pt x="620219" y="356677"/>
                </a:moveTo>
                <a:cubicBezTo>
                  <a:pt x="589863" y="356677"/>
                  <a:pt x="571498" y="374393"/>
                  <a:pt x="571498" y="404426"/>
                </a:cubicBezTo>
                <a:cubicBezTo>
                  <a:pt x="571498" y="434458"/>
                  <a:pt x="592780" y="450231"/>
                  <a:pt x="620219" y="450231"/>
                </a:cubicBezTo>
                <a:lnTo>
                  <a:pt x="657382" y="450231"/>
                </a:lnTo>
                <a:cubicBezTo>
                  <a:pt x="666780" y="450231"/>
                  <a:pt x="671534" y="457361"/>
                  <a:pt x="671534" y="464815"/>
                </a:cubicBezTo>
                <a:cubicBezTo>
                  <a:pt x="671534" y="472485"/>
                  <a:pt x="666780" y="479399"/>
                  <a:pt x="657382" y="479399"/>
                </a:cubicBezTo>
                <a:lnTo>
                  <a:pt x="577764" y="479399"/>
                </a:lnTo>
                <a:lnTo>
                  <a:pt x="577764" y="513753"/>
                </a:lnTo>
                <a:lnTo>
                  <a:pt x="655977" y="513753"/>
                </a:lnTo>
                <a:cubicBezTo>
                  <a:pt x="686982" y="513753"/>
                  <a:pt x="705347" y="496684"/>
                  <a:pt x="705347" y="464815"/>
                </a:cubicBezTo>
                <a:cubicBezTo>
                  <a:pt x="705347" y="436079"/>
                  <a:pt x="686982" y="419010"/>
                  <a:pt x="662999" y="419010"/>
                </a:cubicBezTo>
                <a:lnTo>
                  <a:pt x="620219" y="419010"/>
                </a:lnTo>
                <a:cubicBezTo>
                  <a:pt x="610173" y="419010"/>
                  <a:pt x="605419" y="412096"/>
                  <a:pt x="605419" y="404426"/>
                </a:cubicBezTo>
                <a:cubicBezTo>
                  <a:pt x="605419" y="396756"/>
                  <a:pt x="610173" y="389842"/>
                  <a:pt x="620219" y="389842"/>
                </a:cubicBezTo>
                <a:lnTo>
                  <a:pt x="694436" y="389842"/>
                </a:lnTo>
                <a:lnTo>
                  <a:pt x="694436" y="356677"/>
                </a:lnTo>
                <a:close/>
                <a:moveTo>
                  <a:pt x="1530159" y="356676"/>
                </a:moveTo>
                <a:lnTo>
                  <a:pt x="1475928" y="513752"/>
                </a:lnTo>
                <a:lnTo>
                  <a:pt x="1514278" y="513752"/>
                </a:lnTo>
                <a:lnTo>
                  <a:pt x="1524217" y="481668"/>
                </a:lnTo>
                <a:lnTo>
                  <a:pt x="1584390" y="481668"/>
                </a:lnTo>
                <a:lnTo>
                  <a:pt x="1594653" y="513752"/>
                </a:lnTo>
                <a:lnTo>
                  <a:pt x="1632356" y="513752"/>
                </a:lnTo>
                <a:lnTo>
                  <a:pt x="1576396" y="356676"/>
                </a:lnTo>
                <a:close/>
                <a:moveTo>
                  <a:pt x="1236424" y="356676"/>
                </a:moveTo>
                <a:cubicBezTo>
                  <a:pt x="1206176" y="356676"/>
                  <a:pt x="1187702" y="374393"/>
                  <a:pt x="1187702" y="404426"/>
                </a:cubicBezTo>
                <a:cubicBezTo>
                  <a:pt x="1187702" y="434458"/>
                  <a:pt x="1208984" y="450231"/>
                  <a:pt x="1236424" y="450231"/>
                </a:cubicBezTo>
                <a:lnTo>
                  <a:pt x="1273587" y="450231"/>
                </a:lnTo>
                <a:cubicBezTo>
                  <a:pt x="1282985" y="450231"/>
                  <a:pt x="1287739" y="457360"/>
                  <a:pt x="1287739" y="464815"/>
                </a:cubicBezTo>
                <a:cubicBezTo>
                  <a:pt x="1287739" y="472485"/>
                  <a:pt x="1282985" y="479399"/>
                  <a:pt x="1273587" y="479399"/>
                </a:cubicBezTo>
                <a:lnTo>
                  <a:pt x="1194076" y="479399"/>
                </a:lnTo>
                <a:lnTo>
                  <a:pt x="1194076" y="513752"/>
                </a:lnTo>
                <a:lnTo>
                  <a:pt x="1272290" y="513752"/>
                </a:lnTo>
                <a:cubicBezTo>
                  <a:pt x="1303295" y="513752"/>
                  <a:pt x="1321660" y="496684"/>
                  <a:pt x="1321660" y="464815"/>
                </a:cubicBezTo>
                <a:cubicBezTo>
                  <a:pt x="1321660" y="436079"/>
                  <a:pt x="1303187" y="419010"/>
                  <a:pt x="1279204" y="419010"/>
                </a:cubicBezTo>
                <a:lnTo>
                  <a:pt x="1236424" y="419010"/>
                </a:lnTo>
                <a:cubicBezTo>
                  <a:pt x="1226377" y="419010"/>
                  <a:pt x="1221624" y="412096"/>
                  <a:pt x="1221624" y="404426"/>
                </a:cubicBezTo>
                <a:cubicBezTo>
                  <a:pt x="1221624" y="396756"/>
                  <a:pt x="1226377" y="389842"/>
                  <a:pt x="1236424" y="389842"/>
                </a:cubicBezTo>
                <a:lnTo>
                  <a:pt x="1310641" y="389842"/>
                </a:lnTo>
                <a:lnTo>
                  <a:pt x="1310641" y="356676"/>
                </a:lnTo>
                <a:close/>
                <a:moveTo>
                  <a:pt x="726522" y="356568"/>
                </a:moveTo>
                <a:lnTo>
                  <a:pt x="726522" y="513752"/>
                </a:lnTo>
                <a:lnTo>
                  <a:pt x="762712" y="513752"/>
                </a:lnTo>
                <a:lnTo>
                  <a:pt x="762712" y="447422"/>
                </a:lnTo>
                <a:lnTo>
                  <a:pt x="814351" y="513752"/>
                </a:lnTo>
                <a:lnTo>
                  <a:pt x="856699" y="513752"/>
                </a:lnTo>
                <a:lnTo>
                  <a:pt x="797174" y="435214"/>
                </a:lnTo>
                <a:lnTo>
                  <a:pt x="856699" y="356568"/>
                </a:lnTo>
                <a:lnTo>
                  <a:pt x="814351" y="356568"/>
                </a:lnTo>
                <a:lnTo>
                  <a:pt x="762712" y="422899"/>
                </a:lnTo>
                <a:lnTo>
                  <a:pt x="762712" y="356568"/>
                </a:lnTo>
                <a:close/>
                <a:moveTo>
                  <a:pt x="1343374" y="356568"/>
                </a:moveTo>
                <a:lnTo>
                  <a:pt x="1343374" y="513752"/>
                </a:lnTo>
                <a:lnTo>
                  <a:pt x="1379673" y="513752"/>
                </a:lnTo>
                <a:lnTo>
                  <a:pt x="1379673" y="447422"/>
                </a:lnTo>
                <a:lnTo>
                  <a:pt x="1431311" y="513752"/>
                </a:lnTo>
                <a:lnTo>
                  <a:pt x="1473551" y="513752"/>
                </a:lnTo>
                <a:lnTo>
                  <a:pt x="1414134" y="435214"/>
                </a:lnTo>
                <a:lnTo>
                  <a:pt x="1473551" y="356568"/>
                </a:lnTo>
                <a:lnTo>
                  <a:pt x="1431311" y="356568"/>
                </a:lnTo>
                <a:lnTo>
                  <a:pt x="1379673" y="422899"/>
                </a:lnTo>
                <a:lnTo>
                  <a:pt x="1379673" y="356568"/>
                </a:lnTo>
                <a:close/>
                <a:moveTo>
                  <a:pt x="0" y="0"/>
                </a:moveTo>
                <a:lnTo>
                  <a:pt x="12191998" y="0"/>
                </a:lnTo>
                <a:lnTo>
                  <a:pt x="12191998" y="6857998"/>
                </a:lnTo>
                <a:lnTo>
                  <a:pt x="0" y="6857998"/>
                </a:lnTo>
                <a:close/>
              </a:path>
            </a:pathLst>
          </a:custGeom>
          <a:solidFill>
            <a:srgbClr val="ECECEC"/>
          </a:solidFill>
        </p:spPr>
        <p:txBody>
          <a:bodyPr wrap="square" lIns="36000" tIns="36000" rIns="36000" bIns="36000">
            <a:noAutofit/>
          </a:bodyPr>
          <a:lstStyle>
            <a:lvl1pPr marL="0" indent="0" algn="ctr">
              <a:buNone/>
              <a:defRPr sz="1300">
                <a:solidFill>
                  <a:schemeClr val="tx2"/>
                </a:solidFill>
              </a:defRPr>
            </a:lvl1pPr>
          </a:lstStyle>
          <a:p>
            <a:r>
              <a:rPr lang="en-US" noProof="0"/>
              <a:t>If the image placeholder icon is underneath the text box, select the gray placeholder box and then go to insert in the top menu and add picture. Do NOT move the textbox!</a:t>
            </a:r>
          </a:p>
          <a:p>
            <a:endParaRPr lang="en-US" noProof="0"/>
          </a:p>
        </p:txBody>
      </p:sp>
      <p:sp>
        <p:nvSpPr>
          <p:cNvPr id="17" name="Text Placeholder 18">
            <a:extLst>
              <a:ext uri="{FF2B5EF4-FFF2-40B4-BE49-F238E27FC236}">
                <a16:creationId xmlns:a16="http://schemas.microsoft.com/office/drawing/2014/main" id="{8FE87EE4-F8DA-4F40-B4CD-A892BA20AD03}"/>
              </a:ext>
            </a:extLst>
          </p:cNvPr>
          <p:cNvSpPr>
            <a:spLocks noGrp="1"/>
          </p:cNvSpPr>
          <p:nvPr>
            <p:ph type="body" sz="quarter" idx="14" hasCustomPrompt="1"/>
          </p:nvPr>
        </p:nvSpPr>
        <p:spPr>
          <a:xfrm>
            <a:off x="576000" y="1845591"/>
            <a:ext cx="5665788" cy="1903912"/>
          </a:xfrm>
          <a:prstGeom prst="rect">
            <a:avLst/>
          </a:prstGeom>
        </p:spPr>
        <p:txBody>
          <a:bodyPr anchor="b">
            <a:noAutofit/>
          </a:bodyPr>
          <a:lstStyle>
            <a:lvl1pPr marL="0" indent="0">
              <a:lnSpc>
                <a:spcPct val="85000"/>
              </a:lnSpc>
              <a:spcBef>
                <a:spcPts val="0"/>
              </a:spcBef>
              <a:buNone/>
              <a:defRPr sz="4200" spc="40" baseline="0">
                <a:solidFill>
                  <a:schemeClr val="accent1"/>
                </a:solidFill>
                <a:latin typeface="+mj-lt"/>
              </a:defRPr>
            </a:lvl1pPr>
          </a:lstStyle>
          <a:p>
            <a:pPr lvl="0"/>
            <a:r>
              <a:rPr lang="en-US" noProof="0"/>
              <a:t>Click to add a headline </a:t>
            </a:r>
            <a:br>
              <a:rPr lang="en-US" noProof="0"/>
            </a:br>
            <a:r>
              <a:rPr lang="en-US" noProof="0"/>
              <a:t>of maximum two lines</a:t>
            </a:r>
          </a:p>
        </p:txBody>
      </p:sp>
      <p:sp>
        <p:nvSpPr>
          <p:cNvPr id="18" name="Text Placeholder 18">
            <a:extLst>
              <a:ext uri="{FF2B5EF4-FFF2-40B4-BE49-F238E27FC236}">
                <a16:creationId xmlns:a16="http://schemas.microsoft.com/office/drawing/2014/main" id="{599C1913-26BB-DD40-827B-9C508080F48A}"/>
              </a:ext>
            </a:extLst>
          </p:cNvPr>
          <p:cNvSpPr>
            <a:spLocks noGrp="1"/>
          </p:cNvSpPr>
          <p:nvPr>
            <p:ph type="body" sz="quarter" idx="15" hasCustomPrompt="1"/>
          </p:nvPr>
        </p:nvSpPr>
        <p:spPr>
          <a:xfrm>
            <a:off x="576000" y="3915585"/>
            <a:ext cx="3773171" cy="646331"/>
          </a:xfrm>
          <a:prstGeom prst="rect">
            <a:avLst/>
          </a:prstGeom>
        </p:spPr>
        <p:txBody>
          <a:bodyPr anchor="t">
            <a:noAutofit/>
          </a:bodyPr>
          <a:lstStyle>
            <a:lvl1pPr marL="0" indent="0">
              <a:lnSpc>
                <a:spcPct val="100000"/>
              </a:lnSpc>
              <a:spcBef>
                <a:spcPts val="0"/>
              </a:spcBef>
              <a:buNone/>
              <a:defRPr sz="1400" spc="70" baseline="0">
                <a:solidFill>
                  <a:schemeClr val="accent1"/>
                </a:solidFill>
              </a:defRPr>
            </a:lvl1pPr>
          </a:lstStyle>
          <a:p>
            <a:pPr lvl="0"/>
            <a:r>
              <a:rPr lang="en-US" noProof="0"/>
              <a:t>Click to add name </a:t>
            </a:r>
            <a:br>
              <a:rPr lang="en-US" noProof="0"/>
            </a:br>
            <a:r>
              <a:rPr lang="en-US" noProof="0"/>
              <a:t>Title, Business Unit</a:t>
            </a:r>
          </a:p>
          <a:p>
            <a:pPr lvl="0"/>
            <a:r>
              <a:rPr lang="en-US" noProof="0"/>
              <a:t>And Date</a:t>
            </a:r>
          </a:p>
        </p:txBody>
      </p:sp>
      <p:sp>
        <p:nvSpPr>
          <p:cNvPr id="8" name="textruta 5">
            <a:extLst>
              <a:ext uri="{FF2B5EF4-FFF2-40B4-BE49-F238E27FC236}">
                <a16:creationId xmlns:a16="http://schemas.microsoft.com/office/drawing/2014/main" id="{753B49A9-6373-BE4F-ABC3-64C5AB184A78}"/>
              </a:ext>
            </a:extLst>
          </p:cNvPr>
          <p:cNvSpPr txBox="1"/>
          <p:nvPr userDrawn="1"/>
        </p:nvSpPr>
        <p:spPr>
          <a:xfrm>
            <a:off x="12395260" y="1453483"/>
            <a:ext cx="1681523" cy="646331"/>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the textboxes disappears after adding or changing an imag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right click the image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and use – </a:t>
            </a:r>
            <a:r>
              <a:rPr lang="en-US" sz="900" b="1" noProof="0">
                <a:solidFill>
                  <a:schemeClr val="tx1">
                    <a:lumMod val="65000"/>
                    <a:lumOff val="35000"/>
                  </a:schemeClr>
                </a:solidFill>
                <a:latin typeface="Arial" panose="020B0604020202020204" pitchFamily="34" charset="0"/>
                <a:cs typeface="Arial" panose="020B0604020202020204" pitchFamily="34" charset="0"/>
              </a:rPr>
              <a:t>S</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end to back</a:t>
            </a:r>
          </a:p>
        </p:txBody>
      </p:sp>
      <p:sp>
        <p:nvSpPr>
          <p:cNvPr id="9" name="textruta 8">
            <a:extLst>
              <a:ext uri="{FF2B5EF4-FFF2-40B4-BE49-F238E27FC236}">
                <a16:creationId xmlns:a16="http://schemas.microsoft.com/office/drawing/2014/main" id="{04E0EF0D-7851-6B40-A1EB-F8EEC09B316C}"/>
              </a:ext>
            </a:extLst>
          </p:cNvPr>
          <p:cNvSpPr txBox="1"/>
          <p:nvPr userDrawn="1"/>
        </p:nvSpPr>
        <p:spPr>
          <a:xfrm>
            <a:off x="12395260" y="-12189"/>
            <a:ext cx="1681523" cy="1338828"/>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you need to change the color of the logo, right click outside work area,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Format Background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from context menu and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Solid fill</a:t>
            </a:r>
            <a:r>
              <a:rPr lang="en-US" sz="900" baseline="0" noProof="0">
                <a:solidFill>
                  <a:schemeClr val="tx1">
                    <a:lumMod val="65000"/>
                    <a:lumOff val="35000"/>
                  </a:schemeClr>
                </a:solidFill>
                <a:latin typeface="Arial" panose="020B0604020202020204" pitchFamily="34" charset="0"/>
                <a:cs typeface="Arial" panose="020B0604020202020204" pitchFamily="34" charset="0"/>
              </a:rPr>
              <a:t> –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White or Blue</a:t>
            </a: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p:txBody>
      </p:sp>
      <p:sp>
        <p:nvSpPr>
          <p:cNvPr id="10" name="Rektangel 9">
            <a:extLst>
              <a:ext uri="{FF2B5EF4-FFF2-40B4-BE49-F238E27FC236}">
                <a16:creationId xmlns:a16="http://schemas.microsoft.com/office/drawing/2014/main" id="{A0AE1B99-39ED-B84C-B91C-49AAA1356FB8}"/>
              </a:ext>
            </a:extLst>
          </p:cNvPr>
          <p:cNvSpPr/>
          <p:nvPr userDrawn="1"/>
        </p:nvSpPr>
        <p:spPr>
          <a:xfrm>
            <a:off x="13255337" y="926211"/>
            <a:ext cx="341194" cy="305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 name="Rektangel 10">
            <a:extLst>
              <a:ext uri="{FF2B5EF4-FFF2-40B4-BE49-F238E27FC236}">
                <a16:creationId xmlns:a16="http://schemas.microsoft.com/office/drawing/2014/main" id="{76FFDE6E-E3A0-B64F-B635-EC4F5335CBB1}"/>
              </a:ext>
            </a:extLst>
          </p:cNvPr>
          <p:cNvSpPr/>
          <p:nvPr userDrawn="1"/>
        </p:nvSpPr>
        <p:spPr>
          <a:xfrm>
            <a:off x="12833410" y="926211"/>
            <a:ext cx="341194" cy="30590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Platshållare för datum 3">
            <a:extLst>
              <a:ext uri="{FF2B5EF4-FFF2-40B4-BE49-F238E27FC236}">
                <a16:creationId xmlns:a16="http://schemas.microsoft.com/office/drawing/2014/main" id="{F853C689-2D24-9340-B6F2-B4C7EF0EC835}"/>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tx2"/>
                </a:solidFill>
              </a:defRPr>
            </a:lvl1pPr>
          </a:lstStyle>
          <a:p>
            <a:fld id="{2F9806AD-009B-8D45-82A9-B9E8234B6322}" type="datetime1">
              <a:rPr lang="en-US" noProof="0" smtClean="0"/>
              <a:t>10/17/2023</a:t>
            </a:fld>
            <a:endParaRPr lang="en-US" noProof="0"/>
          </a:p>
        </p:txBody>
      </p:sp>
      <p:sp>
        <p:nvSpPr>
          <p:cNvPr id="13" name="Platshållare för sidfot 4">
            <a:extLst>
              <a:ext uri="{FF2B5EF4-FFF2-40B4-BE49-F238E27FC236}">
                <a16:creationId xmlns:a16="http://schemas.microsoft.com/office/drawing/2014/main" id="{7D950E93-A1A2-DF4E-BFBF-7FBAFF0765E6}"/>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tx2"/>
                </a:solidFill>
              </a:defRPr>
            </a:lvl1pPr>
          </a:lstStyle>
          <a:p>
            <a:r>
              <a:rPr lang="en-US" noProof="0"/>
              <a:t>Go to header/footer to change text </a:t>
            </a:r>
          </a:p>
        </p:txBody>
      </p:sp>
      <p:sp>
        <p:nvSpPr>
          <p:cNvPr id="14" name="Platshållare för bildnummer 5">
            <a:extLst>
              <a:ext uri="{FF2B5EF4-FFF2-40B4-BE49-F238E27FC236}">
                <a16:creationId xmlns:a16="http://schemas.microsoft.com/office/drawing/2014/main" id="{0896049F-290F-364E-B24A-2E8B211DF18E}"/>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tx2"/>
                </a:solidFill>
              </a:defRPr>
            </a:lvl1pPr>
          </a:lstStyle>
          <a:p>
            <a:fld id="{EF8DBD5B-30F9-4F9C-AE39-E065C1AC514D}" type="slidenum">
              <a:rPr lang="en-US" noProof="0" smtClean="0"/>
              <a:pPr/>
              <a:t>‹#›</a:t>
            </a:fld>
            <a:endParaRPr lang="en-US" noProof="0"/>
          </a:p>
        </p:txBody>
      </p:sp>
      <p:sp>
        <p:nvSpPr>
          <p:cNvPr id="19" name="Text Placeholder 4">
            <a:extLst>
              <a:ext uri="{FF2B5EF4-FFF2-40B4-BE49-F238E27FC236}">
                <a16:creationId xmlns:a16="http://schemas.microsoft.com/office/drawing/2014/main" id="{28A0355F-8BDD-3A43-8AD2-176096A4C919}"/>
              </a:ext>
            </a:extLst>
          </p:cNvPr>
          <p:cNvSpPr>
            <a:spLocks noGrp="1"/>
          </p:cNvSpPr>
          <p:nvPr>
            <p:ph type="body" sz="quarter" idx="16" hasCustomPrompt="1"/>
          </p:nvPr>
        </p:nvSpPr>
        <p:spPr>
          <a:xfrm rot="5400000">
            <a:off x="10901730" y="803644"/>
            <a:ext cx="2093913" cy="486626"/>
          </a:xfrm>
        </p:spPr>
        <p:txBody>
          <a:bodyPr lIns="180000" tIns="180000" rIns="0" bIns="180000" anchor="ctr">
            <a:spAutoFit/>
          </a:bodyPr>
          <a:lstStyle>
            <a:lvl1pPr marL="6350" indent="0" algn="l">
              <a:buNone/>
              <a:defRPr sz="800"/>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Tree>
    <p:extLst>
      <p:ext uri="{BB962C8B-B14F-4D97-AF65-F5344CB8AC3E}">
        <p14:creationId xmlns:p14="http://schemas.microsoft.com/office/powerpoint/2010/main" val="263394240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6 Headline ">
    <p:spTree>
      <p:nvGrpSpPr>
        <p:cNvPr id="1" name=""/>
        <p:cNvGrpSpPr/>
        <p:nvPr/>
      </p:nvGrpSpPr>
      <p:grpSpPr>
        <a:xfrm>
          <a:off x="0" y="0"/>
          <a:ext cx="0" cy="0"/>
          <a:chOff x="0" y="0"/>
          <a:chExt cx="0" cy="0"/>
        </a:xfrm>
      </p:grpSpPr>
      <p:grpSp>
        <p:nvGrpSpPr>
          <p:cNvPr id="17" name="Grupp 32">
            <a:extLst>
              <a:ext uri="{FF2B5EF4-FFF2-40B4-BE49-F238E27FC236}">
                <a16:creationId xmlns:a16="http://schemas.microsoft.com/office/drawing/2014/main" id="{06A06E8E-9AC5-474F-9D8F-BE8A4B8DF25A}"/>
              </a:ext>
            </a:extLst>
          </p:cNvPr>
          <p:cNvGrpSpPr/>
          <p:nvPr userDrawn="1"/>
        </p:nvGrpSpPr>
        <p:grpSpPr>
          <a:xfrm>
            <a:off x="576140" y="6451484"/>
            <a:ext cx="615478" cy="91194"/>
            <a:chOff x="576140" y="6451484"/>
            <a:chExt cx="615478" cy="91194"/>
          </a:xfrm>
          <a:solidFill>
            <a:schemeClr val="tx2"/>
          </a:solidFill>
        </p:grpSpPr>
        <p:sp>
          <p:nvSpPr>
            <p:cNvPr id="18" name="Bild 2">
              <a:extLst>
                <a:ext uri="{FF2B5EF4-FFF2-40B4-BE49-F238E27FC236}">
                  <a16:creationId xmlns:a16="http://schemas.microsoft.com/office/drawing/2014/main" id="{75F62DFF-CE28-2847-9178-371361C4B379}"/>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noProof="0">
                <a:solidFill>
                  <a:schemeClr val="tx2"/>
                </a:solidFill>
              </a:endParaRPr>
            </a:p>
          </p:txBody>
        </p:sp>
        <p:sp>
          <p:nvSpPr>
            <p:cNvPr id="19" name="Bild 2">
              <a:extLst>
                <a:ext uri="{FF2B5EF4-FFF2-40B4-BE49-F238E27FC236}">
                  <a16:creationId xmlns:a16="http://schemas.microsoft.com/office/drawing/2014/main" id="{56F4E682-4CA9-5346-8CD6-98F8EACD6CE7}"/>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0" name="Bild 2">
              <a:extLst>
                <a:ext uri="{FF2B5EF4-FFF2-40B4-BE49-F238E27FC236}">
                  <a16:creationId xmlns:a16="http://schemas.microsoft.com/office/drawing/2014/main" id="{11510029-65DB-F040-9ED5-A182045EEF2B}"/>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21" name="Bild 2">
              <a:extLst>
                <a:ext uri="{FF2B5EF4-FFF2-40B4-BE49-F238E27FC236}">
                  <a16:creationId xmlns:a16="http://schemas.microsoft.com/office/drawing/2014/main" id="{882E3E49-2F44-5445-B3D9-4FA93CE1837A}"/>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2" name="Bild 2">
              <a:extLst>
                <a:ext uri="{FF2B5EF4-FFF2-40B4-BE49-F238E27FC236}">
                  <a16:creationId xmlns:a16="http://schemas.microsoft.com/office/drawing/2014/main" id="{E77E397B-C384-F949-9F60-67A86BD39DCA}"/>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noProof="0">
                <a:solidFill>
                  <a:schemeClr val="tx2"/>
                </a:solidFill>
              </a:endParaRPr>
            </a:p>
          </p:txBody>
        </p:sp>
        <p:sp>
          <p:nvSpPr>
            <p:cNvPr id="23" name="Bild 2">
              <a:extLst>
                <a:ext uri="{FF2B5EF4-FFF2-40B4-BE49-F238E27FC236}">
                  <a16:creationId xmlns:a16="http://schemas.microsoft.com/office/drawing/2014/main" id="{DBE8665D-1D7B-BC49-9416-388A79FA9660}"/>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24" name="Bild 2">
              <a:extLst>
                <a:ext uri="{FF2B5EF4-FFF2-40B4-BE49-F238E27FC236}">
                  <a16:creationId xmlns:a16="http://schemas.microsoft.com/office/drawing/2014/main" id="{E25BD59B-C1DD-BF4D-89DA-D56603C3E329}"/>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grpSp>
      <p:sp>
        <p:nvSpPr>
          <p:cNvPr id="26" name="Text Placeholder 18">
            <a:extLst>
              <a:ext uri="{FF2B5EF4-FFF2-40B4-BE49-F238E27FC236}">
                <a16:creationId xmlns:a16="http://schemas.microsoft.com/office/drawing/2014/main" id="{A6ED295F-AFF0-3548-BAA8-8DAFA2BDE3F6}"/>
              </a:ext>
            </a:extLst>
          </p:cNvPr>
          <p:cNvSpPr>
            <a:spLocks noGrp="1"/>
          </p:cNvSpPr>
          <p:nvPr>
            <p:ph type="body" sz="quarter" idx="14" hasCustomPrompt="1"/>
          </p:nvPr>
        </p:nvSpPr>
        <p:spPr>
          <a:xfrm>
            <a:off x="576000" y="731027"/>
            <a:ext cx="11039738" cy="860400"/>
          </a:xfrm>
          <a:prstGeom prst="rect">
            <a:avLst/>
          </a:prstGeom>
        </p:spPr>
        <p:txBody>
          <a:bodyPr anchor="t">
            <a:noAutofit/>
          </a:bodyPr>
          <a:lstStyle>
            <a:lvl1pPr marL="0" indent="0">
              <a:lnSpc>
                <a:spcPct val="85000"/>
              </a:lnSpc>
              <a:spcBef>
                <a:spcPts val="0"/>
              </a:spcBef>
              <a:buNone/>
              <a:defRPr sz="3600" spc="40" baseline="0">
                <a:solidFill>
                  <a:schemeClr val="tx2"/>
                </a:solidFill>
                <a:latin typeface="+mj-lt"/>
              </a:defRPr>
            </a:lvl1pPr>
          </a:lstStyle>
          <a:p>
            <a:pPr lvl="0"/>
            <a:r>
              <a:rPr lang="en-US" noProof="0"/>
              <a:t>Click to add a headline of maximum two lines</a:t>
            </a:r>
          </a:p>
        </p:txBody>
      </p:sp>
      <p:sp>
        <p:nvSpPr>
          <p:cNvPr id="14" name="Platshållare för datum 3">
            <a:extLst>
              <a:ext uri="{FF2B5EF4-FFF2-40B4-BE49-F238E27FC236}">
                <a16:creationId xmlns:a16="http://schemas.microsoft.com/office/drawing/2014/main" id="{9C1934A2-EB43-A541-ABF7-DFD6DAC1C1C4}"/>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tx2"/>
                </a:solidFill>
              </a:defRPr>
            </a:lvl1pPr>
          </a:lstStyle>
          <a:p>
            <a:fld id="{2F9806AD-009B-8D45-82A9-B9E8234B6322}" type="datetime1">
              <a:rPr lang="en-US" noProof="0" smtClean="0"/>
              <a:t>10/17/2023</a:t>
            </a:fld>
            <a:endParaRPr lang="en-US" noProof="0"/>
          </a:p>
        </p:txBody>
      </p:sp>
      <p:sp>
        <p:nvSpPr>
          <p:cNvPr id="15" name="Platshållare för sidfot 4">
            <a:extLst>
              <a:ext uri="{FF2B5EF4-FFF2-40B4-BE49-F238E27FC236}">
                <a16:creationId xmlns:a16="http://schemas.microsoft.com/office/drawing/2014/main" id="{807641CB-078D-B646-AE67-0C86E0D76448}"/>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tx2"/>
                </a:solidFill>
              </a:defRPr>
            </a:lvl1pPr>
          </a:lstStyle>
          <a:p>
            <a:r>
              <a:rPr lang="en-US" noProof="0"/>
              <a:t>Go to header/footer to change text </a:t>
            </a:r>
          </a:p>
        </p:txBody>
      </p:sp>
      <p:sp>
        <p:nvSpPr>
          <p:cNvPr id="16" name="Platshållare för bildnummer 5">
            <a:extLst>
              <a:ext uri="{FF2B5EF4-FFF2-40B4-BE49-F238E27FC236}">
                <a16:creationId xmlns:a16="http://schemas.microsoft.com/office/drawing/2014/main" id="{4CB4CD08-4408-2840-8AF0-58D2BC6B5352}"/>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tx2"/>
                </a:solidFill>
              </a:defRPr>
            </a:lvl1pPr>
          </a:lstStyle>
          <a:p>
            <a:fld id="{EF8DBD5B-30F9-4F9C-AE39-E065C1AC514D}" type="slidenum">
              <a:rPr lang="en-US" noProof="0" smtClean="0"/>
              <a:pPr/>
              <a:t>‹#›</a:t>
            </a:fld>
            <a:endParaRPr lang="en-US" noProof="0"/>
          </a:p>
        </p:txBody>
      </p:sp>
    </p:spTree>
    <p:extLst>
      <p:ext uri="{BB962C8B-B14F-4D97-AF65-F5344CB8AC3E}">
        <p14:creationId xmlns:p14="http://schemas.microsoft.com/office/powerpoint/2010/main" val="5330877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7 Text Icon Chart Image">
    <p:bg>
      <p:bgRef idx="1001">
        <a:schemeClr val="bg2"/>
      </p:bgRef>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69996D2C-9C03-C349-8592-6BA5B004250B}"/>
              </a:ext>
            </a:extLst>
          </p:cNvPr>
          <p:cNvSpPr/>
          <p:nvPr userDrawn="1"/>
        </p:nvSpPr>
        <p:spPr>
          <a:xfrm>
            <a:off x="0" y="0"/>
            <a:ext cx="4057651" cy="68580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 name="Picture Placeholder 10">
            <a:extLst>
              <a:ext uri="{FF2B5EF4-FFF2-40B4-BE49-F238E27FC236}">
                <a16:creationId xmlns:a16="http://schemas.microsoft.com/office/drawing/2014/main" id="{83718FC5-379A-3343-904E-06A5A117D84C}"/>
              </a:ext>
            </a:extLst>
          </p:cNvPr>
          <p:cNvSpPr>
            <a:spLocks noGrp="1"/>
          </p:cNvSpPr>
          <p:nvPr>
            <p:ph type="pic" sz="quarter" idx="18" hasCustomPrompt="1"/>
          </p:nvPr>
        </p:nvSpPr>
        <p:spPr>
          <a:xfrm>
            <a:off x="4057651" y="0"/>
            <a:ext cx="8132760" cy="6857997"/>
          </a:xfrm>
          <a:custGeom>
            <a:avLst/>
            <a:gdLst>
              <a:gd name="connsiteX0" fmla="*/ 0 w 6095997"/>
              <a:gd name="connsiteY0" fmla="*/ 0 h 6857997"/>
              <a:gd name="connsiteX1" fmla="*/ 6095997 w 6095997"/>
              <a:gd name="connsiteY1" fmla="*/ 0 h 6857997"/>
              <a:gd name="connsiteX2" fmla="*/ 6095997 w 6095997"/>
              <a:gd name="connsiteY2" fmla="*/ 3157535 h 6857997"/>
              <a:gd name="connsiteX3" fmla="*/ 6095997 w 6095997"/>
              <a:gd name="connsiteY3" fmla="*/ 3428998 h 6857997"/>
              <a:gd name="connsiteX4" fmla="*/ 6095997 w 6095997"/>
              <a:gd name="connsiteY4" fmla="*/ 6857997 h 6857997"/>
              <a:gd name="connsiteX5" fmla="*/ 0 w 6095997"/>
              <a:gd name="connsiteY5" fmla="*/ 6857997 h 6857997"/>
              <a:gd name="connsiteX6" fmla="*/ 0 w 6095997"/>
              <a:gd name="connsiteY6" fmla="*/ 3428998 h 6857997"/>
              <a:gd name="connsiteX7" fmla="*/ 0 w 6095997"/>
              <a:gd name="connsiteY7" fmla="*/ 3157535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5997" h="6857997">
                <a:moveTo>
                  <a:pt x="0" y="0"/>
                </a:moveTo>
                <a:lnTo>
                  <a:pt x="6095997" y="0"/>
                </a:lnTo>
                <a:lnTo>
                  <a:pt x="6095997" y="3157535"/>
                </a:lnTo>
                <a:lnTo>
                  <a:pt x="6095997" y="3428998"/>
                </a:lnTo>
                <a:lnTo>
                  <a:pt x="6095997" y="6857997"/>
                </a:lnTo>
                <a:lnTo>
                  <a:pt x="0" y="6857997"/>
                </a:lnTo>
                <a:lnTo>
                  <a:pt x="0" y="3428998"/>
                </a:lnTo>
                <a:lnTo>
                  <a:pt x="0" y="3157535"/>
                </a:lnTo>
                <a:close/>
              </a:path>
            </a:pathLst>
          </a:custGeom>
          <a:solidFill>
            <a:schemeClr val="accent6">
              <a:lumMod val="90000"/>
            </a:schemeClr>
          </a:solidFill>
        </p:spPr>
        <p:txBody>
          <a:bodyPr wrap="square" lIns="36000" tIns="36000" rIns="36000" bIns="36000">
            <a:noAutofit/>
          </a:bodyPr>
          <a:lstStyle>
            <a:lvl1pPr marL="0" indent="0" algn="ctr">
              <a:buNone/>
              <a:defRPr sz="1300">
                <a:solidFill>
                  <a:schemeClr val="bg2"/>
                </a:solidFill>
              </a:defRPr>
            </a:lvl1pPr>
          </a:lstStyle>
          <a:p>
            <a:r>
              <a:rPr lang="en-US" noProof="0"/>
              <a:t>Click on the icon to add an image</a:t>
            </a:r>
          </a:p>
        </p:txBody>
      </p:sp>
      <p:grpSp>
        <p:nvGrpSpPr>
          <p:cNvPr id="21" name="Grupp 32">
            <a:extLst>
              <a:ext uri="{FF2B5EF4-FFF2-40B4-BE49-F238E27FC236}">
                <a16:creationId xmlns:a16="http://schemas.microsoft.com/office/drawing/2014/main" id="{CF6F4381-F814-DC49-BAE8-DA80AFFD9E68}"/>
              </a:ext>
            </a:extLst>
          </p:cNvPr>
          <p:cNvGrpSpPr/>
          <p:nvPr userDrawn="1"/>
        </p:nvGrpSpPr>
        <p:grpSpPr>
          <a:xfrm>
            <a:off x="576140" y="6451484"/>
            <a:ext cx="615478" cy="91194"/>
            <a:chOff x="576140" y="6451484"/>
            <a:chExt cx="615478" cy="91194"/>
          </a:xfrm>
          <a:solidFill>
            <a:schemeClr val="bg2"/>
          </a:solidFill>
        </p:grpSpPr>
        <p:sp>
          <p:nvSpPr>
            <p:cNvPr id="22" name="Bild 2">
              <a:extLst>
                <a:ext uri="{FF2B5EF4-FFF2-40B4-BE49-F238E27FC236}">
                  <a16:creationId xmlns:a16="http://schemas.microsoft.com/office/drawing/2014/main" id="{62E9B87D-A5ED-B24D-896A-D5B9B26AB281}"/>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noProof="0">
                <a:solidFill>
                  <a:schemeClr val="bg2"/>
                </a:solidFill>
              </a:endParaRPr>
            </a:p>
          </p:txBody>
        </p:sp>
        <p:sp>
          <p:nvSpPr>
            <p:cNvPr id="23" name="Bild 2">
              <a:extLst>
                <a:ext uri="{FF2B5EF4-FFF2-40B4-BE49-F238E27FC236}">
                  <a16:creationId xmlns:a16="http://schemas.microsoft.com/office/drawing/2014/main" id="{A0B698E7-BE43-3549-8D56-915B35522590}"/>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noProof="0">
                <a:solidFill>
                  <a:schemeClr val="bg2"/>
                </a:solidFill>
              </a:endParaRPr>
            </a:p>
          </p:txBody>
        </p:sp>
        <p:sp>
          <p:nvSpPr>
            <p:cNvPr id="24" name="Bild 2">
              <a:extLst>
                <a:ext uri="{FF2B5EF4-FFF2-40B4-BE49-F238E27FC236}">
                  <a16:creationId xmlns:a16="http://schemas.microsoft.com/office/drawing/2014/main" id="{AE8F0FFE-43AD-8B46-AD52-5AAAB3A7E141}"/>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noProof="0">
                <a:solidFill>
                  <a:schemeClr val="bg2"/>
                </a:solidFill>
              </a:endParaRPr>
            </a:p>
          </p:txBody>
        </p:sp>
        <p:sp>
          <p:nvSpPr>
            <p:cNvPr id="33" name="Bild 2">
              <a:extLst>
                <a:ext uri="{FF2B5EF4-FFF2-40B4-BE49-F238E27FC236}">
                  <a16:creationId xmlns:a16="http://schemas.microsoft.com/office/drawing/2014/main" id="{F449D80C-39D5-B049-8099-1AB0DFB21C56}"/>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noProof="0">
                <a:solidFill>
                  <a:schemeClr val="bg2"/>
                </a:solidFill>
              </a:endParaRPr>
            </a:p>
          </p:txBody>
        </p:sp>
        <p:sp>
          <p:nvSpPr>
            <p:cNvPr id="34" name="Bild 2">
              <a:extLst>
                <a:ext uri="{FF2B5EF4-FFF2-40B4-BE49-F238E27FC236}">
                  <a16:creationId xmlns:a16="http://schemas.microsoft.com/office/drawing/2014/main" id="{20D2215C-82C7-5E49-AD19-A866B46120D1}"/>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noProof="0">
                <a:solidFill>
                  <a:schemeClr val="bg2"/>
                </a:solidFill>
              </a:endParaRPr>
            </a:p>
          </p:txBody>
        </p:sp>
        <p:sp>
          <p:nvSpPr>
            <p:cNvPr id="35" name="Bild 2">
              <a:extLst>
                <a:ext uri="{FF2B5EF4-FFF2-40B4-BE49-F238E27FC236}">
                  <a16:creationId xmlns:a16="http://schemas.microsoft.com/office/drawing/2014/main" id="{70CBD1E9-7FEE-9349-9D43-444D469EBEE7}"/>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noProof="0">
                <a:solidFill>
                  <a:schemeClr val="bg2"/>
                </a:solidFill>
              </a:endParaRPr>
            </a:p>
          </p:txBody>
        </p:sp>
        <p:sp>
          <p:nvSpPr>
            <p:cNvPr id="36" name="Bild 2">
              <a:extLst>
                <a:ext uri="{FF2B5EF4-FFF2-40B4-BE49-F238E27FC236}">
                  <a16:creationId xmlns:a16="http://schemas.microsoft.com/office/drawing/2014/main" id="{2BE0EC2B-5FD2-9449-827A-76C703008BD0}"/>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noProof="0">
                <a:solidFill>
                  <a:schemeClr val="bg2"/>
                </a:solidFill>
              </a:endParaRPr>
            </a:p>
          </p:txBody>
        </p:sp>
      </p:grpSp>
      <p:sp>
        <p:nvSpPr>
          <p:cNvPr id="3" name="Picture Placeholder 2">
            <a:extLst>
              <a:ext uri="{FF2B5EF4-FFF2-40B4-BE49-F238E27FC236}">
                <a16:creationId xmlns:a16="http://schemas.microsoft.com/office/drawing/2014/main" id="{6E176A13-FE45-764E-B91A-CA0FC875F39D}"/>
              </a:ext>
            </a:extLst>
          </p:cNvPr>
          <p:cNvSpPr>
            <a:spLocks noGrp="1"/>
          </p:cNvSpPr>
          <p:nvPr>
            <p:ph type="pic" sz="quarter" idx="31" hasCustomPrompt="1"/>
          </p:nvPr>
        </p:nvSpPr>
        <p:spPr>
          <a:xfrm>
            <a:off x="4359275" y="720725"/>
            <a:ext cx="960438" cy="844550"/>
          </a:xfrm>
        </p:spPr>
        <p:txBody>
          <a:bodyPr/>
          <a:lstStyle>
            <a:lvl1pPr marL="12700" indent="0" algn="ctr">
              <a:buNone/>
              <a:defRPr sz="1300">
                <a:solidFill>
                  <a:schemeClr val="bg2"/>
                </a:solidFill>
              </a:defRPr>
            </a:lvl1pPr>
          </a:lstStyle>
          <a:p>
            <a:r>
              <a:rPr lang="en-US" noProof="0"/>
              <a:t>Click to </a:t>
            </a:r>
            <a:br>
              <a:rPr lang="en-US" noProof="0"/>
            </a:br>
            <a:r>
              <a:rPr lang="en-US" noProof="0"/>
              <a:t>add icon</a:t>
            </a:r>
          </a:p>
        </p:txBody>
      </p:sp>
      <p:sp>
        <p:nvSpPr>
          <p:cNvPr id="26" name="Text Placeholder 7">
            <a:extLst>
              <a:ext uri="{FF2B5EF4-FFF2-40B4-BE49-F238E27FC236}">
                <a16:creationId xmlns:a16="http://schemas.microsoft.com/office/drawing/2014/main" id="{0D3A9D31-7EB1-064E-9796-404FE68E0632}"/>
              </a:ext>
            </a:extLst>
          </p:cNvPr>
          <p:cNvSpPr>
            <a:spLocks noGrp="1"/>
          </p:cNvSpPr>
          <p:nvPr>
            <p:ph type="body" sz="quarter" idx="32" hasCustomPrompt="1"/>
          </p:nvPr>
        </p:nvSpPr>
        <p:spPr>
          <a:xfrm>
            <a:off x="5376961" y="731028"/>
            <a:ext cx="2452589" cy="844550"/>
          </a:xfrm>
        </p:spPr>
        <p:txBody>
          <a:bodyPr/>
          <a:lstStyle>
            <a:lvl1pPr marL="0" indent="0">
              <a:lnSpc>
                <a:spcPct val="100000"/>
              </a:lnSpc>
              <a:spcBef>
                <a:spcPts val="0"/>
              </a:spcBef>
              <a:spcAft>
                <a:spcPts val="800"/>
              </a:spcAft>
              <a:buNone/>
              <a:defRPr sz="1400" b="1" spc="40" baseline="0">
                <a:solidFill>
                  <a:schemeClr val="tx1"/>
                </a:solidFill>
              </a:defRPr>
            </a:lvl1pPr>
            <a:lvl2pPr marL="0" indent="0">
              <a:lnSpc>
                <a:spcPct val="100000"/>
              </a:lnSpc>
              <a:spcBef>
                <a:spcPts val="0"/>
              </a:spcBef>
              <a:spcAft>
                <a:spcPts val="600"/>
              </a:spcAft>
              <a:buNone/>
              <a:defRPr sz="1200" spc="40" baseline="0">
                <a:solidFill>
                  <a:schemeClr val="tx1"/>
                </a:solidFill>
              </a:defRPr>
            </a:lvl2pPr>
            <a:lvl3pPr marL="534988" indent="-168275">
              <a:buFont typeface="System Font Regular"/>
              <a:buChar char="–"/>
              <a:defRPr sz="1200" spc="40" baseline="0">
                <a:solidFill>
                  <a:schemeClr val="bg1"/>
                </a:solidFill>
              </a:defRPr>
            </a:lvl3pPr>
            <a:lvl4pPr>
              <a:defRPr sz="1200" spc="40" baseline="0"/>
            </a:lvl4pPr>
            <a:lvl5pPr>
              <a:defRPr sz="1200" spc="40" baseline="0"/>
            </a:lvl5pPr>
          </a:lstStyle>
          <a:p>
            <a:pPr lvl="0"/>
            <a:r>
              <a:rPr lang="en-US" noProof="0"/>
              <a:t>Click to add text</a:t>
            </a:r>
          </a:p>
          <a:p>
            <a:pPr lvl="1"/>
            <a:r>
              <a:rPr lang="en-US" noProof="0"/>
              <a:t>Second level</a:t>
            </a:r>
          </a:p>
        </p:txBody>
      </p:sp>
      <p:sp>
        <p:nvSpPr>
          <p:cNvPr id="9" name="Chart Placeholder 8">
            <a:extLst>
              <a:ext uri="{FF2B5EF4-FFF2-40B4-BE49-F238E27FC236}">
                <a16:creationId xmlns:a16="http://schemas.microsoft.com/office/drawing/2014/main" id="{24D8D89D-9C5F-BF4B-912F-76A7A44AB335}"/>
              </a:ext>
            </a:extLst>
          </p:cNvPr>
          <p:cNvSpPr>
            <a:spLocks noGrp="1"/>
          </p:cNvSpPr>
          <p:nvPr>
            <p:ph type="chart" sz="quarter" idx="33" hasCustomPrompt="1"/>
          </p:nvPr>
        </p:nvSpPr>
        <p:spPr>
          <a:xfrm>
            <a:off x="4220308" y="2889250"/>
            <a:ext cx="3763107" cy="3240088"/>
          </a:xfrm>
        </p:spPr>
        <p:txBody>
          <a:bodyPr/>
          <a:lstStyle>
            <a:lvl1pPr marL="12700" indent="0" algn="ctr">
              <a:buNone/>
              <a:defRPr sz="1300">
                <a:solidFill>
                  <a:schemeClr val="bg2"/>
                </a:solidFill>
              </a:defRPr>
            </a:lvl1pPr>
          </a:lstStyle>
          <a:p>
            <a:r>
              <a:rPr lang="en-US" noProof="0"/>
              <a:t>Click to add chart</a:t>
            </a:r>
          </a:p>
        </p:txBody>
      </p:sp>
      <p:sp>
        <p:nvSpPr>
          <p:cNvPr id="25" name="Text Placeholder 18">
            <a:extLst>
              <a:ext uri="{FF2B5EF4-FFF2-40B4-BE49-F238E27FC236}">
                <a16:creationId xmlns:a16="http://schemas.microsoft.com/office/drawing/2014/main" id="{402B4924-D544-E045-8A5D-5A1B50315EA8}"/>
              </a:ext>
            </a:extLst>
          </p:cNvPr>
          <p:cNvSpPr>
            <a:spLocks noGrp="1"/>
          </p:cNvSpPr>
          <p:nvPr>
            <p:ph type="body" sz="quarter" idx="14" hasCustomPrompt="1"/>
          </p:nvPr>
        </p:nvSpPr>
        <p:spPr>
          <a:xfrm>
            <a:off x="576000" y="731027"/>
            <a:ext cx="3161113" cy="1365942"/>
          </a:xfrm>
          <a:prstGeom prst="rect">
            <a:avLst/>
          </a:prstGeom>
        </p:spPr>
        <p:txBody>
          <a:bodyPr anchor="t">
            <a:noAutofit/>
          </a:bodyPr>
          <a:lstStyle>
            <a:lvl1pPr marL="0" indent="0">
              <a:lnSpc>
                <a:spcPct val="85000"/>
              </a:lnSpc>
              <a:spcBef>
                <a:spcPts val="0"/>
              </a:spcBef>
              <a:buNone/>
              <a:defRPr sz="3600" spc="40" baseline="0">
                <a:solidFill>
                  <a:schemeClr val="bg2"/>
                </a:solidFill>
                <a:latin typeface="+mj-lt"/>
              </a:defRPr>
            </a:lvl1pPr>
          </a:lstStyle>
          <a:p>
            <a:pPr lvl="0"/>
            <a:r>
              <a:rPr lang="en-US" noProof="0"/>
              <a:t>Click for a short headline of three lines</a:t>
            </a:r>
          </a:p>
        </p:txBody>
      </p:sp>
      <p:sp>
        <p:nvSpPr>
          <p:cNvPr id="20" name="Platshållare för text 11">
            <a:extLst>
              <a:ext uri="{FF2B5EF4-FFF2-40B4-BE49-F238E27FC236}">
                <a16:creationId xmlns:a16="http://schemas.microsoft.com/office/drawing/2014/main" id="{4721DB45-968F-184E-B248-24AB3A48401D}"/>
              </a:ext>
            </a:extLst>
          </p:cNvPr>
          <p:cNvSpPr>
            <a:spLocks noGrp="1"/>
          </p:cNvSpPr>
          <p:nvPr>
            <p:ph type="body" sz="quarter" idx="20" hasCustomPrompt="1"/>
          </p:nvPr>
        </p:nvSpPr>
        <p:spPr>
          <a:xfrm>
            <a:off x="576000" y="2527200"/>
            <a:ext cx="3161113" cy="3600450"/>
          </a:xfrm>
        </p:spPr>
        <p:txBody>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noProof="0"/>
              <a:t>Click to add body text</a:t>
            </a:r>
          </a:p>
          <a:p>
            <a:pPr lvl="1"/>
            <a:r>
              <a:rPr lang="en-US" noProof="0"/>
              <a:t>Second level</a:t>
            </a:r>
          </a:p>
          <a:p>
            <a:pPr lvl="2"/>
            <a:r>
              <a:rPr lang="en-US" noProof="0"/>
              <a:t>Third level</a:t>
            </a:r>
          </a:p>
          <a:p>
            <a:pPr lvl="3"/>
            <a:r>
              <a:rPr lang="en-US" noProof="0"/>
              <a:t>Fourth level </a:t>
            </a:r>
          </a:p>
          <a:p>
            <a:pPr lvl="4"/>
            <a:r>
              <a:rPr lang="en-US" noProof="0"/>
              <a:t>Fifth level</a:t>
            </a:r>
          </a:p>
        </p:txBody>
      </p:sp>
      <p:sp>
        <p:nvSpPr>
          <p:cNvPr id="27" name="Platshållare för datum 3">
            <a:extLst>
              <a:ext uri="{FF2B5EF4-FFF2-40B4-BE49-F238E27FC236}">
                <a16:creationId xmlns:a16="http://schemas.microsoft.com/office/drawing/2014/main" id="{FAF9D607-36F1-F548-8BE8-E89D82C29229}"/>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bg2"/>
                </a:solidFill>
              </a:defRPr>
            </a:lvl1pPr>
          </a:lstStyle>
          <a:p>
            <a:fld id="{2F9806AD-009B-8D45-82A9-B9E8234B6322}" type="datetime1">
              <a:rPr lang="en-US" smtClean="0"/>
              <a:pPr/>
              <a:t>10/17/2023</a:t>
            </a:fld>
            <a:endParaRPr lang="en-US"/>
          </a:p>
        </p:txBody>
      </p:sp>
      <p:sp>
        <p:nvSpPr>
          <p:cNvPr id="28" name="Platshållare för sidfot 4">
            <a:extLst>
              <a:ext uri="{FF2B5EF4-FFF2-40B4-BE49-F238E27FC236}">
                <a16:creationId xmlns:a16="http://schemas.microsoft.com/office/drawing/2014/main" id="{2B4D299D-B6A8-FF4E-A311-009CA554292B}"/>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tx1"/>
                </a:solidFill>
              </a:defRPr>
            </a:lvl1pPr>
          </a:lstStyle>
          <a:p>
            <a:r>
              <a:rPr lang="en-US"/>
              <a:t>Go to header/footer to change text </a:t>
            </a:r>
          </a:p>
        </p:txBody>
      </p:sp>
      <p:sp>
        <p:nvSpPr>
          <p:cNvPr id="29" name="Platshållare för bildnummer 5">
            <a:extLst>
              <a:ext uri="{FF2B5EF4-FFF2-40B4-BE49-F238E27FC236}">
                <a16:creationId xmlns:a16="http://schemas.microsoft.com/office/drawing/2014/main" id="{C6CA6BB0-51F4-9B41-8C7E-07CB4E264F05}"/>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tx1"/>
                </a:solidFill>
              </a:defRPr>
            </a:lvl1pPr>
          </a:lstStyle>
          <a:p>
            <a:fld id="{EF8DBD5B-30F9-4F9C-AE39-E065C1AC514D}" type="slidenum">
              <a:rPr lang="en-US" smtClean="0"/>
              <a:pPr/>
              <a:t>‹#›</a:t>
            </a:fld>
            <a:endParaRPr lang="en-US"/>
          </a:p>
        </p:txBody>
      </p:sp>
      <p:sp>
        <p:nvSpPr>
          <p:cNvPr id="30" name="textruta 24">
            <a:extLst>
              <a:ext uri="{FF2B5EF4-FFF2-40B4-BE49-F238E27FC236}">
                <a16:creationId xmlns:a16="http://schemas.microsoft.com/office/drawing/2014/main" id="{2263BE6B-DBE8-2144-BFF4-7A82555B8482}"/>
              </a:ext>
            </a:extLst>
          </p:cNvPr>
          <p:cNvSpPr txBox="1"/>
          <p:nvPr userDrawn="1"/>
        </p:nvSpPr>
        <p:spPr>
          <a:xfrm>
            <a:off x="12395260" y="0"/>
            <a:ext cx="1681523" cy="1892826"/>
          </a:xfrm>
          <a:prstGeom prst="rect">
            <a:avLst/>
          </a:prstGeom>
          <a:solidFill>
            <a:schemeClr val="tx1"/>
          </a:solidFill>
          <a:effectLst/>
        </p:spPr>
        <p:txBody>
          <a:bodyPr wrap="square" rtlCol="0" anchor="ctr" anchorCtr="0">
            <a:spAutoFit/>
          </a:bodyPr>
          <a:lstStyle/>
          <a:p>
            <a:pPr algn="ctr"/>
            <a:r>
              <a:rPr lang="en-US" sz="900" baseline="0" noProof="0">
                <a:solidFill>
                  <a:schemeClr val="bg1">
                    <a:lumMod val="65000"/>
                    <a:lumOff val="35000"/>
                  </a:schemeClr>
                </a:solidFill>
                <a:latin typeface="+mn-lt"/>
                <a:cs typeface="Arial" panose="020B0604020202020204" pitchFamily="34" charset="0"/>
              </a:rPr>
              <a:t>To change from </a:t>
            </a:r>
            <a:r>
              <a:rPr lang="en-US" sz="900" b="1" baseline="0" noProof="0">
                <a:solidFill>
                  <a:schemeClr val="bg1">
                    <a:lumMod val="65000"/>
                    <a:lumOff val="35000"/>
                  </a:schemeClr>
                </a:solidFill>
                <a:latin typeface="+mn-lt"/>
                <a:cs typeface="Arial" panose="020B0604020202020204" pitchFamily="34" charset="0"/>
              </a:rPr>
              <a:t>headline</a:t>
            </a:r>
            <a:r>
              <a:rPr lang="en-US" sz="900" baseline="0" noProof="0">
                <a:solidFill>
                  <a:schemeClr val="bg1">
                    <a:lumMod val="65000"/>
                    <a:lumOff val="35000"/>
                  </a:schemeClr>
                </a:solidFill>
                <a:latin typeface="+mn-lt"/>
                <a:cs typeface="Arial" panose="020B0604020202020204" pitchFamily="34" charset="0"/>
              </a:rPr>
              <a:t> to </a:t>
            </a:r>
            <a:r>
              <a:rPr lang="en-US" sz="900" b="1" baseline="0" noProof="0">
                <a:solidFill>
                  <a:schemeClr val="bg1">
                    <a:lumMod val="65000"/>
                    <a:lumOff val="35000"/>
                  </a:schemeClr>
                </a:solidFill>
                <a:latin typeface="+mn-lt"/>
                <a:cs typeface="Arial" panose="020B0604020202020204" pitchFamily="34" charset="0"/>
              </a:rPr>
              <a:t>body text on the textbox by the icon </a:t>
            </a:r>
            <a:r>
              <a:rPr lang="en-US" sz="900" baseline="0" noProof="0">
                <a:solidFill>
                  <a:schemeClr val="bg1">
                    <a:lumMod val="65000"/>
                    <a:lumOff val="35000"/>
                  </a:schemeClr>
                </a:solidFill>
                <a:latin typeface="+mn-lt"/>
                <a:cs typeface="Arial" panose="020B0604020202020204" pitchFamily="34" charset="0"/>
              </a:rPr>
              <a:t>or to </a:t>
            </a:r>
            <a:r>
              <a:rPr lang="en-US" sz="900" b="1" baseline="0" noProof="0">
                <a:solidFill>
                  <a:schemeClr val="bg1">
                    <a:lumMod val="65000"/>
                    <a:lumOff val="35000"/>
                  </a:schemeClr>
                </a:solidFill>
                <a:latin typeface="+mn-lt"/>
                <a:cs typeface="Arial" panose="020B0604020202020204" pitchFamily="34" charset="0"/>
              </a:rPr>
              <a:t>use bullets</a:t>
            </a:r>
            <a:r>
              <a:rPr lang="en-US" sz="900" baseline="0" noProof="0">
                <a:solidFill>
                  <a:schemeClr val="bg1">
                    <a:lumMod val="65000"/>
                    <a:lumOff val="35000"/>
                  </a:schemeClr>
                </a:solidFill>
                <a:latin typeface="+mn-lt"/>
                <a:cs typeface="Arial" panose="020B0604020202020204" pitchFamily="34" charset="0"/>
              </a:rPr>
              <a:t>, press </a:t>
            </a:r>
            <a:r>
              <a:rPr lang="en-US" sz="900" b="1" baseline="0" noProof="0">
                <a:solidFill>
                  <a:schemeClr val="bg1">
                    <a:lumMod val="65000"/>
                    <a:lumOff val="35000"/>
                  </a:schemeClr>
                </a:solidFill>
                <a:latin typeface="+mn-lt"/>
                <a:cs typeface="Arial" panose="020B0604020202020204" pitchFamily="34" charset="0"/>
              </a:rPr>
              <a:t>enter/return </a:t>
            </a:r>
            <a:r>
              <a:rPr lang="en-US" sz="900" baseline="0" noProof="0">
                <a:solidFill>
                  <a:schemeClr val="bg1">
                    <a:lumMod val="65000"/>
                    <a:lumOff val="35000"/>
                  </a:schemeClr>
                </a:solidFill>
                <a:latin typeface="+mn-lt"/>
                <a:cs typeface="Arial" panose="020B0604020202020204" pitchFamily="34" charset="0"/>
              </a:rPr>
              <a:t>after your headline then use this function toggle to body text.</a:t>
            </a:r>
          </a:p>
          <a:p>
            <a:pPr algn="ctr"/>
            <a:endParaRPr lang="en-US" sz="900" baseline="0" noProof="0">
              <a:solidFill>
                <a:schemeClr val="bg1">
                  <a:lumMod val="65000"/>
                  <a:lumOff val="35000"/>
                </a:schemeClr>
              </a:solidFill>
              <a:latin typeface="+mn-lt"/>
              <a:cs typeface="Arial" panose="020B0604020202020204" pitchFamily="34" charset="0"/>
            </a:endParaRPr>
          </a:p>
          <a:p>
            <a:pPr algn="ctr"/>
            <a:endParaRPr lang="en-US" sz="900" baseline="0" noProof="0">
              <a:solidFill>
                <a:schemeClr val="bg1">
                  <a:lumMod val="65000"/>
                  <a:lumOff val="35000"/>
                </a:schemeClr>
              </a:solidFill>
              <a:latin typeface="+mn-lt"/>
              <a:cs typeface="Arial" panose="020B0604020202020204" pitchFamily="34" charset="0"/>
            </a:endParaRPr>
          </a:p>
          <a:p>
            <a:pPr algn="ctr"/>
            <a:endParaRPr lang="en-US" sz="900" baseline="0" noProof="0">
              <a:solidFill>
                <a:schemeClr val="bg1">
                  <a:lumMod val="65000"/>
                  <a:lumOff val="35000"/>
                </a:schemeClr>
              </a:solidFill>
              <a:latin typeface="+mn-lt"/>
              <a:cs typeface="Arial" panose="020B0604020202020204" pitchFamily="34" charset="0"/>
            </a:endParaRPr>
          </a:p>
          <a:p>
            <a:pPr algn="ctr"/>
            <a:endParaRPr lang="en-US" sz="900" baseline="0" noProof="0">
              <a:solidFill>
                <a:schemeClr val="bg1">
                  <a:lumMod val="65000"/>
                  <a:lumOff val="35000"/>
                </a:schemeClr>
              </a:solidFill>
              <a:latin typeface="+mn-lt"/>
              <a:cs typeface="Arial" panose="020B0604020202020204" pitchFamily="34" charset="0"/>
            </a:endParaRPr>
          </a:p>
          <a:p>
            <a:pPr algn="ctr"/>
            <a:endParaRPr lang="en-US" sz="900" baseline="0" noProof="0">
              <a:solidFill>
                <a:schemeClr val="bg1">
                  <a:lumMod val="65000"/>
                  <a:lumOff val="35000"/>
                </a:schemeClr>
              </a:solidFill>
              <a:latin typeface="+mn-lt"/>
              <a:cs typeface="Arial" panose="020B0604020202020204" pitchFamily="34" charset="0"/>
            </a:endParaRPr>
          </a:p>
          <a:p>
            <a:pPr algn="ctr"/>
            <a:endParaRPr lang="en-US" sz="900" baseline="0" noProof="0">
              <a:solidFill>
                <a:schemeClr val="bg1">
                  <a:lumMod val="65000"/>
                  <a:lumOff val="35000"/>
                </a:schemeClr>
              </a:solidFill>
              <a:latin typeface="+mn-lt"/>
              <a:cs typeface="Arial" panose="020B0604020202020204" pitchFamily="34" charset="0"/>
            </a:endParaRPr>
          </a:p>
          <a:p>
            <a:pPr algn="ctr"/>
            <a:endParaRPr lang="en-US" sz="900" baseline="0" noProof="0">
              <a:solidFill>
                <a:schemeClr val="bg1">
                  <a:lumMod val="65000"/>
                  <a:lumOff val="35000"/>
                </a:schemeClr>
              </a:solidFill>
              <a:latin typeface="+mn-lt"/>
              <a:cs typeface="Arial" panose="020B0604020202020204" pitchFamily="34" charset="0"/>
            </a:endParaRPr>
          </a:p>
        </p:txBody>
      </p:sp>
      <p:pic>
        <p:nvPicPr>
          <p:cNvPr id="31" name="Picture 9">
            <a:extLst>
              <a:ext uri="{FF2B5EF4-FFF2-40B4-BE49-F238E27FC236}">
                <a16:creationId xmlns:a16="http://schemas.microsoft.com/office/drawing/2014/main" id="{E88E9015-6542-9943-8475-918EA370530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
          <a:stretch/>
        </p:blipFill>
        <p:spPr>
          <a:xfrm>
            <a:off x="12522649" y="1037299"/>
            <a:ext cx="1422121" cy="721417"/>
          </a:xfrm>
          <a:prstGeom prst="rect">
            <a:avLst/>
          </a:prstGeom>
          <a:ln w="9525">
            <a:solidFill>
              <a:schemeClr val="tx2"/>
            </a:solidFill>
          </a:ln>
        </p:spPr>
      </p:pic>
      <p:sp>
        <p:nvSpPr>
          <p:cNvPr id="32" name="Oval 4">
            <a:extLst>
              <a:ext uri="{FF2B5EF4-FFF2-40B4-BE49-F238E27FC236}">
                <a16:creationId xmlns:a16="http://schemas.microsoft.com/office/drawing/2014/main" id="{6DECF5C4-EAE9-7B4C-BC70-78C468298771}"/>
              </a:ext>
            </a:extLst>
          </p:cNvPr>
          <p:cNvSpPr/>
          <p:nvPr userDrawn="1"/>
        </p:nvSpPr>
        <p:spPr>
          <a:xfrm>
            <a:off x="13194299" y="1260596"/>
            <a:ext cx="282818" cy="282818"/>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latin typeface="+mn-lt"/>
            </a:endParaRPr>
          </a:p>
        </p:txBody>
      </p:sp>
      <p:cxnSp>
        <p:nvCxnSpPr>
          <p:cNvPr id="37" name="Connector: Elbow 131">
            <a:extLst>
              <a:ext uri="{FF2B5EF4-FFF2-40B4-BE49-F238E27FC236}">
                <a16:creationId xmlns:a16="http://schemas.microsoft.com/office/drawing/2014/main" id="{0094DDC0-BA55-964B-9FCC-B8B23309AB29}"/>
              </a:ext>
            </a:extLst>
          </p:cNvPr>
          <p:cNvCxnSpPr>
            <a:cxnSpLocks/>
            <a:endCxn id="32" idx="0"/>
          </p:cNvCxnSpPr>
          <p:nvPr userDrawn="1"/>
        </p:nvCxnSpPr>
        <p:spPr>
          <a:xfrm rot="5400000">
            <a:off x="13324711" y="988776"/>
            <a:ext cx="282818" cy="260823"/>
          </a:xfrm>
          <a:prstGeom prst="bentConnector3">
            <a:avLst>
              <a:gd name="adj1" fmla="val 50000"/>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39" name="Text Placeholder 4">
            <a:extLst>
              <a:ext uri="{FF2B5EF4-FFF2-40B4-BE49-F238E27FC236}">
                <a16:creationId xmlns:a16="http://schemas.microsoft.com/office/drawing/2014/main" id="{A58A8633-CD9B-2644-8816-C9A085ABBA57}"/>
              </a:ext>
            </a:extLst>
          </p:cNvPr>
          <p:cNvSpPr>
            <a:spLocks noGrp="1"/>
          </p:cNvSpPr>
          <p:nvPr>
            <p:ph type="body" sz="quarter" idx="34" hasCustomPrompt="1"/>
          </p:nvPr>
        </p:nvSpPr>
        <p:spPr>
          <a:xfrm rot="5400000">
            <a:off x="10901730" y="803644"/>
            <a:ext cx="2093913" cy="486626"/>
          </a:xfrm>
        </p:spPr>
        <p:txBody>
          <a:bodyPr lIns="180000" tIns="180000" rIns="0" bIns="180000" anchor="ctr">
            <a:spAutoFit/>
          </a:bodyPr>
          <a:lstStyle>
            <a:lvl1pPr marL="6350" indent="0" algn="l">
              <a:buNone/>
              <a:defRPr sz="800">
                <a:solidFill>
                  <a:schemeClr val="tx1"/>
                </a:solidFill>
              </a:defRPr>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Tree>
    <p:extLst>
      <p:ext uri="{BB962C8B-B14F-4D97-AF65-F5344CB8AC3E}">
        <p14:creationId xmlns:p14="http://schemas.microsoft.com/office/powerpoint/2010/main" val="2769315285"/>
      </p:ext>
    </p:extLst>
  </p:cSld>
  <p:clrMapOvr>
    <a:overrideClrMapping bg1="dk1" tx1="lt1" bg2="dk2" tx2="lt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7 Text Chart Image">
    <p:bg>
      <p:bgRef idx="1001">
        <a:schemeClr val="bg2"/>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9A52AA6-685E-D741-94FC-09D0D87EA35C}"/>
              </a:ext>
            </a:extLst>
          </p:cNvPr>
          <p:cNvSpPr/>
          <p:nvPr userDrawn="1"/>
        </p:nvSpPr>
        <p:spPr>
          <a:xfrm>
            <a:off x="0" y="0"/>
            <a:ext cx="4057651" cy="68580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 name="Picture Placeholder 10">
            <a:extLst>
              <a:ext uri="{FF2B5EF4-FFF2-40B4-BE49-F238E27FC236}">
                <a16:creationId xmlns:a16="http://schemas.microsoft.com/office/drawing/2014/main" id="{83718FC5-379A-3343-904E-06A5A117D84C}"/>
              </a:ext>
            </a:extLst>
          </p:cNvPr>
          <p:cNvSpPr>
            <a:spLocks noGrp="1"/>
          </p:cNvSpPr>
          <p:nvPr>
            <p:ph type="pic" sz="quarter" idx="18" hasCustomPrompt="1"/>
          </p:nvPr>
        </p:nvSpPr>
        <p:spPr>
          <a:xfrm>
            <a:off x="4057651" y="0"/>
            <a:ext cx="8132760" cy="6857997"/>
          </a:xfrm>
          <a:custGeom>
            <a:avLst/>
            <a:gdLst>
              <a:gd name="connsiteX0" fmla="*/ 0 w 6095997"/>
              <a:gd name="connsiteY0" fmla="*/ 0 h 6857997"/>
              <a:gd name="connsiteX1" fmla="*/ 6095997 w 6095997"/>
              <a:gd name="connsiteY1" fmla="*/ 0 h 6857997"/>
              <a:gd name="connsiteX2" fmla="*/ 6095997 w 6095997"/>
              <a:gd name="connsiteY2" fmla="*/ 3157535 h 6857997"/>
              <a:gd name="connsiteX3" fmla="*/ 6095997 w 6095997"/>
              <a:gd name="connsiteY3" fmla="*/ 3428998 h 6857997"/>
              <a:gd name="connsiteX4" fmla="*/ 6095997 w 6095997"/>
              <a:gd name="connsiteY4" fmla="*/ 6857997 h 6857997"/>
              <a:gd name="connsiteX5" fmla="*/ 0 w 6095997"/>
              <a:gd name="connsiteY5" fmla="*/ 6857997 h 6857997"/>
              <a:gd name="connsiteX6" fmla="*/ 0 w 6095997"/>
              <a:gd name="connsiteY6" fmla="*/ 3428998 h 6857997"/>
              <a:gd name="connsiteX7" fmla="*/ 0 w 6095997"/>
              <a:gd name="connsiteY7" fmla="*/ 3157535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5997" h="6857997">
                <a:moveTo>
                  <a:pt x="0" y="0"/>
                </a:moveTo>
                <a:lnTo>
                  <a:pt x="6095997" y="0"/>
                </a:lnTo>
                <a:lnTo>
                  <a:pt x="6095997" y="3157535"/>
                </a:lnTo>
                <a:lnTo>
                  <a:pt x="6095997" y="3428998"/>
                </a:lnTo>
                <a:lnTo>
                  <a:pt x="6095997" y="6857997"/>
                </a:lnTo>
                <a:lnTo>
                  <a:pt x="0" y="6857997"/>
                </a:lnTo>
                <a:lnTo>
                  <a:pt x="0" y="3428998"/>
                </a:lnTo>
                <a:lnTo>
                  <a:pt x="0" y="3157535"/>
                </a:lnTo>
                <a:close/>
              </a:path>
            </a:pathLst>
          </a:custGeom>
          <a:solidFill>
            <a:schemeClr val="accent6">
              <a:lumMod val="90000"/>
            </a:schemeClr>
          </a:solidFill>
        </p:spPr>
        <p:txBody>
          <a:bodyPr wrap="square" lIns="36000" tIns="36000" rIns="36000" bIns="36000">
            <a:noAutofit/>
          </a:bodyPr>
          <a:lstStyle>
            <a:lvl1pPr marL="0" indent="0" algn="ctr">
              <a:buNone/>
              <a:defRPr sz="1300">
                <a:solidFill>
                  <a:schemeClr val="bg2"/>
                </a:solidFill>
              </a:defRPr>
            </a:lvl1pPr>
          </a:lstStyle>
          <a:p>
            <a:r>
              <a:rPr lang="en-US" noProof="0"/>
              <a:t>If the image placeholder icon is underneath the text box, select the gray placeholder box and then go to insert in the top menu and add picture. Do NOT move the textbox!</a:t>
            </a:r>
          </a:p>
          <a:p>
            <a:endParaRPr lang="en-US" noProof="0"/>
          </a:p>
        </p:txBody>
      </p:sp>
      <p:grpSp>
        <p:nvGrpSpPr>
          <p:cNvPr id="21" name="Grupp 32">
            <a:extLst>
              <a:ext uri="{FF2B5EF4-FFF2-40B4-BE49-F238E27FC236}">
                <a16:creationId xmlns:a16="http://schemas.microsoft.com/office/drawing/2014/main" id="{CF6F4381-F814-DC49-BAE8-DA80AFFD9E68}"/>
              </a:ext>
            </a:extLst>
          </p:cNvPr>
          <p:cNvGrpSpPr/>
          <p:nvPr userDrawn="1"/>
        </p:nvGrpSpPr>
        <p:grpSpPr>
          <a:xfrm>
            <a:off x="576140" y="6451484"/>
            <a:ext cx="615478" cy="91194"/>
            <a:chOff x="576140" y="6451484"/>
            <a:chExt cx="615478" cy="91194"/>
          </a:xfrm>
          <a:solidFill>
            <a:schemeClr val="bg2"/>
          </a:solidFill>
        </p:grpSpPr>
        <p:sp>
          <p:nvSpPr>
            <p:cNvPr id="22" name="Bild 2">
              <a:extLst>
                <a:ext uri="{FF2B5EF4-FFF2-40B4-BE49-F238E27FC236}">
                  <a16:creationId xmlns:a16="http://schemas.microsoft.com/office/drawing/2014/main" id="{62E9B87D-A5ED-B24D-896A-D5B9B26AB281}"/>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noProof="0">
                <a:solidFill>
                  <a:schemeClr val="bg2"/>
                </a:solidFill>
              </a:endParaRPr>
            </a:p>
          </p:txBody>
        </p:sp>
        <p:sp>
          <p:nvSpPr>
            <p:cNvPr id="23" name="Bild 2">
              <a:extLst>
                <a:ext uri="{FF2B5EF4-FFF2-40B4-BE49-F238E27FC236}">
                  <a16:creationId xmlns:a16="http://schemas.microsoft.com/office/drawing/2014/main" id="{A0B698E7-BE43-3549-8D56-915B35522590}"/>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noProof="0">
                <a:solidFill>
                  <a:schemeClr val="bg2"/>
                </a:solidFill>
              </a:endParaRPr>
            </a:p>
          </p:txBody>
        </p:sp>
        <p:sp>
          <p:nvSpPr>
            <p:cNvPr id="24" name="Bild 2">
              <a:extLst>
                <a:ext uri="{FF2B5EF4-FFF2-40B4-BE49-F238E27FC236}">
                  <a16:creationId xmlns:a16="http://schemas.microsoft.com/office/drawing/2014/main" id="{AE8F0FFE-43AD-8B46-AD52-5AAAB3A7E141}"/>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noProof="0">
                <a:solidFill>
                  <a:schemeClr val="bg2"/>
                </a:solidFill>
              </a:endParaRPr>
            </a:p>
          </p:txBody>
        </p:sp>
        <p:sp>
          <p:nvSpPr>
            <p:cNvPr id="33" name="Bild 2">
              <a:extLst>
                <a:ext uri="{FF2B5EF4-FFF2-40B4-BE49-F238E27FC236}">
                  <a16:creationId xmlns:a16="http://schemas.microsoft.com/office/drawing/2014/main" id="{F449D80C-39D5-B049-8099-1AB0DFB21C56}"/>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noProof="0">
                <a:solidFill>
                  <a:schemeClr val="bg2"/>
                </a:solidFill>
              </a:endParaRPr>
            </a:p>
          </p:txBody>
        </p:sp>
        <p:sp>
          <p:nvSpPr>
            <p:cNvPr id="34" name="Bild 2">
              <a:extLst>
                <a:ext uri="{FF2B5EF4-FFF2-40B4-BE49-F238E27FC236}">
                  <a16:creationId xmlns:a16="http://schemas.microsoft.com/office/drawing/2014/main" id="{20D2215C-82C7-5E49-AD19-A866B46120D1}"/>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noProof="0">
                <a:solidFill>
                  <a:schemeClr val="bg2"/>
                </a:solidFill>
              </a:endParaRPr>
            </a:p>
          </p:txBody>
        </p:sp>
        <p:sp>
          <p:nvSpPr>
            <p:cNvPr id="35" name="Bild 2">
              <a:extLst>
                <a:ext uri="{FF2B5EF4-FFF2-40B4-BE49-F238E27FC236}">
                  <a16:creationId xmlns:a16="http://schemas.microsoft.com/office/drawing/2014/main" id="{70CBD1E9-7FEE-9349-9D43-444D469EBEE7}"/>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noProof="0">
                <a:solidFill>
                  <a:schemeClr val="bg2"/>
                </a:solidFill>
              </a:endParaRPr>
            </a:p>
          </p:txBody>
        </p:sp>
        <p:sp>
          <p:nvSpPr>
            <p:cNvPr id="36" name="Bild 2">
              <a:extLst>
                <a:ext uri="{FF2B5EF4-FFF2-40B4-BE49-F238E27FC236}">
                  <a16:creationId xmlns:a16="http://schemas.microsoft.com/office/drawing/2014/main" id="{2BE0EC2B-5FD2-9449-827A-76C703008BD0}"/>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noProof="0">
                <a:solidFill>
                  <a:schemeClr val="bg2"/>
                </a:solidFill>
              </a:endParaRPr>
            </a:p>
          </p:txBody>
        </p:sp>
      </p:grpSp>
      <p:sp>
        <p:nvSpPr>
          <p:cNvPr id="9" name="Chart Placeholder 8">
            <a:extLst>
              <a:ext uri="{FF2B5EF4-FFF2-40B4-BE49-F238E27FC236}">
                <a16:creationId xmlns:a16="http://schemas.microsoft.com/office/drawing/2014/main" id="{24D8D89D-9C5F-BF4B-912F-76A7A44AB335}"/>
              </a:ext>
            </a:extLst>
          </p:cNvPr>
          <p:cNvSpPr>
            <a:spLocks noGrp="1"/>
          </p:cNvSpPr>
          <p:nvPr>
            <p:ph type="chart" sz="quarter" idx="33" hasCustomPrompt="1"/>
          </p:nvPr>
        </p:nvSpPr>
        <p:spPr>
          <a:xfrm>
            <a:off x="5562626" y="1200392"/>
            <a:ext cx="4823891" cy="4424545"/>
          </a:xfrm>
        </p:spPr>
        <p:txBody>
          <a:bodyPr/>
          <a:lstStyle>
            <a:lvl1pPr marL="12700" indent="0" algn="ctr">
              <a:buNone/>
              <a:defRPr sz="1300">
                <a:solidFill>
                  <a:schemeClr val="bg2"/>
                </a:solidFill>
              </a:defRPr>
            </a:lvl1pPr>
          </a:lstStyle>
          <a:p>
            <a:r>
              <a:rPr lang="en-US" noProof="0"/>
              <a:t>Click to add chart</a:t>
            </a:r>
          </a:p>
        </p:txBody>
      </p:sp>
      <p:sp>
        <p:nvSpPr>
          <p:cNvPr id="25" name="Text Placeholder 18">
            <a:extLst>
              <a:ext uri="{FF2B5EF4-FFF2-40B4-BE49-F238E27FC236}">
                <a16:creationId xmlns:a16="http://schemas.microsoft.com/office/drawing/2014/main" id="{357E8C07-E7DB-4B47-A006-2F90A89E262C}"/>
              </a:ext>
            </a:extLst>
          </p:cNvPr>
          <p:cNvSpPr>
            <a:spLocks noGrp="1"/>
          </p:cNvSpPr>
          <p:nvPr>
            <p:ph type="body" sz="quarter" idx="14" hasCustomPrompt="1"/>
          </p:nvPr>
        </p:nvSpPr>
        <p:spPr>
          <a:xfrm>
            <a:off x="576000" y="731027"/>
            <a:ext cx="3161113" cy="1365942"/>
          </a:xfrm>
          <a:prstGeom prst="rect">
            <a:avLst/>
          </a:prstGeom>
        </p:spPr>
        <p:txBody>
          <a:bodyPr anchor="t">
            <a:noAutofit/>
          </a:bodyPr>
          <a:lstStyle>
            <a:lvl1pPr marL="0" indent="0">
              <a:lnSpc>
                <a:spcPct val="85000"/>
              </a:lnSpc>
              <a:spcBef>
                <a:spcPts val="0"/>
              </a:spcBef>
              <a:buNone/>
              <a:defRPr sz="3600" spc="40" baseline="0">
                <a:solidFill>
                  <a:schemeClr val="bg2"/>
                </a:solidFill>
                <a:latin typeface="+mj-lt"/>
              </a:defRPr>
            </a:lvl1pPr>
          </a:lstStyle>
          <a:p>
            <a:pPr lvl="0"/>
            <a:r>
              <a:rPr lang="en-US" noProof="0"/>
              <a:t>Click for a short headline of three lines</a:t>
            </a:r>
          </a:p>
        </p:txBody>
      </p:sp>
      <p:sp>
        <p:nvSpPr>
          <p:cNvPr id="18" name="Platshållare för text 11">
            <a:extLst>
              <a:ext uri="{FF2B5EF4-FFF2-40B4-BE49-F238E27FC236}">
                <a16:creationId xmlns:a16="http://schemas.microsoft.com/office/drawing/2014/main" id="{DBE4F817-848D-684D-8421-63796DD6A259}"/>
              </a:ext>
            </a:extLst>
          </p:cNvPr>
          <p:cNvSpPr>
            <a:spLocks noGrp="1"/>
          </p:cNvSpPr>
          <p:nvPr>
            <p:ph type="body" sz="quarter" idx="20" hasCustomPrompt="1"/>
          </p:nvPr>
        </p:nvSpPr>
        <p:spPr>
          <a:xfrm>
            <a:off x="576000" y="2527200"/>
            <a:ext cx="3161113" cy="3600450"/>
          </a:xfrm>
        </p:spPr>
        <p:txBody>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noProof="0"/>
              <a:t>Click to add body text</a:t>
            </a:r>
          </a:p>
          <a:p>
            <a:pPr lvl="1"/>
            <a:r>
              <a:rPr lang="en-US" noProof="0"/>
              <a:t>Second level</a:t>
            </a:r>
          </a:p>
          <a:p>
            <a:pPr lvl="2"/>
            <a:r>
              <a:rPr lang="en-US" noProof="0"/>
              <a:t>Third level</a:t>
            </a:r>
          </a:p>
          <a:p>
            <a:pPr lvl="3"/>
            <a:r>
              <a:rPr lang="en-US" noProof="0"/>
              <a:t>Fourth level </a:t>
            </a:r>
          </a:p>
          <a:p>
            <a:pPr lvl="4"/>
            <a:r>
              <a:rPr lang="en-US" noProof="0"/>
              <a:t>Fifth level</a:t>
            </a:r>
          </a:p>
        </p:txBody>
      </p:sp>
      <p:sp>
        <p:nvSpPr>
          <p:cNvPr id="19" name="Platshållare för datum 3">
            <a:extLst>
              <a:ext uri="{FF2B5EF4-FFF2-40B4-BE49-F238E27FC236}">
                <a16:creationId xmlns:a16="http://schemas.microsoft.com/office/drawing/2014/main" id="{24DA0736-8844-004C-85CF-354AAE794A4C}"/>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bg2"/>
                </a:solidFill>
              </a:defRPr>
            </a:lvl1pPr>
          </a:lstStyle>
          <a:p>
            <a:fld id="{2F9806AD-009B-8D45-82A9-B9E8234B6322}" type="datetime1">
              <a:rPr lang="en-US" smtClean="0"/>
              <a:pPr/>
              <a:t>10/17/2023</a:t>
            </a:fld>
            <a:endParaRPr lang="en-US"/>
          </a:p>
        </p:txBody>
      </p:sp>
      <p:sp>
        <p:nvSpPr>
          <p:cNvPr id="20" name="Platshållare för sidfot 4">
            <a:extLst>
              <a:ext uri="{FF2B5EF4-FFF2-40B4-BE49-F238E27FC236}">
                <a16:creationId xmlns:a16="http://schemas.microsoft.com/office/drawing/2014/main" id="{4769CEE5-AF3E-524B-8F09-C312FCBEAABB}"/>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tx1"/>
                </a:solidFill>
              </a:defRPr>
            </a:lvl1pPr>
          </a:lstStyle>
          <a:p>
            <a:r>
              <a:rPr lang="en-US"/>
              <a:t>Go to header/footer to change text </a:t>
            </a:r>
          </a:p>
        </p:txBody>
      </p:sp>
      <p:sp>
        <p:nvSpPr>
          <p:cNvPr id="26" name="Platshållare för bildnummer 5">
            <a:extLst>
              <a:ext uri="{FF2B5EF4-FFF2-40B4-BE49-F238E27FC236}">
                <a16:creationId xmlns:a16="http://schemas.microsoft.com/office/drawing/2014/main" id="{B67366FE-B59B-EF4A-988D-55E8E992C22C}"/>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tx1"/>
                </a:solidFill>
              </a:defRPr>
            </a:lvl1pPr>
          </a:lstStyle>
          <a:p>
            <a:fld id="{EF8DBD5B-30F9-4F9C-AE39-E065C1AC514D}" type="slidenum">
              <a:rPr lang="en-US" smtClean="0"/>
              <a:pPr/>
              <a:t>‹#›</a:t>
            </a:fld>
            <a:endParaRPr lang="en-US"/>
          </a:p>
        </p:txBody>
      </p:sp>
      <p:sp>
        <p:nvSpPr>
          <p:cNvPr id="28" name="Text Placeholder 4">
            <a:extLst>
              <a:ext uri="{FF2B5EF4-FFF2-40B4-BE49-F238E27FC236}">
                <a16:creationId xmlns:a16="http://schemas.microsoft.com/office/drawing/2014/main" id="{0D80328E-BBEF-7140-A6A4-DD724D95A068}"/>
              </a:ext>
            </a:extLst>
          </p:cNvPr>
          <p:cNvSpPr>
            <a:spLocks noGrp="1"/>
          </p:cNvSpPr>
          <p:nvPr>
            <p:ph type="body" sz="quarter" idx="34" hasCustomPrompt="1"/>
          </p:nvPr>
        </p:nvSpPr>
        <p:spPr>
          <a:xfrm rot="5400000">
            <a:off x="10901730" y="803644"/>
            <a:ext cx="2093913" cy="486626"/>
          </a:xfrm>
        </p:spPr>
        <p:txBody>
          <a:bodyPr lIns="180000" tIns="180000" rIns="0" bIns="180000" anchor="ctr">
            <a:spAutoFit/>
          </a:bodyPr>
          <a:lstStyle>
            <a:lvl1pPr marL="6350" indent="0" algn="l">
              <a:buNone/>
              <a:defRPr sz="800">
                <a:solidFill>
                  <a:schemeClr val="tx1"/>
                </a:solidFill>
              </a:defRPr>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Tree>
    <p:extLst>
      <p:ext uri="{BB962C8B-B14F-4D97-AF65-F5344CB8AC3E}">
        <p14:creationId xmlns:p14="http://schemas.microsoft.com/office/powerpoint/2010/main" val="2202226643"/>
      </p:ext>
    </p:extLst>
  </p:cSld>
  <p:clrMapOvr>
    <a:overrideClrMapping bg1="dk1" tx1="lt1" bg2="dk2" tx2="lt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7 Text Chart Image Three Columns ">
    <p:bg>
      <p:bgPr>
        <a:solidFill>
          <a:schemeClr val="tx1"/>
        </a:solidFill>
        <a:effectLst/>
      </p:bgPr>
    </p:bg>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D45A29B0-4F3D-6744-8612-D07AA5FC7EB7}"/>
              </a:ext>
            </a:extLst>
          </p:cNvPr>
          <p:cNvSpPr>
            <a:spLocks noGrp="1"/>
          </p:cNvSpPr>
          <p:nvPr>
            <p:ph type="pic" sz="quarter" idx="13" hasCustomPrompt="1"/>
          </p:nvPr>
        </p:nvSpPr>
        <p:spPr>
          <a:xfrm>
            <a:off x="5" y="5"/>
            <a:ext cx="12191997" cy="6857997"/>
          </a:xfrm>
          <a:custGeom>
            <a:avLst/>
            <a:gdLst>
              <a:gd name="connsiteX0" fmla="*/ 1146049 w 12191997"/>
              <a:gd name="connsiteY0" fmla="*/ 6470534 h 6857997"/>
              <a:gd name="connsiteX1" fmla="*/ 1157832 w 12191997"/>
              <a:gd name="connsiteY1" fmla="*/ 6505507 h 6857997"/>
              <a:gd name="connsiteX2" fmla="*/ 1134642 w 12191997"/>
              <a:gd name="connsiteY2" fmla="*/ 6505507 h 6857997"/>
              <a:gd name="connsiteX3" fmla="*/ 788170 w 12191997"/>
              <a:gd name="connsiteY3" fmla="*/ 6470534 h 6857997"/>
              <a:gd name="connsiteX4" fmla="*/ 799953 w 12191997"/>
              <a:gd name="connsiteY4" fmla="*/ 6505507 h 6857997"/>
              <a:gd name="connsiteX5" fmla="*/ 776763 w 12191997"/>
              <a:gd name="connsiteY5" fmla="*/ 6505507 h 6857997"/>
              <a:gd name="connsiteX6" fmla="*/ 1132323 w 12191997"/>
              <a:gd name="connsiteY6" fmla="*/ 6451543 h 6857997"/>
              <a:gd name="connsiteX7" fmla="*/ 1100860 w 12191997"/>
              <a:gd name="connsiteY7" fmla="*/ 6542674 h 6857997"/>
              <a:gd name="connsiteX8" fmla="*/ 1123110 w 12191997"/>
              <a:gd name="connsiteY8" fmla="*/ 6542674 h 6857997"/>
              <a:gd name="connsiteX9" fmla="*/ 1128876 w 12191997"/>
              <a:gd name="connsiteY9" fmla="*/ 6524060 h 6857997"/>
              <a:gd name="connsiteX10" fmla="*/ 1163786 w 12191997"/>
              <a:gd name="connsiteY10" fmla="*/ 6524060 h 6857997"/>
              <a:gd name="connsiteX11" fmla="*/ 1169741 w 12191997"/>
              <a:gd name="connsiteY11" fmla="*/ 6542674 h 6857997"/>
              <a:gd name="connsiteX12" fmla="*/ 1191615 w 12191997"/>
              <a:gd name="connsiteY12" fmla="*/ 6542674 h 6857997"/>
              <a:gd name="connsiteX13" fmla="*/ 1159148 w 12191997"/>
              <a:gd name="connsiteY13" fmla="*/ 6451543 h 6857997"/>
              <a:gd name="connsiteX14" fmla="*/ 961907 w 12191997"/>
              <a:gd name="connsiteY14" fmla="*/ 6451543 h 6857997"/>
              <a:gd name="connsiteX15" fmla="*/ 933640 w 12191997"/>
              <a:gd name="connsiteY15" fmla="*/ 6479246 h 6857997"/>
              <a:gd name="connsiteX16" fmla="*/ 961907 w 12191997"/>
              <a:gd name="connsiteY16" fmla="*/ 6505821 h 6857997"/>
              <a:gd name="connsiteX17" fmla="*/ 983468 w 12191997"/>
              <a:gd name="connsiteY17" fmla="*/ 6505821 h 6857997"/>
              <a:gd name="connsiteX18" fmla="*/ 991678 w 12191997"/>
              <a:gd name="connsiteY18" fmla="*/ 6514282 h 6857997"/>
              <a:gd name="connsiteX19" fmla="*/ 983468 w 12191997"/>
              <a:gd name="connsiteY19" fmla="*/ 6522743 h 6857997"/>
              <a:gd name="connsiteX20" fmla="*/ 937338 w 12191997"/>
              <a:gd name="connsiteY20" fmla="*/ 6522743 h 6857997"/>
              <a:gd name="connsiteX21" fmla="*/ 937338 w 12191997"/>
              <a:gd name="connsiteY21" fmla="*/ 6542674 h 6857997"/>
              <a:gd name="connsiteX22" fmla="*/ 982716 w 12191997"/>
              <a:gd name="connsiteY22" fmla="*/ 6542674 h 6857997"/>
              <a:gd name="connsiteX23" fmla="*/ 1011358 w 12191997"/>
              <a:gd name="connsiteY23" fmla="*/ 6514282 h 6857997"/>
              <a:gd name="connsiteX24" fmla="*/ 986727 w 12191997"/>
              <a:gd name="connsiteY24" fmla="*/ 6487707 h 6857997"/>
              <a:gd name="connsiteX25" fmla="*/ 961907 w 12191997"/>
              <a:gd name="connsiteY25" fmla="*/ 6487707 h 6857997"/>
              <a:gd name="connsiteX26" fmla="*/ 953321 w 12191997"/>
              <a:gd name="connsiteY26" fmla="*/ 6479246 h 6857997"/>
              <a:gd name="connsiteX27" fmla="*/ 961907 w 12191997"/>
              <a:gd name="connsiteY27" fmla="*/ 6470785 h 6857997"/>
              <a:gd name="connsiteX28" fmla="*/ 1004965 w 12191997"/>
              <a:gd name="connsiteY28" fmla="*/ 6470785 h 6857997"/>
              <a:gd name="connsiteX29" fmla="*/ 1004965 w 12191997"/>
              <a:gd name="connsiteY29" fmla="*/ 6451543 h 6857997"/>
              <a:gd name="connsiteX30" fmla="*/ 841570 w 12191997"/>
              <a:gd name="connsiteY30" fmla="*/ 6451543 h 6857997"/>
              <a:gd name="connsiteX31" fmla="*/ 841570 w 12191997"/>
              <a:gd name="connsiteY31" fmla="*/ 6542674 h 6857997"/>
              <a:gd name="connsiteX32" fmla="*/ 862692 w 12191997"/>
              <a:gd name="connsiteY32" fmla="*/ 6542674 h 6857997"/>
              <a:gd name="connsiteX33" fmla="*/ 862692 w 12191997"/>
              <a:gd name="connsiteY33" fmla="*/ 6486454 h 6857997"/>
              <a:gd name="connsiteX34" fmla="*/ 898981 w 12191997"/>
              <a:gd name="connsiteY34" fmla="*/ 6542486 h 6857997"/>
              <a:gd name="connsiteX35" fmla="*/ 898981 w 12191997"/>
              <a:gd name="connsiteY35" fmla="*/ 6542674 h 6857997"/>
              <a:gd name="connsiteX36" fmla="*/ 920855 w 12191997"/>
              <a:gd name="connsiteY36" fmla="*/ 6542674 h 6857997"/>
              <a:gd name="connsiteX37" fmla="*/ 920793 w 12191997"/>
              <a:gd name="connsiteY37" fmla="*/ 6522994 h 6857997"/>
              <a:gd name="connsiteX38" fmla="*/ 920667 w 12191997"/>
              <a:gd name="connsiteY38" fmla="*/ 6451543 h 6857997"/>
              <a:gd name="connsiteX39" fmla="*/ 899671 w 12191997"/>
              <a:gd name="connsiteY39" fmla="*/ 6451543 h 6857997"/>
              <a:gd name="connsiteX40" fmla="*/ 899671 w 12191997"/>
              <a:gd name="connsiteY40" fmla="*/ 6508829 h 6857997"/>
              <a:gd name="connsiteX41" fmla="*/ 863068 w 12191997"/>
              <a:gd name="connsiteY41" fmla="*/ 6451543 h 6857997"/>
              <a:gd name="connsiteX42" fmla="*/ 774444 w 12191997"/>
              <a:gd name="connsiteY42" fmla="*/ 6451543 h 6857997"/>
              <a:gd name="connsiteX43" fmla="*/ 742918 w 12191997"/>
              <a:gd name="connsiteY43" fmla="*/ 6542674 h 6857997"/>
              <a:gd name="connsiteX44" fmla="*/ 765168 w 12191997"/>
              <a:gd name="connsiteY44" fmla="*/ 6542674 h 6857997"/>
              <a:gd name="connsiteX45" fmla="*/ 770934 w 12191997"/>
              <a:gd name="connsiteY45" fmla="*/ 6524060 h 6857997"/>
              <a:gd name="connsiteX46" fmla="*/ 805845 w 12191997"/>
              <a:gd name="connsiteY46" fmla="*/ 6524060 h 6857997"/>
              <a:gd name="connsiteX47" fmla="*/ 811799 w 12191997"/>
              <a:gd name="connsiteY47" fmla="*/ 6542674 h 6857997"/>
              <a:gd name="connsiteX48" fmla="*/ 833735 w 12191997"/>
              <a:gd name="connsiteY48" fmla="*/ 6542674 h 6857997"/>
              <a:gd name="connsiteX49" fmla="*/ 801269 w 12191997"/>
              <a:gd name="connsiteY49" fmla="*/ 6451543 h 6857997"/>
              <a:gd name="connsiteX50" fmla="*/ 604404 w 12191997"/>
              <a:gd name="connsiteY50" fmla="*/ 6451543 h 6857997"/>
              <a:gd name="connsiteX51" fmla="*/ 576137 w 12191997"/>
              <a:gd name="connsiteY51" fmla="*/ 6479246 h 6857997"/>
              <a:gd name="connsiteX52" fmla="*/ 604404 w 12191997"/>
              <a:gd name="connsiteY52" fmla="*/ 6505821 h 6857997"/>
              <a:gd name="connsiteX53" fmla="*/ 625964 w 12191997"/>
              <a:gd name="connsiteY53" fmla="*/ 6505821 h 6857997"/>
              <a:gd name="connsiteX54" fmla="*/ 634174 w 12191997"/>
              <a:gd name="connsiteY54" fmla="*/ 6514282 h 6857997"/>
              <a:gd name="connsiteX55" fmla="*/ 625964 w 12191997"/>
              <a:gd name="connsiteY55" fmla="*/ 6522743 h 6857997"/>
              <a:gd name="connsiteX56" fmla="*/ 579772 w 12191997"/>
              <a:gd name="connsiteY56" fmla="*/ 6522743 h 6857997"/>
              <a:gd name="connsiteX57" fmla="*/ 579772 w 12191997"/>
              <a:gd name="connsiteY57" fmla="*/ 6542674 h 6857997"/>
              <a:gd name="connsiteX58" fmla="*/ 625149 w 12191997"/>
              <a:gd name="connsiteY58" fmla="*/ 6542674 h 6857997"/>
              <a:gd name="connsiteX59" fmla="*/ 653792 w 12191997"/>
              <a:gd name="connsiteY59" fmla="*/ 6514282 h 6857997"/>
              <a:gd name="connsiteX60" fmla="*/ 629223 w 12191997"/>
              <a:gd name="connsiteY60" fmla="*/ 6487707 h 6857997"/>
              <a:gd name="connsiteX61" fmla="*/ 604404 w 12191997"/>
              <a:gd name="connsiteY61" fmla="*/ 6487707 h 6857997"/>
              <a:gd name="connsiteX62" fmla="*/ 595817 w 12191997"/>
              <a:gd name="connsiteY62" fmla="*/ 6479246 h 6857997"/>
              <a:gd name="connsiteX63" fmla="*/ 604404 w 12191997"/>
              <a:gd name="connsiteY63" fmla="*/ 6470785 h 6857997"/>
              <a:gd name="connsiteX64" fmla="*/ 647462 w 12191997"/>
              <a:gd name="connsiteY64" fmla="*/ 6470785 h 6857997"/>
              <a:gd name="connsiteX65" fmla="*/ 647462 w 12191997"/>
              <a:gd name="connsiteY65" fmla="*/ 6451543 h 6857997"/>
              <a:gd name="connsiteX66" fmla="*/ 1023956 w 12191997"/>
              <a:gd name="connsiteY66" fmla="*/ 6451480 h 6857997"/>
              <a:gd name="connsiteX67" fmla="*/ 1023956 w 12191997"/>
              <a:gd name="connsiteY67" fmla="*/ 6542674 h 6857997"/>
              <a:gd name="connsiteX68" fmla="*/ 1045016 w 12191997"/>
              <a:gd name="connsiteY68" fmla="*/ 6542674 h 6857997"/>
              <a:gd name="connsiteX69" fmla="*/ 1045016 w 12191997"/>
              <a:gd name="connsiteY69" fmla="*/ 6504191 h 6857997"/>
              <a:gd name="connsiteX70" fmla="*/ 1074975 w 12191997"/>
              <a:gd name="connsiteY70" fmla="*/ 6542674 h 6857997"/>
              <a:gd name="connsiteX71" fmla="*/ 1099481 w 12191997"/>
              <a:gd name="connsiteY71" fmla="*/ 6542674 h 6857997"/>
              <a:gd name="connsiteX72" fmla="*/ 1065009 w 12191997"/>
              <a:gd name="connsiteY72" fmla="*/ 6497109 h 6857997"/>
              <a:gd name="connsiteX73" fmla="*/ 1099481 w 12191997"/>
              <a:gd name="connsiteY73" fmla="*/ 6451480 h 6857997"/>
              <a:gd name="connsiteX74" fmla="*/ 1074975 w 12191997"/>
              <a:gd name="connsiteY74" fmla="*/ 6451480 h 6857997"/>
              <a:gd name="connsiteX75" fmla="*/ 1045016 w 12191997"/>
              <a:gd name="connsiteY75" fmla="*/ 6489963 h 6857997"/>
              <a:gd name="connsiteX76" fmla="*/ 1045016 w 12191997"/>
              <a:gd name="connsiteY76" fmla="*/ 6451480 h 6857997"/>
              <a:gd name="connsiteX77" fmla="*/ 666077 w 12191997"/>
              <a:gd name="connsiteY77" fmla="*/ 6451480 h 6857997"/>
              <a:gd name="connsiteX78" fmla="*/ 666077 w 12191997"/>
              <a:gd name="connsiteY78" fmla="*/ 6542674 h 6857997"/>
              <a:gd name="connsiteX79" fmla="*/ 687073 w 12191997"/>
              <a:gd name="connsiteY79" fmla="*/ 6542674 h 6857997"/>
              <a:gd name="connsiteX80" fmla="*/ 687073 w 12191997"/>
              <a:gd name="connsiteY80" fmla="*/ 6504191 h 6857997"/>
              <a:gd name="connsiteX81" fmla="*/ 717033 w 12191997"/>
              <a:gd name="connsiteY81" fmla="*/ 6542674 h 6857997"/>
              <a:gd name="connsiteX82" fmla="*/ 741602 w 12191997"/>
              <a:gd name="connsiteY82" fmla="*/ 6542674 h 6857997"/>
              <a:gd name="connsiteX83" fmla="*/ 707067 w 12191997"/>
              <a:gd name="connsiteY83" fmla="*/ 6497109 h 6857997"/>
              <a:gd name="connsiteX84" fmla="*/ 741602 w 12191997"/>
              <a:gd name="connsiteY84" fmla="*/ 6451480 h 6857997"/>
              <a:gd name="connsiteX85" fmla="*/ 717033 w 12191997"/>
              <a:gd name="connsiteY85" fmla="*/ 6451480 h 6857997"/>
              <a:gd name="connsiteX86" fmla="*/ 687073 w 12191997"/>
              <a:gd name="connsiteY86" fmla="*/ 6489963 h 6857997"/>
              <a:gd name="connsiteX87" fmla="*/ 687073 w 12191997"/>
              <a:gd name="connsiteY87" fmla="*/ 6451480 h 6857997"/>
              <a:gd name="connsiteX88" fmla="*/ 0 w 12191997"/>
              <a:gd name="connsiteY88" fmla="*/ 0 h 6857997"/>
              <a:gd name="connsiteX89" fmla="*/ 12191997 w 12191997"/>
              <a:gd name="connsiteY89" fmla="*/ 0 h 6857997"/>
              <a:gd name="connsiteX90" fmla="*/ 12191997 w 12191997"/>
              <a:gd name="connsiteY90" fmla="*/ 6857997 h 6857997"/>
              <a:gd name="connsiteX91" fmla="*/ 0 w 12191997"/>
              <a:gd name="connsiteY91" fmla="*/ 6857997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2191997" h="6857997">
                <a:moveTo>
                  <a:pt x="1146049" y="6470534"/>
                </a:moveTo>
                <a:lnTo>
                  <a:pt x="1157832" y="6505507"/>
                </a:lnTo>
                <a:lnTo>
                  <a:pt x="1134642" y="6505507"/>
                </a:lnTo>
                <a:close/>
                <a:moveTo>
                  <a:pt x="788170" y="6470534"/>
                </a:moveTo>
                <a:lnTo>
                  <a:pt x="799953" y="6505507"/>
                </a:lnTo>
                <a:lnTo>
                  <a:pt x="776763" y="6505507"/>
                </a:lnTo>
                <a:close/>
                <a:moveTo>
                  <a:pt x="1132323" y="6451543"/>
                </a:moveTo>
                <a:lnTo>
                  <a:pt x="1100860" y="6542674"/>
                </a:lnTo>
                <a:lnTo>
                  <a:pt x="1123110" y="6542674"/>
                </a:lnTo>
                <a:lnTo>
                  <a:pt x="1128876" y="6524060"/>
                </a:lnTo>
                <a:lnTo>
                  <a:pt x="1163786" y="6524060"/>
                </a:lnTo>
                <a:lnTo>
                  <a:pt x="1169741" y="6542674"/>
                </a:lnTo>
                <a:lnTo>
                  <a:pt x="1191615" y="6542674"/>
                </a:lnTo>
                <a:lnTo>
                  <a:pt x="1159148" y="6451543"/>
                </a:lnTo>
                <a:close/>
                <a:moveTo>
                  <a:pt x="961907" y="6451543"/>
                </a:moveTo>
                <a:cubicBezTo>
                  <a:pt x="944358" y="6451543"/>
                  <a:pt x="933640" y="6461822"/>
                  <a:pt x="933640" y="6479246"/>
                </a:cubicBezTo>
                <a:cubicBezTo>
                  <a:pt x="933640" y="6496670"/>
                  <a:pt x="945987" y="6505821"/>
                  <a:pt x="961907" y="6505821"/>
                </a:cubicBezTo>
                <a:lnTo>
                  <a:pt x="983468" y="6505821"/>
                </a:lnTo>
                <a:cubicBezTo>
                  <a:pt x="988921" y="6505821"/>
                  <a:pt x="991678" y="6509957"/>
                  <a:pt x="991678" y="6514282"/>
                </a:cubicBezTo>
                <a:cubicBezTo>
                  <a:pt x="991678" y="6518732"/>
                  <a:pt x="988921" y="6522743"/>
                  <a:pt x="983468" y="6522743"/>
                </a:cubicBezTo>
                <a:lnTo>
                  <a:pt x="937338" y="6522743"/>
                </a:lnTo>
                <a:lnTo>
                  <a:pt x="937338" y="6542674"/>
                </a:lnTo>
                <a:lnTo>
                  <a:pt x="982716" y="6542674"/>
                </a:lnTo>
                <a:cubicBezTo>
                  <a:pt x="1000704" y="6542674"/>
                  <a:pt x="1011358" y="6532772"/>
                  <a:pt x="1011358" y="6514282"/>
                </a:cubicBezTo>
                <a:cubicBezTo>
                  <a:pt x="1011358" y="6497610"/>
                  <a:pt x="1000641" y="6487707"/>
                  <a:pt x="986727" y="6487707"/>
                </a:cubicBezTo>
                <a:lnTo>
                  <a:pt x="961907" y="6487707"/>
                </a:lnTo>
                <a:cubicBezTo>
                  <a:pt x="956078" y="6487707"/>
                  <a:pt x="953321" y="6483696"/>
                  <a:pt x="953321" y="6479246"/>
                </a:cubicBezTo>
                <a:cubicBezTo>
                  <a:pt x="953321" y="6474796"/>
                  <a:pt x="956078" y="6470785"/>
                  <a:pt x="961907" y="6470785"/>
                </a:cubicBezTo>
                <a:lnTo>
                  <a:pt x="1004965" y="6470785"/>
                </a:lnTo>
                <a:lnTo>
                  <a:pt x="1004965" y="6451543"/>
                </a:lnTo>
                <a:close/>
                <a:moveTo>
                  <a:pt x="841570" y="6451543"/>
                </a:moveTo>
                <a:lnTo>
                  <a:pt x="841570" y="6542674"/>
                </a:lnTo>
                <a:lnTo>
                  <a:pt x="862692" y="6542674"/>
                </a:lnTo>
                <a:lnTo>
                  <a:pt x="862692" y="6486454"/>
                </a:lnTo>
                <a:lnTo>
                  <a:pt x="898981" y="6542486"/>
                </a:lnTo>
                <a:lnTo>
                  <a:pt x="898981" y="6542674"/>
                </a:lnTo>
                <a:lnTo>
                  <a:pt x="920855" y="6542674"/>
                </a:lnTo>
                <a:lnTo>
                  <a:pt x="920793" y="6522994"/>
                </a:lnTo>
                <a:lnTo>
                  <a:pt x="920667" y="6451543"/>
                </a:lnTo>
                <a:lnTo>
                  <a:pt x="899671" y="6451543"/>
                </a:lnTo>
                <a:lnTo>
                  <a:pt x="899671" y="6508829"/>
                </a:lnTo>
                <a:lnTo>
                  <a:pt x="863068" y="6451543"/>
                </a:lnTo>
                <a:close/>
                <a:moveTo>
                  <a:pt x="774444" y="6451543"/>
                </a:moveTo>
                <a:lnTo>
                  <a:pt x="742918" y="6542674"/>
                </a:lnTo>
                <a:lnTo>
                  <a:pt x="765168" y="6542674"/>
                </a:lnTo>
                <a:lnTo>
                  <a:pt x="770934" y="6524060"/>
                </a:lnTo>
                <a:lnTo>
                  <a:pt x="805845" y="6524060"/>
                </a:lnTo>
                <a:lnTo>
                  <a:pt x="811799" y="6542674"/>
                </a:lnTo>
                <a:lnTo>
                  <a:pt x="833735" y="6542674"/>
                </a:lnTo>
                <a:lnTo>
                  <a:pt x="801269" y="6451543"/>
                </a:lnTo>
                <a:close/>
                <a:moveTo>
                  <a:pt x="604404" y="6451543"/>
                </a:moveTo>
                <a:cubicBezTo>
                  <a:pt x="586792" y="6451543"/>
                  <a:pt x="576137" y="6461822"/>
                  <a:pt x="576137" y="6479246"/>
                </a:cubicBezTo>
                <a:cubicBezTo>
                  <a:pt x="576137" y="6496670"/>
                  <a:pt x="588484" y="6505821"/>
                  <a:pt x="604404" y="6505821"/>
                </a:cubicBezTo>
                <a:lnTo>
                  <a:pt x="625964" y="6505821"/>
                </a:lnTo>
                <a:cubicBezTo>
                  <a:pt x="631417" y="6505821"/>
                  <a:pt x="634174" y="6509957"/>
                  <a:pt x="634174" y="6514282"/>
                </a:cubicBezTo>
                <a:cubicBezTo>
                  <a:pt x="634174" y="6518732"/>
                  <a:pt x="631417" y="6522743"/>
                  <a:pt x="625964" y="6522743"/>
                </a:cubicBezTo>
                <a:lnTo>
                  <a:pt x="579772" y="6522743"/>
                </a:lnTo>
                <a:lnTo>
                  <a:pt x="579772" y="6542674"/>
                </a:lnTo>
                <a:lnTo>
                  <a:pt x="625149" y="6542674"/>
                </a:lnTo>
                <a:cubicBezTo>
                  <a:pt x="643137" y="6542674"/>
                  <a:pt x="653792" y="6532772"/>
                  <a:pt x="653792" y="6514282"/>
                </a:cubicBezTo>
                <a:cubicBezTo>
                  <a:pt x="653792" y="6497610"/>
                  <a:pt x="643137" y="6487707"/>
                  <a:pt x="629223" y="6487707"/>
                </a:cubicBezTo>
                <a:lnTo>
                  <a:pt x="604404" y="6487707"/>
                </a:lnTo>
                <a:cubicBezTo>
                  <a:pt x="598575" y="6487707"/>
                  <a:pt x="595817" y="6483696"/>
                  <a:pt x="595817" y="6479246"/>
                </a:cubicBezTo>
                <a:cubicBezTo>
                  <a:pt x="595817" y="6474796"/>
                  <a:pt x="598575" y="6470785"/>
                  <a:pt x="604404" y="6470785"/>
                </a:cubicBezTo>
                <a:lnTo>
                  <a:pt x="647462" y="6470785"/>
                </a:lnTo>
                <a:lnTo>
                  <a:pt x="647462" y="6451543"/>
                </a:lnTo>
                <a:close/>
                <a:moveTo>
                  <a:pt x="1023956" y="6451480"/>
                </a:moveTo>
                <a:lnTo>
                  <a:pt x="1023956" y="6542674"/>
                </a:lnTo>
                <a:lnTo>
                  <a:pt x="1045016" y="6542674"/>
                </a:lnTo>
                <a:lnTo>
                  <a:pt x="1045016" y="6504191"/>
                </a:lnTo>
                <a:lnTo>
                  <a:pt x="1074975" y="6542674"/>
                </a:lnTo>
                <a:lnTo>
                  <a:pt x="1099481" y="6542674"/>
                </a:lnTo>
                <a:lnTo>
                  <a:pt x="1065009" y="6497109"/>
                </a:lnTo>
                <a:lnTo>
                  <a:pt x="1099481" y="6451480"/>
                </a:lnTo>
                <a:lnTo>
                  <a:pt x="1074975" y="6451480"/>
                </a:lnTo>
                <a:lnTo>
                  <a:pt x="1045016" y="6489963"/>
                </a:lnTo>
                <a:lnTo>
                  <a:pt x="1045016" y="6451480"/>
                </a:lnTo>
                <a:close/>
                <a:moveTo>
                  <a:pt x="666077" y="6451480"/>
                </a:moveTo>
                <a:lnTo>
                  <a:pt x="666077" y="6542674"/>
                </a:lnTo>
                <a:lnTo>
                  <a:pt x="687073" y="6542674"/>
                </a:lnTo>
                <a:lnTo>
                  <a:pt x="687073" y="6504191"/>
                </a:lnTo>
                <a:lnTo>
                  <a:pt x="717033" y="6542674"/>
                </a:lnTo>
                <a:lnTo>
                  <a:pt x="741602" y="6542674"/>
                </a:lnTo>
                <a:lnTo>
                  <a:pt x="707067" y="6497109"/>
                </a:lnTo>
                <a:lnTo>
                  <a:pt x="741602" y="6451480"/>
                </a:lnTo>
                <a:lnTo>
                  <a:pt x="717033" y="6451480"/>
                </a:lnTo>
                <a:lnTo>
                  <a:pt x="687073" y="6489963"/>
                </a:lnTo>
                <a:lnTo>
                  <a:pt x="687073" y="6451480"/>
                </a:lnTo>
                <a:close/>
                <a:moveTo>
                  <a:pt x="0" y="0"/>
                </a:moveTo>
                <a:lnTo>
                  <a:pt x="12191997" y="0"/>
                </a:lnTo>
                <a:lnTo>
                  <a:pt x="12191997" y="6857997"/>
                </a:lnTo>
                <a:lnTo>
                  <a:pt x="0" y="6857997"/>
                </a:lnTo>
                <a:close/>
              </a:path>
            </a:pathLst>
          </a:custGeom>
          <a:solidFill>
            <a:schemeClr val="accent6">
              <a:lumMod val="90000"/>
            </a:schemeClr>
          </a:solidFill>
        </p:spPr>
        <p:txBody>
          <a:bodyPr wrap="square" lIns="36000" tIns="36000" rIns="36000" bIns="36000">
            <a:noAutofit/>
          </a:bodyPr>
          <a:lstStyle>
            <a:lvl1pPr marL="0" indent="0" algn="ctr">
              <a:buNone/>
              <a:defRPr sz="1300">
                <a:solidFill>
                  <a:schemeClr val="bg2"/>
                </a:solidFill>
              </a:defRPr>
            </a:lvl1pPr>
          </a:lstStyle>
          <a:p>
            <a:r>
              <a:rPr lang="en-US" noProof="0"/>
              <a:t>If the image placeholder icon is underneath the text box, select the gray placeholder box and then go to insert in the top menu and add picture. Do NOT move the textbox!</a:t>
            </a:r>
          </a:p>
          <a:p>
            <a:endParaRPr lang="en-US" noProof="0"/>
          </a:p>
        </p:txBody>
      </p:sp>
      <p:sp>
        <p:nvSpPr>
          <p:cNvPr id="9" name="Chart Placeholder 8">
            <a:extLst>
              <a:ext uri="{FF2B5EF4-FFF2-40B4-BE49-F238E27FC236}">
                <a16:creationId xmlns:a16="http://schemas.microsoft.com/office/drawing/2014/main" id="{24D8D89D-9C5F-BF4B-912F-76A7A44AB335}"/>
              </a:ext>
            </a:extLst>
          </p:cNvPr>
          <p:cNvSpPr>
            <a:spLocks noGrp="1"/>
          </p:cNvSpPr>
          <p:nvPr>
            <p:ph type="chart" sz="quarter" idx="33" hasCustomPrompt="1"/>
          </p:nvPr>
        </p:nvSpPr>
        <p:spPr>
          <a:xfrm>
            <a:off x="576263" y="1744190"/>
            <a:ext cx="3481387" cy="2627962"/>
          </a:xfrm>
        </p:spPr>
        <p:txBody>
          <a:bodyPr/>
          <a:lstStyle>
            <a:lvl1pPr marL="12700" indent="0" algn="ctr">
              <a:buNone/>
              <a:defRPr sz="1300">
                <a:solidFill>
                  <a:schemeClr val="bg2"/>
                </a:solidFill>
              </a:defRPr>
            </a:lvl1pPr>
          </a:lstStyle>
          <a:p>
            <a:r>
              <a:rPr lang="en-US" noProof="0"/>
              <a:t>Click to add chart</a:t>
            </a:r>
          </a:p>
        </p:txBody>
      </p:sp>
      <p:sp>
        <p:nvSpPr>
          <p:cNvPr id="19" name="Text Placeholder 18">
            <a:extLst>
              <a:ext uri="{FF2B5EF4-FFF2-40B4-BE49-F238E27FC236}">
                <a16:creationId xmlns:a16="http://schemas.microsoft.com/office/drawing/2014/main" id="{696CCD45-BBC3-4242-B2B8-F5604A1D97BB}"/>
              </a:ext>
            </a:extLst>
          </p:cNvPr>
          <p:cNvSpPr>
            <a:spLocks noGrp="1"/>
          </p:cNvSpPr>
          <p:nvPr>
            <p:ph type="body" sz="quarter" idx="14" hasCustomPrompt="1"/>
          </p:nvPr>
        </p:nvSpPr>
        <p:spPr>
          <a:xfrm>
            <a:off x="576000" y="731027"/>
            <a:ext cx="11039738" cy="421117"/>
          </a:xfrm>
          <a:prstGeom prst="rect">
            <a:avLst/>
          </a:prstGeom>
        </p:spPr>
        <p:txBody>
          <a:bodyPr anchor="t">
            <a:noAutofit/>
          </a:bodyPr>
          <a:lstStyle>
            <a:lvl1pPr marL="0" indent="0">
              <a:lnSpc>
                <a:spcPct val="85000"/>
              </a:lnSpc>
              <a:spcBef>
                <a:spcPts val="0"/>
              </a:spcBef>
              <a:buNone/>
              <a:defRPr sz="3600" spc="40" baseline="0">
                <a:solidFill>
                  <a:schemeClr val="tx1"/>
                </a:solidFill>
                <a:latin typeface="+mj-lt"/>
              </a:defRPr>
            </a:lvl1pPr>
          </a:lstStyle>
          <a:p>
            <a:pPr lvl="0"/>
            <a:r>
              <a:rPr lang="en-US" noProof="0"/>
              <a:t>Click for a short headline of one line</a:t>
            </a:r>
          </a:p>
        </p:txBody>
      </p:sp>
      <p:sp>
        <p:nvSpPr>
          <p:cNvPr id="28" name="Text Placeholder 7">
            <a:extLst>
              <a:ext uri="{FF2B5EF4-FFF2-40B4-BE49-F238E27FC236}">
                <a16:creationId xmlns:a16="http://schemas.microsoft.com/office/drawing/2014/main" id="{9AFC5A01-2CE1-3843-B90A-FAF0804C9EB4}"/>
              </a:ext>
            </a:extLst>
          </p:cNvPr>
          <p:cNvSpPr>
            <a:spLocks noGrp="1"/>
          </p:cNvSpPr>
          <p:nvPr>
            <p:ph type="body" sz="quarter" idx="32" hasCustomPrompt="1"/>
          </p:nvPr>
        </p:nvSpPr>
        <p:spPr>
          <a:xfrm>
            <a:off x="576000" y="4546800"/>
            <a:ext cx="3481650" cy="844550"/>
          </a:xfrm>
        </p:spPr>
        <p:txBody>
          <a:bodyPr/>
          <a:lstStyle>
            <a:lvl1pPr marL="0" indent="0" algn="ctr">
              <a:lnSpc>
                <a:spcPct val="100000"/>
              </a:lnSpc>
              <a:spcBef>
                <a:spcPts val="0"/>
              </a:spcBef>
              <a:spcAft>
                <a:spcPts val="800"/>
              </a:spcAft>
              <a:buNone/>
              <a:defRPr sz="1800" b="1" spc="40" baseline="0">
                <a:solidFill>
                  <a:schemeClr val="tx1"/>
                </a:solidFill>
              </a:defRPr>
            </a:lvl1pPr>
            <a:lvl2pPr marL="0" indent="0" algn="ctr">
              <a:lnSpc>
                <a:spcPct val="100000"/>
              </a:lnSpc>
              <a:spcBef>
                <a:spcPts val="0"/>
              </a:spcBef>
              <a:spcAft>
                <a:spcPts val="600"/>
              </a:spcAft>
              <a:buNone/>
              <a:defRPr sz="1600" spc="40" baseline="0">
                <a:solidFill>
                  <a:schemeClr val="tx1"/>
                </a:solidFill>
              </a:defRPr>
            </a:lvl2pPr>
            <a:lvl3pPr marL="534988" indent="-168275">
              <a:buFont typeface="System Font Regular"/>
              <a:buChar char="–"/>
              <a:defRPr sz="1200" spc="40" baseline="0">
                <a:solidFill>
                  <a:schemeClr val="bg1"/>
                </a:solidFill>
              </a:defRPr>
            </a:lvl3pPr>
            <a:lvl4pPr>
              <a:defRPr sz="1200" spc="40" baseline="0"/>
            </a:lvl4pPr>
            <a:lvl5pPr>
              <a:defRPr sz="1200" spc="40" baseline="0"/>
            </a:lvl5pPr>
          </a:lstStyle>
          <a:p>
            <a:pPr lvl="0"/>
            <a:r>
              <a:rPr lang="en-US" noProof="0"/>
              <a:t>Click to add text</a:t>
            </a:r>
          </a:p>
          <a:p>
            <a:pPr lvl="1"/>
            <a:r>
              <a:rPr lang="en-US" noProof="0"/>
              <a:t>Second level</a:t>
            </a:r>
          </a:p>
        </p:txBody>
      </p:sp>
      <p:sp>
        <p:nvSpPr>
          <p:cNvPr id="29" name="Chart Placeholder 8">
            <a:extLst>
              <a:ext uri="{FF2B5EF4-FFF2-40B4-BE49-F238E27FC236}">
                <a16:creationId xmlns:a16="http://schemas.microsoft.com/office/drawing/2014/main" id="{72F43D24-E411-A945-9505-57F5F3934E9B}"/>
              </a:ext>
            </a:extLst>
          </p:cNvPr>
          <p:cNvSpPr>
            <a:spLocks noGrp="1"/>
          </p:cNvSpPr>
          <p:nvPr>
            <p:ph type="chart" sz="quarter" idx="34" hasCustomPrompt="1"/>
          </p:nvPr>
        </p:nvSpPr>
        <p:spPr>
          <a:xfrm>
            <a:off x="4353132" y="1744190"/>
            <a:ext cx="3481387" cy="2627962"/>
          </a:xfrm>
        </p:spPr>
        <p:txBody>
          <a:bodyPr/>
          <a:lstStyle>
            <a:lvl1pPr marL="12700" indent="0" algn="ctr">
              <a:buNone/>
              <a:defRPr sz="1300">
                <a:solidFill>
                  <a:schemeClr val="bg2"/>
                </a:solidFill>
              </a:defRPr>
            </a:lvl1pPr>
          </a:lstStyle>
          <a:p>
            <a:r>
              <a:rPr lang="en-US" noProof="0"/>
              <a:t>Click to add chart</a:t>
            </a:r>
          </a:p>
        </p:txBody>
      </p:sp>
      <p:sp>
        <p:nvSpPr>
          <p:cNvPr id="30" name="Text Placeholder 7">
            <a:extLst>
              <a:ext uri="{FF2B5EF4-FFF2-40B4-BE49-F238E27FC236}">
                <a16:creationId xmlns:a16="http://schemas.microsoft.com/office/drawing/2014/main" id="{14E86413-0724-2540-BCE2-3995B7047F65}"/>
              </a:ext>
            </a:extLst>
          </p:cNvPr>
          <p:cNvSpPr>
            <a:spLocks noGrp="1"/>
          </p:cNvSpPr>
          <p:nvPr>
            <p:ph type="body" sz="quarter" idx="35" hasCustomPrompt="1"/>
          </p:nvPr>
        </p:nvSpPr>
        <p:spPr>
          <a:xfrm>
            <a:off x="4352869" y="4546800"/>
            <a:ext cx="3481650" cy="844550"/>
          </a:xfrm>
        </p:spPr>
        <p:txBody>
          <a:bodyPr/>
          <a:lstStyle>
            <a:lvl1pPr marL="0" indent="0" algn="ctr">
              <a:lnSpc>
                <a:spcPct val="100000"/>
              </a:lnSpc>
              <a:spcBef>
                <a:spcPts val="0"/>
              </a:spcBef>
              <a:spcAft>
                <a:spcPts val="800"/>
              </a:spcAft>
              <a:buNone/>
              <a:defRPr sz="1800" b="1" spc="40" baseline="0">
                <a:solidFill>
                  <a:schemeClr val="tx1"/>
                </a:solidFill>
              </a:defRPr>
            </a:lvl1pPr>
            <a:lvl2pPr marL="0" indent="0" algn="ctr">
              <a:lnSpc>
                <a:spcPct val="100000"/>
              </a:lnSpc>
              <a:spcBef>
                <a:spcPts val="0"/>
              </a:spcBef>
              <a:spcAft>
                <a:spcPts val="600"/>
              </a:spcAft>
              <a:buNone/>
              <a:defRPr sz="1600" spc="40" baseline="0">
                <a:solidFill>
                  <a:schemeClr val="tx1"/>
                </a:solidFill>
              </a:defRPr>
            </a:lvl2pPr>
            <a:lvl3pPr marL="534988" indent="-168275">
              <a:buFont typeface="System Font Regular"/>
              <a:buChar char="–"/>
              <a:defRPr sz="1200" spc="40" baseline="0">
                <a:solidFill>
                  <a:schemeClr val="bg1"/>
                </a:solidFill>
              </a:defRPr>
            </a:lvl3pPr>
            <a:lvl4pPr>
              <a:defRPr sz="1200" spc="40" baseline="0"/>
            </a:lvl4pPr>
            <a:lvl5pPr>
              <a:defRPr sz="1200" spc="40" baseline="0"/>
            </a:lvl5pPr>
          </a:lstStyle>
          <a:p>
            <a:pPr lvl="0"/>
            <a:r>
              <a:rPr lang="en-US" noProof="0"/>
              <a:t>Click to add text</a:t>
            </a:r>
          </a:p>
          <a:p>
            <a:pPr lvl="1"/>
            <a:r>
              <a:rPr lang="en-US" noProof="0"/>
              <a:t>Second level</a:t>
            </a:r>
          </a:p>
        </p:txBody>
      </p:sp>
      <p:sp>
        <p:nvSpPr>
          <p:cNvPr id="31" name="Chart Placeholder 8">
            <a:extLst>
              <a:ext uri="{FF2B5EF4-FFF2-40B4-BE49-F238E27FC236}">
                <a16:creationId xmlns:a16="http://schemas.microsoft.com/office/drawing/2014/main" id="{5CCBAE0B-F5C6-B440-9BC0-04285EBC38D9}"/>
              </a:ext>
            </a:extLst>
          </p:cNvPr>
          <p:cNvSpPr>
            <a:spLocks noGrp="1"/>
          </p:cNvSpPr>
          <p:nvPr>
            <p:ph type="chart" sz="quarter" idx="36" hasCustomPrompt="1"/>
          </p:nvPr>
        </p:nvSpPr>
        <p:spPr>
          <a:xfrm>
            <a:off x="8143254" y="1744190"/>
            <a:ext cx="3481387" cy="2627962"/>
          </a:xfrm>
        </p:spPr>
        <p:txBody>
          <a:bodyPr/>
          <a:lstStyle>
            <a:lvl1pPr marL="12700" indent="0" algn="ctr">
              <a:buNone/>
              <a:defRPr sz="1300">
                <a:solidFill>
                  <a:schemeClr val="bg2"/>
                </a:solidFill>
              </a:defRPr>
            </a:lvl1pPr>
          </a:lstStyle>
          <a:p>
            <a:r>
              <a:rPr lang="en-US" noProof="0"/>
              <a:t>Click to add chart</a:t>
            </a:r>
          </a:p>
        </p:txBody>
      </p:sp>
      <p:sp>
        <p:nvSpPr>
          <p:cNvPr id="32" name="Text Placeholder 7">
            <a:extLst>
              <a:ext uri="{FF2B5EF4-FFF2-40B4-BE49-F238E27FC236}">
                <a16:creationId xmlns:a16="http://schemas.microsoft.com/office/drawing/2014/main" id="{A435FA06-C1B7-554E-B0E3-F6B929DF3951}"/>
              </a:ext>
            </a:extLst>
          </p:cNvPr>
          <p:cNvSpPr>
            <a:spLocks noGrp="1"/>
          </p:cNvSpPr>
          <p:nvPr>
            <p:ph type="body" sz="quarter" idx="37" hasCustomPrompt="1"/>
          </p:nvPr>
        </p:nvSpPr>
        <p:spPr>
          <a:xfrm>
            <a:off x="8142991" y="4546800"/>
            <a:ext cx="3481650" cy="844550"/>
          </a:xfrm>
        </p:spPr>
        <p:txBody>
          <a:bodyPr/>
          <a:lstStyle>
            <a:lvl1pPr marL="0" indent="0" algn="ctr">
              <a:lnSpc>
                <a:spcPct val="100000"/>
              </a:lnSpc>
              <a:spcBef>
                <a:spcPts val="0"/>
              </a:spcBef>
              <a:spcAft>
                <a:spcPts val="800"/>
              </a:spcAft>
              <a:buNone/>
              <a:defRPr sz="1800" b="1" spc="40" baseline="0">
                <a:solidFill>
                  <a:schemeClr val="tx1"/>
                </a:solidFill>
              </a:defRPr>
            </a:lvl1pPr>
            <a:lvl2pPr marL="0" indent="0" algn="ctr">
              <a:lnSpc>
                <a:spcPct val="100000"/>
              </a:lnSpc>
              <a:spcBef>
                <a:spcPts val="0"/>
              </a:spcBef>
              <a:spcAft>
                <a:spcPts val="600"/>
              </a:spcAft>
              <a:buNone/>
              <a:defRPr sz="1600" spc="40" baseline="0">
                <a:solidFill>
                  <a:schemeClr val="tx1"/>
                </a:solidFill>
              </a:defRPr>
            </a:lvl2pPr>
            <a:lvl3pPr marL="534988" indent="-168275">
              <a:buFont typeface="System Font Regular"/>
              <a:buChar char="–"/>
              <a:defRPr sz="1200" spc="40" baseline="0">
                <a:solidFill>
                  <a:schemeClr val="bg1"/>
                </a:solidFill>
              </a:defRPr>
            </a:lvl3pPr>
            <a:lvl4pPr>
              <a:defRPr sz="1200" spc="40" baseline="0"/>
            </a:lvl4pPr>
            <a:lvl5pPr>
              <a:defRPr sz="1200" spc="40" baseline="0"/>
            </a:lvl5pPr>
          </a:lstStyle>
          <a:p>
            <a:pPr lvl="0"/>
            <a:r>
              <a:rPr lang="en-US" noProof="0"/>
              <a:t>Click to add text</a:t>
            </a:r>
          </a:p>
          <a:p>
            <a:pPr lvl="1"/>
            <a:r>
              <a:rPr lang="en-US" noProof="0"/>
              <a:t>Second level</a:t>
            </a:r>
          </a:p>
        </p:txBody>
      </p:sp>
      <p:sp>
        <p:nvSpPr>
          <p:cNvPr id="13" name="textruta 12">
            <a:extLst>
              <a:ext uri="{FF2B5EF4-FFF2-40B4-BE49-F238E27FC236}">
                <a16:creationId xmlns:a16="http://schemas.microsoft.com/office/drawing/2014/main" id="{63744D4E-7A14-FF4F-97C0-C9226745D29A}"/>
              </a:ext>
            </a:extLst>
          </p:cNvPr>
          <p:cNvSpPr txBox="1"/>
          <p:nvPr userDrawn="1"/>
        </p:nvSpPr>
        <p:spPr>
          <a:xfrm>
            <a:off x="12395260" y="4546800"/>
            <a:ext cx="1681523" cy="1754326"/>
          </a:xfrm>
          <a:prstGeom prst="rect">
            <a:avLst/>
          </a:prstGeom>
          <a:solidFill>
            <a:schemeClr val="tx1"/>
          </a:solidFill>
          <a:effectLst/>
        </p:spPr>
        <p:txBody>
          <a:bodyPr wrap="square" rtlCol="0" anchor="ctr" anchorCtr="0">
            <a:spAutoFit/>
          </a:bodyPr>
          <a:lstStyle/>
          <a:p>
            <a:pPr algn="ctr"/>
            <a:r>
              <a:rPr lang="en-US" sz="900" baseline="0" noProof="0">
                <a:solidFill>
                  <a:schemeClr val="bg1">
                    <a:lumMod val="65000"/>
                    <a:lumOff val="35000"/>
                  </a:schemeClr>
                </a:solidFill>
                <a:latin typeface="+mn-lt"/>
                <a:cs typeface="Arial" panose="020B0604020202020204" pitchFamily="34" charset="0"/>
              </a:rPr>
              <a:t>To change from </a:t>
            </a:r>
            <a:r>
              <a:rPr lang="en-US" sz="900" b="1" baseline="0" noProof="0">
                <a:solidFill>
                  <a:schemeClr val="bg1">
                    <a:lumMod val="65000"/>
                    <a:lumOff val="35000"/>
                  </a:schemeClr>
                </a:solidFill>
                <a:latin typeface="+mn-lt"/>
                <a:cs typeface="Arial" panose="020B0604020202020204" pitchFamily="34" charset="0"/>
              </a:rPr>
              <a:t>headline</a:t>
            </a:r>
            <a:r>
              <a:rPr lang="en-US" sz="900" baseline="0" noProof="0">
                <a:solidFill>
                  <a:schemeClr val="bg1">
                    <a:lumMod val="65000"/>
                    <a:lumOff val="35000"/>
                  </a:schemeClr>
                </a:solidFill>
                <a:latin typeface="+mn-lt"/>
                <a:cs typeface="Arial" panose="020B0604020202020204" pitchFamily="34" charset="0"/>
              </a:rPr>
              <a:t> to </a:t>
            </a:r>
            <a:r>
              <a:rPr lang="en-US" sz="900" b="1" baseline="0" noProof="0">
                <a:solidFill>
                  <a:schemeClr val="bg1">
                    <a:lumMod val="65000"/>
                    <a:lumOff val="35000"/>
                  </a:schemeClr>
                </a:solidFill>
                <a:latin typeface="+mn-lt"/>
                <a:cs typeface="Arial" panose="020B0604020202020204" pitchFamily="34" charset="0"/>
              </a:rPr>
              <a:t>body text </a:t>
            </a:r>
            <a:r>
              <a:rPr lang="en-US" sz="900" baseline="0" noProof="0">
                <a:solidFill>
                  <a:schemeClr val="bg1">
                    <a:lumMod val="65000"/>
                    <a:lumOff val="35000"/>
                  </a:schemeClr>
                </a:solidFill>
                <a:latin typeface="+mn-lt"/>
                <a:cs typeface="Arial" panose="020B0604020202020204" pitchFamily="34" charset="0"/>
              </a:rPr>
              <a:t>or to </a:t>
            </a:r>
            <a:r>
              <a:rPr lang="en-US" sz="900" b="1" baseline="0" noProof="0">
                <a:solidFill>
                  <a:schemeClr val="bg1">
                    <a:lumMod val="65000"/>
                    <a:lumOff val="35000"/>
                  </a:schemeClr>
                </a:solidFill>
                <a:latin typeface="+mn-lt"/>
                <a:cs typeface="Arial" panose="020B0604020202020204" pitchFamily="34" charset="0"/>
              </a:rPr>
              <a:t>use bullets</a:t>
            </a:r>
            <a:r>
              <a:rPr lang="en-US" sz="900" baseline="0" noProof="0">
                <a:solidFill>
                  <a:schemeClr val="bg1">
                    <a:lumMod val="65000"/>
                    <a:lumOff val="35000"/>
                  </a:schemeClr>
                </a:solidFill>
                <a:latin typeface="+mn-lt"/>
                <a:cs typeface="Arial" panose="020B0604020202020204" pitchFamily="34" charset="0"/>
              </a:rPr>
              <a:t>, press </a:t>
            </a:r>
            <a:r>
              <a:rPr lang="en-US" sz="900" b="1" baseline="0" noProof="0">
                <a:solidFill>
                  <a:schemeClr val="bg1">
                    <a:lumMod val="65000"/>
                    <a:lumOff val="35000"/>
                  </a:schemeClr>
                </a:solidFill>
                <a:latin typeface="+mn-lt"/>
                <a:cs typeface="Arial" panose="020B0604020202020204" pitchFamily="34" charset="0"/>
              </a:rPr>
              <a:t>enter/return </a:t>
            </a:r>
            <a:r>
              <a:rPr lang="en-US" sz="900" baseline="0" noProof="0">
                <a:solidFill>
                  <a:schemeClr val="bg1">
                    <a:lumMod val="65000"/>
                    <a:lumOff val="35000"/>
                  </a:schemeClr>
                </a:solidFill>
                <a:latin typeface="+mn-lt"/>
                <a:cs typeface="Arial" panose="020B0604020202020204" pitchFamily="34" charset="0"/>
              </a:rPr>
              <a:t>after your headline then use this function toggle to body text.</a:t>
            </a:r>
          </a:p>
          <a:p>
            <a:pPr algn="ctr"/>
            <a:endParaRPr lang="en-US" sz="900" baseline="0" noProof="0">
              <a:solidFill>
                <a:schemeClr val="bg1">
                  <a:lumMod val="65000"/>
                  <a:lumOff val="35000"/>
                </a:schemeClr>
              </a:solidFill>
              <a:latin typeface="+mn-lt"/>
              <a:cs typeface="Arial" panose="020B0604020202020204" pitchFamily="34" charset="0"/>
            </a:endParaRPr>
          </a:p>
          <a:p>
            <a:pPr algn="ctr"/>
            <a:endParaRPr lang="en-US" sz="900" baseline="0" noProof="0">
              <a:solidFill>
                <a:schemeClr val="bg1">
                  <a:lumMod val="65000"/>
                  <a:lumOff val="35000"/>
                </a:schemeClr>
              </a:solidFill>
              <a:latin typeface="+mn-lt"/>
              <a:cs typeface="Arial" panose="020B0604020202020204" pitchFamily="34" charset="0"/>
            </a:endParaRPr>
          </a:p>
          <a:p>
            <a:pPr algn="ctr"/>
            <a:endParaRPr lang="en-US" sz="900" baseline="0" noProof="0">
              <a:solidFill>
                <a:schemeClr val="bg1">
                  <a:lumMod val="65000"/>
                  <a:lumOff val="35000"/>
                </a:schemeClr>
              </a:solidFill>
              <a:latin typeface="+mn-lt"/>
              <a:cs typeface="Arial" panose="020B0604020202020204" pitchFamily="34" charset="0"/>
            </a:endParaRPr>
          </a:p>
          <a:p>
            <a:pPr algn="ctr"/>
            <a:endParaRPr lang="en-US" sz="900" baseline="0" noProof="0">
              <a:solidFill>
                <a:schemeClr val="bg1">
                  <a:lumMod val="65000"/>
                  <a:lumOff val="35000"/>
                </a:schemeClr>
              </a:solidFill>
              <a:latin typeface="+mn-lt"/>
              <a:cs typeface="Arial" panose="020B0604020202020204" pitchFamily="34" charset="0"/>
            </a:endParaRPr>
          </a:p>
          <a:p>
            <a:pPr algn="ctr"/>
            <a:endParaRPr lang="en-US" sz="900" baseline="0" noProof="0">
              <a:solidFill>
                <a:schemeClr val="bg1">
                  <a:lumMod val="65000"/>
                  <a:lumOff val="35000"/>
                </a:schemeClr>
              </a:solidFill>
              <a:latin typeface="+mn-lt"/>
              <a:cs typeface="Arial" panose="020B0604020202020204" pitchFamily="34" charset="0"/>
            </a:endParaRPr>
          </a:p>
          <a:p>
            <a:pPr algn="ctr"/>
            <a:endParaRPr lang="en-US" sz="900" baseline="0" noProof="0">
              <a:solidFill>
                <a:schemeClr val="bg1">
                  <a:lumMod val="65000"/>
                  <a:lumOff val="35000"/>
                </a:schemeClr>
              </a:solidFill>
              <a:latin typeface="+mn-lt"/>
              <a:cs typeface="Arial" panose="020B0604020202020204" pitchFamily="34" charset="0"/>
            </a:endParaRPr>
          </a:p>
          <a:p>
            <a:pPr algn="ctr"/>
            <a:endParaRPr lang="en-US" sz="900" baseline="0" noProof="0">
              <a:solidFill>
                <a:schemeClr val="bg1">
                  <a:lumMod val="65000"/>
                  <a:lumOff val="35000"/>
                </a:schemeClr>
              </a:solidFill>
              <a:latin typeface="+mn-lt"/>
              <a:cs typeface="Arial" panose="020B0604020202020204" pitchFamily="34" charset="0"/>
            </a:endParaRPr>
          </a:p>
        </p:txBody>
      </p:sp>
      <p:pic>
        <p:nvPicPr>
          <p:cNvPr id="14" name="Picture 9">
            <a:extLst>
              <a:ext uri="{FF2B5EF4-FFF2-40B4-BE49-F238E27FC236}">
                <a16:creationId xmlns:a16="http://schemas.microsoft.com/office/drawing/2014/main" id="{3F3058FB-111D-F94F-98E7-6D404384832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
          <a:stretch/>
        </p:blipFill>
        <p:spPr>
          <a:xfrm>
            <a:off x="12522649" y="5451009"/>
            <a:ext cx="1422121" cy="721417"/>
          </a:xfrm>
          <a:prstGeom prst="rect">
            <a:avLst/>
          </a:prstGeom>
          <a:ln w="9525">
            <a:solidFill>
              <a:schemeClr val="tx2"/>
            </a:solidFill>
          </a:ln>
        </p:spPr>
      </p:pic>
      <p:sp>
        <p:nvSpPr>
          <p:cNvPr id="15" name="Oval 4">
            <a:extLst>
              <a:ext uri="{FF2B5EF4-FFF2-40B4-BE49-F238E27FC236}">
                <a16:creationId xmlns:a16="http://schemas.microsoft.com/office/drawing/2014/main" id="{1FC2FDB8-C7B2-5948-88E5-7395C14F114A}"/>
              </a:ext>
            </a:extLst>
          </p:cNvPr>
          <p:cNvSpPr/>
          <p:nvPr userDrawn="1"/>
        </p:nvSpPr>
        <p:spPr>
          <a:xfrm>
            <a:off x="13194299" y="5674306"/>
            <a:ext cx="282818" cy="282818"/>
          </a:xfrm>
          <a:prstGeom prst="ellipse">
            <a:avLst/>
          </a:prstGeom>
          <a:solidFill>
            <a:schemeClr val="bg1">
              <a:lumMod val="95000"/>
              <a:alpha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latin typeface="+mn-lt"/>
            </a:endParaRPr>
          </a:p>
        </p:txBody>
      </p:sp>
      <p:cxnSp>
        <p:nvCxnSpPr>
          <p:cNvPr id="16" name="Connector: Elbow 131">
            <a:extLst>
              <a:ext uri="{FF2B5EF4-FFF2-40B4-BE49-F238E27FC236}">
                <a16:creationId xmlns:a16="http://schemas.microsoft.com/office/drawing/2014/main" id="{4D094D2D-E3E2-8541-9B95-68913F6FD08E}"/>
              </a:ext>
            </a:extLst>
          </p:cNvPr>
          <p:cNvCxnSpPr>
            <a:cxnSpLocks/>
            <a:endCxn id="15" idx="0"/>
          </p:cNvCxnSpPr>
          <p:nvPr userDrawn="1"/>
        </p:nvCxnSpPr>
        <p:spPr>
          <a:xfrm rot="5400000">
            <a:off x="13324711" y="5402486"/>
            <a:ext cx="282818" cy="260823"/>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ruta 5">
            <a:extLst>
              <a:ext uri="{FF2B5EF4-FFF2-40B4-BE49-F238E27FC236}">
                <a16:creationId xmlns:a16="http://schemas.microsoft.com/office/drawing/2014/main" id="{41A9DA98-B5D5-0648-9A5D-6CF702CA3812}"/>
              </a:ext>
            </a:extLst>
          </p:cNvPr>
          <p:cNvSpPr txBox="1"/>
          <p:nvPr userDrawn="1"/>
        </p:nvSpPr>
        <p:spPr>
          <a:xfrm>
            <a:off x="12395260" y="1453483"/>
            <a:ext cx="1681523" cy="646331"/>
          </a:xfrm>
          <a:prstGeom prst="rect">
            <a:avLst/>
          </a:prstGeom>
          <a:solidFill>
            <a:schemeClr val="tx1"/>
          </a:solidFill>
          <a:effectLst/>
        </p:spPr>
        <p:txBody>
          <a:bodyPr wrap="square" rtlCol="0" anchor="ctr" anchorCtr="0">
            <a:spAutoFit/>
          </a:bodyPr>
          <a:lstStyle/>
          <a:p>
            <a:pPr algn="ctr"/>
            <a:r>
              <a:rPr lang="en-US" sz="900" baseline="0" noProof="0">
                <a:solidFill>
                  <a:schemeClr val="bg1">
                    <a:lumMod val="65000"/>
                    <a:lumOff val="35000"/>
                  </a:schemeClr>
                </a:solidFill>
                <a:latin typeface="Arial" panose="020B0604020202020204" pitchFamily="34" charset="0"/>
                <a:cs typeface="Arial" panose="020B0604020202020204" pitchFamily="34" charset="0"/>
              </a:rPr>
              <a:t>If the textboxes disappears after adding or changing an image, </a:t>
            </a:r>
            <a:r>
              <a:rPr lang="en-US" sz="900" b="1" baseline="0" noProof="0">
                <a:solidFill>
                  <a:schemeClr val="bg1">
                    <a:lumMod val="65000"/>
                    <a:lumOff val="35000"/>
                  </a:schemeClr>
                </a:solidFill>
                <a:latin typeface="Arial" panose="020B0604020202020204" pitchFamily="34" charset="0"/>
                <a:cs typeface="Arial" panose="020B0604020202020204" pitchFamily="34" charset="0"/>
              </a:rPr>
              <a:t>right click the image </a:t>
            </a:r>
            <a:r>
              <a:rPr lang="en-US" sz="900" baseline="0" noProof="0">
                <a:solidFill>
                  <a:schemeClr val="bg1">
                    <a:lumMod val="65000"/>
                    <a:lumOff val="35000"/>
                  </a:schemeClr>
                </a:solidFill>
                <a:latin typeface="Arial" panose="020B0604020202020204" pitchFamily="34" charset="0"/>
                <a:cs typeface="Arial" panose="020B0604020202020204" pitchFamily="34" charset="0"/>
              </a:rPr>
              <a:t>and use – </a:t>
            </a:r>
            <a:r>
              <a:rPr lang="en-US" sz="900" b="1" noProof="0">
                <a:solidFill>
                  <a:schemeClr val="bg1">
                    <a:lumMod val="65000"/>
                    <a:lumOff val="35000"/>
                  </a:schemeClr>
                </a:solidFill>
                <a:latin typeface="Arial" panose="020B0604020202020204" pitchFamily="34" charset="0"/>
                <a:cs typeface="Arial" panose="020B0604020202020204" pitchFamily="34" charset="0"/>
              </a:rPr>
              <a:t>S</a:t>
            </a:r>
            <a:r>
              <a:rPr lang="en-US" sz="900" b="1" baseline="0" noProof="0">
                <a:solidFill>
                  <a:schemeClr val="bg1">
                    <a:lumMod val="65000"/>
                    <a:lumOff val="35000"/>
                  </a:schemeClr>
                </a:solidFill>
                <a:latin typeface="Arial" panose="020B0604020202020204" pitchFamily="34" charset="0"/>
                <a:cs typeface="Arial" panose="020B0604020202020204" pitchFamily="34" charset="0"/>
              </a:rPr>
              <a:t>end to back</a:t>
            </a:r>
          </a:p>
        </p:txBody>
      </p:sp>
      <p:sp>
        <p:nvSpPr>
          <p:cNvPr id="20" name="textruta 19">
            <a:extLst>
              <a:ext uri="{FF2B5EF4-FFF2-40B4-BE49-F238E27FC236}">
                <a16:creationId xmlns:a16="http://schemas.microsoft.com/office/drawing/2014/main" id="{52CE317C-77EC-F049-9E9A-98EBFC8D922D}"/>
              </a:ext>
            </a:extLst>
          </p:cNvPr>
          <p:cNvSpPr txBox="1"/>
          <p:nvPr userDrawn="1"/>
        </p:nvSpPr>
        <p:spPr>
          <a:xfrm>
            <a:off x="12395260" y="-12189"/>
            <a:ext cx="1681523" cy="1338828"/>
          </a:xfrm>
          <a:prstGeom prst="rect">
            <a:avLst/>
          </a:prstGeom>
          <a:solidFill>
            <a:schemeClr val="tx1"/>
          </a:solidFill>
          <a:effectLst/>
        </p:spPr>
        <p:txBody>
          <a:bodyPr wrap="square" rtlCol="0" anchor="ctr" anchorCtr="0">
            <a:spAutoFit/>
          </a:bodyPr>
          <a:lstStyle/>
          <a:p>
            <a:pPr algn="ctr"/>
            <a:r>
              <a:rPr lang="en-US" sz="900" baseline="0" noProof="0">
                <a:solidFill>
                  <a:schemeClr val="bg1">
                    <a:lumMod val="65000"/>
                    <a:lumOff val="35000"/>
                  </a:schemeClr>
                </a:solidFill>
                <a:latin typeface="Arial" panose="020B0604020202020204" pitchFamily="34" charset="0"/>
                <a:cs typeface="Arial" panose="020B0604020202020204" pitchFamily="34" charset="0"/>
              </a:rPr>
              <a:t>If you need to change the color of the logo, right click outside work area, choose </a:t>
            </a:r>
            <a:r>
              <a:rPr lang="en-US" sz="900" b="1" baseline="0" noProof="0">
                <a:solidFill>
                  <a:schemeClr val="bg1">
                    <a:lumMod val="65000"/>
                    <a:lumOff val="35000"/>
                  </a:schemeClr>
                </a:solidFill>
                <a:latin typeface="Arial" panose="020B0604020202020204" pitchFamily="34" charset="0"/>
                <a:cs typeface="Arial" panose="020B0604020202020204" pitchFamily="34" charset="0"/>
              </a:rPr>
              <a:t>Format Background </a:t>
            </a:r>
            <a:r>
              <a:rPr lang="en-US" sz="900" baseline="0" noProof="0">
                <a:solidFill>
                  <a:schemeClr val="bg1">
                    <a:lumMod val="65000"/>
                    <a:lumOff val="35000"/>
                  </a:schemeClr>
                </a:solidFill>
                <a:latin typeface="Arial" panose="020B0604020202020204" pitchFamily="34" charset="0"/>
                <a:cs typeface="Arial" panose="020B0604020202020204" pitchFamily="34" charset="0"/>
              </a:rPr>
              <a:t>from context menu and choose </a:t>
            </a:r>
            <a:r>
              <a:rPr lang="en-US" sz="900" b="1" baseline="0" noProof="0">
                <a:solidFill>
                  <a:schemeClr val="bg1">
                    <a:lumMod val="65000"/>
                    <a:lumOff val="35000"/>
                  </a:schemeClr>
                </a:solidFill>
                <a:latin typeface="Arial" panose="020B0604020202020204" pitchFamily="34" charset="0"/>
                <a:cs typeface="Arial" panose="020B0604020202020204" pitchFamily="34" charset="0"/>
              </a:rPr>
              <a:t>Solid fill</a:t>
            </a:r>
            <a:r>
              <a:rPr lang="en-US" sz="900" baseline="0" noProof="0">
                <a:solidFill>
                  <a:schemeClr val="bg1">
                    <a:lumMod val="65000"/>
                    <a:lumOff val="35000"/>
                  </a:schemeClr>
                </a:solidFill>
                <a:latin typeface="Arial" panose="020B0604020202020204" pitchFamily="34" charset="0"/>
                <a:cs typeface="Arial" panose="020B0604020202020204" pitchFamily="34" charset="0"/>
              </a:rPr>
              <a:t> – </a:t>
            </a:r>
            <a:r>
              <a:rPr lang="en-US" sz="900" b="1" baseline="0" noProof="0">
                <a:solidFill>
                  <a:schemeClr val="bg1">
                    <a:lumMod val="65000"/>
                    <a:lumOff val="35000"/>
                  </a:schemeClr>
                </a:solidFill>
                <a:latin typeface="Arial" panose="020B0604020202020204" pitchFamily="34" charset="0"/>
                <a:cs typeface="Arial" panose="020B0604020202020204" pitchFamily="34" charset="0"/>
              </a:rPr>
              <a:t>White or Blue</a:t>
            </a:r>
          </a:p>
          <a:p>
            <a:pPr algn="ctr"/>
            <a:endParaRPr lang="en-US" sz="900" baseline="0" noProof="0">
              <a:solidFill>
                <a:schemeClr val="bg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bg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bg1">
                  <a:lumMod val="65000"/>
                  <a:lumOff val="35000"/>
                </a:schemeClr>
              </a:solidFill>
              <a:latin typeface="Arial" panose="020B0604020202020204" pitchFamily="34" charset="0"/>
              <a:cs typeface="Arial" panose="020B0604020202020204" pitchFamily="34" charset="0"/>
            </a:endParaRPr>
          </a:p>
        </p:txBody>
      </p:sp>
      <p:sp>
        <p:nvSpPr>
          <p:cNvPr id="21" name="Rektangel 20">
            <a:extLst>
              <a:ext uri="{FF2B5EF4-FFF2-40B4-BE49-F238E27FC236}">
                <a16:creationId xmlns:a16="http://schemas.microsoft.com/office/drawing/2014/main" id="{38DDAB0F-E6C9-D640-856D-C484C7777781}"/>
              </a:ext>
            </a:extLst>
          </p:cNvPr>
          <p:cNvSpPr/>
          <p:nvPr userDrawn="1"/>
        </p:nvSpPr>
        <p:spPr>
          <a:xfrm>
            <a:off x="13255337" y="926211"/>
            <a:ext cx="341194" cy="30590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2" name="Rektangel 21">
            <a:extLst>
              <a:ext uri="{FF2B5EF4-FFF2-40B4-BE49-F238E27FC236}">
                <a16:creationId xmlns:a16="http://schemas.microsoft.com/office/drawing/2014/main" id="{485A4234-7053-054A-A6BF-061561FBBB87}"/>
              </a:ext>
            </a:extLst>
          </p:cNvPr>
          <p:cNvSpPr/>
          <p:nvPr userDrawn="1"/>
        </p:nvSpPr>
        <p:spPr>
          <a:xfrm>
            <a:off x="12833410" y="926211"/>
            <a:ext cx="341194" cy="305904"/>
          </a:xfrm>
          <a:prstGeom prst="rect">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3" name="Platshållare för datum 3">
            <a:extLst>
              <a:ext uri="{FF2B5EF4-FFF2-40B4-BE49-F238E27FC236}">
                <a16:creationId xmlns:a16="http://schemas.microsoft.com/office/drawing/2014/main" id="{AF83C049-500D-814C-8644-19FD6F50A73B}"/>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tx2"/>
                </a:solidFill>
              </a:defRPr>
            </a:lvl1pPr>
          </a:lstStyle>
          <a:p>
            <a:fld id="{2F9806AD-009B-8D45-82A9-B9E8234B6322}" type="datetime1">
              <a:rPr lang="en-US" noProof="0" smtClean="0"/>
              <a:t>10/17/2023</a:t>
            </a:fld>
            <a:endParaRPr lang="en-US" noProof="0"/>
          </a:p>
        </p:txBody>
      </p:sp>
      <p:sp>
        <p:nvSpPr>
          <p:cNvPr id="24" name="Platshållare för sidfot 4">
            <a:extLst>
              <a:ext uri="{FF2B5EF4-FFF2-40B4-BE49-F238E27FC236}">
                <a16:creationId xmlns:a16="http://schemas.microsoft.com/office/drawing/2014/main" id="{666E57CC-AB24-3E4D-8A37-80E672D3ACE9}"/>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tx2"/>
                </a:solidFill>
              </a:defRPr>
            </a:lvl1pPr>
          </a:lstStyle>
          <a:p>
            <a:r>
              <a:rPr lang="en-US" noProof="0"/>
              <a:t>Go to header/footer to change text </a:t>
            </a:r>
          </a:p>
        </p:txBody>
      </p:sp>
      <p:sp>
        <p:nvSpPr>
          <p:cNvPr id="25" name="Platshållare för bildnummer 5">
            <a:extLst>
              <a:ext uri="{FF2B5EF4-FFF2-40B4-BE49-F238E27FC236}">
                <a16:creationId xmlns:a16="http://schemas.microsoft.com/office/drawing/2014/main" id="{3494CCD3-1EDC-7444-A47F-9ABE059A0A5D}"/>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tx2"/>
                </a:solidFill>
              </a:defRPr>
            </a:lvl1pPr>
          </a:lstStyle>
          <a:p>
            <a:fld id="{EF8DBD5B-30F9-4F9C-AE39-E065C1AC514D}" type="slidenum">
              <a:rPr lang="en-US" noProof="0" smtClean="0"/>
              <a:pPr/>
              <a:t>‹#›</a:t>
            </a:fld>
            <a:endParaRPr lang="en-US" noProof="0"/>
          </a:p>
        </p:txBody>
      </p:sp>
    </p:spTree>
    <p:extLst>
      <p:ext uri="{BB962C8B-B14F-4D97-AF65-F5344CB8AC3E}">
        <p14:creationId xmlns:p14="http://schemas.microsoft.com/office/powerpoint/2010/main" val="3909762721"/>
      </p:ext>
    </p:extLst>
  </p:cSld>
  <p:clrMapOvr>
    <a:overrideClrMapping bg1="dk1" tx1="lt1" bg2="dk2" tx2="lt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7 Text Image Chart Grey">
    <p:bg>
      <p:bgPr>
        <a:solidFill>
          <a:schemeClr val="tx2"/>
        </a:solidFill>
        <a:effectLst/>
      </p:bgPr>
    </p:bg>
    <p:spTree>
      <p:nvGrpSpPr>
        <p:cNvPr id="1" name=""/>
        <p:cNvGrpSpPr/>
        <p:nvPr/>
      </p:nvGrpSpPr>
      <p:grpSpPr>
        <a:xfrm>
          <a:off x="0" y="0"/>
          <a:ext cx="0" cy="0"/>
          <a:chOff x="0" y="0"/>
          <a:chExt cx="0" cy="0"/>
        </a:xfrm>
      </p:grpSpPr>
      <p:sp>
        <p:nvSpPr>
          <p:cNvPr id="11" name="Rektangel 33">
            <a:extLst>
              <a:ext uri="{FF2B5EF4-FFF2-40B4-BE49-F238E27FC236}">
                <a16:creationId xmlns:a16="http://schemas.microsoft.com/office/drawing/2014/main" id="{2F19A064-1249-6F46-8F80-C6115CCF13F7}"/>
              </a:ext>
            </a:extLst>
          </p:cNvPr>
          <p:cNvSpPr/>
          <p:nvPr userDrawn="1"/>
        </p:nvSpPr>
        <p:spPr>
          <a:xfrm>
            <a:off x="7829550" y="0"/>
            <a:ext cx="436245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5" name="Picture Placeholder 14">
            <a:extLst>
              <a:ext uri="{FF2B5EF4-FFF2-40B4-BE49-F238E27FC236}">
                <a16:creationId xmlns:a16="http://schemas.microsoft.com/office/drawing/2014/main" id="{27EFD137-4B99-8842-A5F6-821FCB02CC2F}"/>
              </a:ext>
            </a:extLst>
          </p:cNvPr>
          <p:cNvSpPr>
            <a:spLocks noGrp="1"/>
          </p:cNvSpPr>
          <p:nvPr>
            <p:ph type="pic" sz="quarter" idx="13" hasCustomPrompt="1"/>
          </p:nvPr>
        </p:nvSpPr>
        <p:spPr>
          <a:xfrm>
            <a:off x="5" y="5"/>
            <a:ext cx="7838843" cy="6857997"/>
          </a:xfrm>
          <a:custGeom>
            <a:avLst/>
            <a:gdLst>
              <a:gd name="connsiteX0" fmla="*/ 1146049 w 7838843"/>
              <a:gd name="connsiteY0" fmla="*/ 6470534 h 6857997"/>
              <a:gd name="connsiteX1" fmla="*/ 1157832 w 7838843"/>
              <a:gd name="connsiteY1" fmla="*/ 6505507 h 6857997"/>
              <a:gd name="connsiteX2" fmla="*/ 1134642 w 7838843"/>
              <a:gd name="connsiteY2" fmla="*/ 6505507 h 6857997"/>
              <a:gd name="connsiteX3" fmla="*/ 788170 w 7838843"/>
              <a:gd name="connsiteY3" fmla="*/ 6470534 h 6857997"/>
              <a:gd name="connsiteX4" fmla="*/ 799953 w 7838843"/>
              <a:gd name="connsiteY4" fmla="*/ 6505507 h 6857997"/>
              <a:gd name="connsiteX5" fmla="*/ 776763 w 7838843"/>
              <a:gd name="connsiteY5" fmla="*/ 6505507 h 6857997"/>
              <a:gd name="connsiteX6" fmla="*/ 1132323 w 7838843"/>
              <a:gd name="connsiteY6" fmla="*/ 6451543 h 6857997"/>
              <a:gd name="connsiteX7" fmla="*/ 1100860 w 7838843"/>
              <a:gd name="connsiteY7" fmla="*/ 6542674 h 6857997"/>
              <a:gd name="connsiteX8" fmla="*/ 1123110 w 7838843"/>
              <a:gd name="connsiteY8" fmla="*/ 6542674 h 6857997"/>
              <a:gd name="connsiteX9" fmla="*/ 1128876 w 7838843"/>
              <a:gd name="connsiteY9" fmla="*/ 6524060 h 6857997"/>
              <a:gd name="connsiteX10" fmla="*/ 1163786 w 7838843"/>
              <a:gd name="connsiteY10" fmla="*/ 6524060 h 6857997"/>
              <a:gd name="connsiteX11" fmla="*/ 1169741 w 7838843"/>
              <a:gd name="connsiteY11" fmla="*/ 6542674 h 6857997"/>
              <a:gd name="connsiteX12" fmla="*/ 1191615 w 7838843"/>
              <a:gd name="connsiteY12" fmla="*/ 6542674 h 6857997"/>
              <a:gd name="connsiteX13" fmla="*/ 1159148 w 7838843"/>
              <a:gd name="connsiteY13" fmla="*/ 6451543 h 6857997"/>
              <a:gd name="connsiteX14" fmla="*/ 961907 w 7838843"/>
              <a:gd name="connsiteY14" fmla="*/ 6451543 h 6857997"/>
              <a:gd name="connsiteX15" fmla="*/ 933640 w 7838843"/>
              <a:gd name="connsiteY15" fmla="*/ 6479246 h 6857997"/>
              <a:gd name="connsiteX16" fmla="*/ 961907 w 7838843"/>
              <a:gd name="connsiteY16" fmla="*/ 6505821 h 6857997"/>
              <a:gd name="connsiteX17" fmla="*/ 983468 w 7838843"/>
              <a:gd name="connsiteY17" fmla="*/ 6505821 h 6857997"/>
              <a:gd name="connsiteX18" fmla="*/ 991678 w 7838843"/>
              <a:gd name="connsiteY18" fmla="*/ 6514282 h 6857997"/>
              <a:gd name="connsiteX19" fmla="*/ 983468 w 7838843"/>
              <a:gd name="connsiteY19" fmla="*/ 6522743 h 6857997"/>
              <a:gd name="connsiteX20" fmla="*/ 937338 w 7838843"/>
              <a:gd name="connsiteY20" fmla="*/ 6522743 h 6857997"/>
              <a:gd name="connsiteX21" fmla="*/ 937338 w 7838843"/>
              <a:gd name="connsiteY21" fmla="*/ 6542674 h 6857997"/>
              <a:gd name="connsiteX22" fmla="*/ 982716 w 7838843"/>
              <a:gd name="connsiteY22" fmla="*/ 6542674 h 6857997"/>
              <a:gd name="connsiteX23" fmla="*/ 1011358 w 7838843"/>
              <a:gd name="connsiteY23" fmla="*/ 6514282 h 6857997"/>
              <a:gd name="connsiteX24" fmla="*/ 986727 w 7838843"/>
              <a:gd name="connsiteY24" fmla="*/ 6487707 h 6857997"/>
              <a:gd name="connsiteX25" fmla="*/ 961907 w 7838843"/>
              <a:gd name="connsiteY25" fmla="*/ 6487707 h 6857997"/>
              <a:gd name="connsiteX26" fmla="*/ 953321 w 7838843"/>
              <a:gd name="connsiteY26" fmla="*/ 6479246 h 6857997"/>
              <a:gd name="connsiteX27" fmla="*/ 961907 w 7838843"/>
              <a:gd name="connsiteY27" fmla="*/ 6470785 h 6857997"/>
              <a:gd name="connsiteX28" fmla="*/ 1004965 w 7838843"/>
              <a:gd name="connsiteY28" fmla="*/ 6470785 h 6857997"/>
              <a:gd name="connsiteX29" fmla="*/ 1004965 w 7838843"/>
              <a:gd name="connsiteY29" fmla="*/ 6451543 h 6857997"/>
              <a:gd name="connsiteX30" fmla="*/ 841570 w 7838843"/>
              <a:gd name="connsiteY30" fmla="*/ 6451543 h 6857997"/>
              <a:gd name="connsiteX31" fmla="*/ 841570 w 7838843"/>
              <a:gd name="connsiteY31" fmla="*/ 6542674 h 6857997"/>
              <a:gd name="connsiteX32" fmla="*/ 862692 w 7838843"/>
              <a:gd name="connsiteY32" fmla="*/ 6542674 h 6857997"/>
              <a:gd name="connsiteX33" fmla="*/ 862692 w 7838843"/>
              <a:gd name="connsiteY33" fmla="*/ 6486454 h 6857997"/>
              <a:gd name="connsiteX34" fmla="*/ 898981 w 7838843"/>
              <a:gd name="connsiteY34" fmla="*/ 6542486 h 6857997"/>
              <a:gd name="connsiteX35" fmla="*/ 898981 w 7838843"/>
              <a:gd name="connsiteY35" fmla="*/ 6542674 h 6857997"/>
              <a:gd name="connsiteX36" fmla="*/ 920855 w 7838843"/>
              <a:gd name="connsiteY36" fmla="*/ 6542674 h 6857997"/>
              <a:gd name="connsiteX37" fmla="*/ 920793 w 7838843"/>
              <a:gd name="connsiteY37" fmla="*/ 6522994 h 6857997"/>
              <a:gd name="connsiteX38" fmla="*/ 920667 w 7838843"/>
              <a:gd name="connsiteY38" fmla="*/ 6451543 h 6857997"/>
              <a:gd name="connsiteX39" fmla="*/ 899671 w 7838843"/>
              <a:gd name="connsiteY39" fmla="*/ 6451543 h 6857997"/>
              <a:gd name="connsiteX40" fmla="*/ 899671 w 7838843"/>
              <a:gd name="connsiteY40" fmla="*/ 6508829 h 6857997"/>
              <a:gd name="connsiteX41" fmla="*/ 863068 w 7838843"/>
              <a:gd name="connsiteY41" fmla="*/ 6451543 h 6857997"/>
              <a:gd name="connsiteX42" fmla="*/ 774444 w 7838843"/>
              <a:gd name="connsiteY42" fmla="*/ 6451543 h 6857997"/>
              <a:gd name="connsiteX43" fmla="*/ 742918 w 7838843"/>
              <a:gd name="connsiteY43" fmla="*/ 6542674 h 6857997"/>
              <a:gd name="connsiteX44" fmla="*/ 765168 w 7838843"/>
              <a:gd name="connsiteY44" fmla="*/ 6542674 h 6857997"/>
              <a:gd name="connsiteX45" fmla="*/ 770934 w 7838843"/>
              <a:gd name="connsiteY45" fmla="*/ 6524060 h 6857997"/>
              <a:gd name="connsiteX46" fmla="*/ 805845 w 7838843"/>
              <a:gd name="connsiteY46" fmla="*/ 6524060 h 6857997"/>
              <a:gd name="connsiteX47" fmla="*/ 811799 w 7838843"/>
              <a:gd name="connsiteY47" fmla="*/ 6542674 h 6857997"/>
              <a:gd name="connsiteX48" fmla="*/ 833735 w 7838843"/>
              <a:gd name="connsiteY48" fmla="*/ 6542674 h 6857997"/>
              <a:gd name="connsiteX49" fmla="*/ 801269 w 7838843"/>
              <a:gd name="connsiteY49" fmla="*/ 6451543 h 6857997"/>
              <a:gd name="connsiteX50" fmla="*/ 604404 w 7838843"/>
              <a:gd name="connsiteY50" fmla="*/ 6451543 h 6857997"/>
              <a:gd name="connsiteX51" fmla="*/ 576137 w 7838843"/>
              <a:gd name="connsiteY51" fmla="*/ 6479246 h 6857997"/>
              <a:gd name="connsiteX52" fmla="*/ 604404 w 7838843"/>
              <a:gd name="connsiteY52" fmla="*/ 6505821 h 6857997"/>
              <a:gd name="connsiteX53" fmla="*/ 625964 w 7838843"/>
              <a:gd name="connsiteY53" fmla="*/ 6505821 h 6857997"/>
              <a:gd name="connsiteX54" fmla="*/ 634174 w 7838843"/>
              <a:gd name="connsiteY54" fmla="*/ 6514282 h 6857997"/>
              <a:gd name="connsiteX55" fmla="*/ 625964 w 7838843"/>
              <a:gd name="connsiteY55" fmla="*/ 6522743 h 6857997"/>
              <a:gd name="connsiteX56" fmla="*/ 579772 w 7838843"/>
              <a:gd name="connsiteY56" fmla="*/ 6522743 h 6857997"/>
              <a:gd name="connsiteX57" fmla="*/ 579772 w 7838843"/>
              <a:gd name="connsiteY57" fmla="*/ 6542674 h 6857997"/>
              <a:gd name="connsiteX58" fmla="*/ 625149 w 7838843"/>
              <a:gd name="connsiteY58" fmla="*/ 6542674 h 6857997"/>
              <a:gd name="connsiteX59" fmla="*/ 653792 w 7838843"/>
              <a:gd name="connsiteY59" fmla="*/ 6514282 h 6857997"/>
              <a:gd name="connsiteX60" fmla="*/ 629223 w 7838843"/>
              <a:gd name="connsiteY60" fmla="*/ 6487707 h 6857997"/>
              <a:gd name="connsiteX61" fmla="*/ 604404 w 7838843"/>
              <a:gd name="connsiteY61" fmla="*/ 6487707 h 6857997"/>
              <a:gd name="connsiteX62" fmla="*/ 595817 w 7838843"/>
              <a:gd name="connsiteY62" fmla="*/ 6479246 h 6857997"/>
              <a:gd name="connsiteX63" fmla="*/ 604404 w 7838843"/>
              <a:gd name="connsiteY63" fmla="*/ 6470785 h 6857997"/>
              <a:gd name="connsiteX64" fmla="*/ 647462 w 7838843"/>
              <a:gd name="connsiteY64" fmla="*/ 6470785 h 6857997"/>
              <a:gd name="connsiteX65" fmla="*/ 647462 w 7838843"/>
              <a:gd name="connsiteY65" fmla="*/ 6451543 h 6857997"/>
              <a:gd name="connsiteX66" fmla="*/ 1023956 w 7838843"/>
              <a:gd name="connsiteY66" fmla="*/ 6451480 h 6857997"/>
              <a:gd name="connsiteX67" fmla="*/ 1023956 w 7838843"/>
              <a:gd name="connsiteY67" fmla="*/ 6542674 h 6857997"/>
              <a:gd name="connsiteX68" fmla="*/ 1045016 w 7838843"/>
              <a:gd name="connsiteY68" fmla="*/ 6542674 h 6857997"/>
              <a:gd name="connsiteX69" fmla="*/ 1045016 w 7838843"/>
              <a:gd name="connsiteY69" fmla="*/ 6504191 h 6857997"/>
              <a:gd name="connsiteX70" fmla="*/ 1074975 w 7838843"/>
              <a:gd name="connsiteY70" fmla="*/ 6542674 h 6857997"/>
              <a:gd name="connsiteX71" fmla="*/ 1099481 w 7838843"/>
              <a:gd name="connsiteY71" fmla="*/ 6542674 h 6857997"/>
              <a:gd name="connsiteX72" fmla="*/ 1065009 w 7838843"/>
              <a:gd name="connsiteY72" fmla="*/ 6497109 h 6857997"/>
              <a:gd name="connsiteX73" fmla="*/ 1099481 w 7838843"/>
              <a:gd name="connsiteY73" fmla="*/ 6451480 h 6857997"/>
              <a:gd name="connsiteX74" fmla="*/ 1074975 w 7838843"/>
              <a:gd name="connsiteY74" fmla="*/ 6451480 h 6857997"/>
              <a:gd name="connsiteX75" fmla="*/ 1045016 w 7838843"/>
              <a:gd name="connsiteY75" fmla="*/ 6489963 h 6857997"/>
              <a:gd name="connsiteX76" fmla="*/ 1045016 w 7838843"/>
              <a:gd name="connsiteY76" fmla="*/ 6451480 h 6857997"/>
              <a:gd name="connsiteX77" fmla="*/ 666077 w 7838843"/>
              <a:gd name="connsiteY77" fmla="*/ 6451480 h 6857997"/>
              <a:gd name="connsiteX78" fmla="*/ 666077 w 7838843"/>
              <a:gd name="connsiteY78" fmla="*/ 6542674 h 6857997"/>
              <a:gd name="connsiteX79" fmla="*/ 687073 w 7838843"/>
              <a:gd name="connsiteY79" fmla="*/ 6542674 h 6857997"/>
              <a:gd name="connsiteX80" fmla="*/ 687073 w 7838843"/>
              <a:gd name="connsiteY80" fmla="*/ 6504191 h 6857997"/>
              <a:gd name="connsiteX81" fmla="*/ 717033 w 7838843"/>
              <a:gd name="connsiteY81" fmla="*/ 6542674 h 6857997"/>
              <a:gd name="connsiteX82" fmla="*/ 741602 w 7838843"/>
              <a:gd name="connsiteY82" fmla="*/ 6542674 h 6857997"/>
              <a:gd name="connsiteX83" fmla="*/ 707067 w 7838843"/>
              <a:gd name="connsiteY83" fmla="*/ 6497109 h 6857997"/>
              <a:gd name="connsiteX84" fmla="*/ 741602 w 7838843"/>
              <a:gd name="connsiteY84" fmla="*/ 6451480 h 6857997"/>
              <a:gd name="connsiteX85" fmla="*/ 717033 w 7838843"/>
              <a:gd name="connsiteY85" fmla="*/ 6451480 h 6857997"/>
              <a:gd name="connsiteX86" fmla="*/ 687073 w 7838843"/>
              <a:gd name="connsiteY86" fmla="*/ 6489963 h 6857997"/>
              <a:gd name="connsiteX87" fmla="*/ 687073 w 7838843"/>
              <a:gd name="connsiteY87" fmla="*/ 6451480 h 6857997"/>
              <a:gd name="connsiteX88" fmla="*/ 0 w 7838843"/>
              <a:gd name="connsiteY88" fmla="*/ 0 h 6857997"/>
              <a:gd name="connsiteX89" fmla="*/ 7838843 w 7838843"/>
              <a:gd name="connsiteY89" fmla="*/ 0 h 6857997"/>
              <a:gd name="connsiteX90" fmla="*/ 7838843 w 7838843"/>
              <a:gd name="connsiteY90" fmla="*/ 6857997 h 6857997"/>
              <a:gd name="connsiteX91" fmla="*/ 0 w 7838843"/>
              <a:gd name="connsiteY91" fmla="*/ 6857997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7838843" h="6857997">
                <a:moveTo>
                  <a:pt x="1146049" y="6470534"/>
                </a:moveTo>
                <a:lnTo>
                  <a:pt x="1157832" y="6505507"/>
                </a:lnTo>
                <a:lnTo>
                  <a:pt x="1134642" y="6505507"/>
                </a:lnTo>
                <a:close/>
                <a:moveTo>
                  <a:pt x="788170" y="6470534"/>
                </a:moveTo>
                <a:lnTo>
                  <a:pt x="799953" y="6505507"/>
                </a:lnTo>
                <a:lnTo>
                  <a:pt x="776763" y="6505507"/>
                </a:lnTo>
                <a:close/>
                <a:moveTo>
                  <a:pt x="1132323" y="6451543"/>
                </a:moveTo>
                <a:lnTo>
                  <a:pt x="1100860" y="6542674"/>
                </a:lnTo>
                <a:lnTo>
                  <a:pt x="1123110" y="6542674"/>
                </a:lnTo>
                <a:lnTo>
                  <a:pt x="1128876" y="6524060"/>
                </a:lnTo>
                <a:lnTo>
                  <a:pt x="1163786" y="6524060"/>
                </a:lnTo>
                <a:lnTo>
                  <a:pt x="1169741" y="6542674"/>
                </a:lnTo>
                <a:lnTo>
                  <a:pt x="1191615" y="6542674"/>
                </a:lnTo>
                <a:lnTo>
                  <a:pt x="1159148" y="6451543"/>
                </a:lnTo>
                <a:close/>
                <a:moveTo>
                  <a:pt x="961907" y="6451543"/>
                </a:moveTo>
                <a:cubicBezTo>
                  <a:pt x="944358" y="6451543"/>
                  <a:pt x="933640" y="6461822"/>
                  <a:pt x="933640" y="6479246"/>
                </a:cubicBezTo>
                <a:cubicBezTo>
                  <a:pt x="933640" y="6496670"/>
                  <a:pt x="945987" y="6505821"/>
                  <a:pt x="961907" y="6505821"/>
                </a:cubicBezTo>
                <a:lnTo>
                  <a:pt x="983468" y="6505821"/>
                </a:lnTo>
                <a:cubicBezTo>
                  <a:pt x="988921" y="6505821"/>
                  <a:pt x="991678" y="6509957"/>
                  <a:pt x="991678" y="6514282"/>
                </a:cubicBezTo>
                <a:cubicBezTo>
                  <a:pt x="991678" y="6518732"/>
                  <a:pt x="988921" y="6522743"/>
                  <a:pt x="983468" y="6522743"/>
                </a:cubicBezTo>
                <a:lnTo>
                  <a:pt x="937338" y="6522743"/>
                </a:lnTo>
                <a:lnTo>
                  <a:pt x="937338" y="6542674"/>
                </a:lnTo>
                <a:lnTo>
                  <a:pt x="982716" y="6542674"/>
                </a:lnTo>
                <a:cubicBezTo>
                  <a:pt x="1000704" y="6542674"/>
                  <a:pt x="1011358" y="6532772"/>
                  <a:pt x="1011358" y="6514282"/>
                </a:cubicBezTo>
                <a:cubicBezTo>
                  <a:pt x="1011358" y="6497610"/>
                  <a:pt x="1000641" y="6487707"/>
                  <a:pt x="986727" y="6487707"/>
                </a:cubicBezTo>
                <a:lnTo>
                  <a:pt x="961907" y="6487707"/>
                </a:lnTo>
                <a:cubicBezTo>
                  <a:pt x="956078" y="6487707"/>
                  <a:pt x="953321" y="6483696"/>
                  <a:pt x="953321" y="6479246"/>
                </a:cubicBezTo>
                <a:cubicBezTo>
                  <a:pt x="953321" y="6474796"/>
                  <a:pt x="956078" y="6470785"/>
                  <a:pt x="961907" y="6470785"/>
                </a:cubicBezTo>
                <a:lnTo>
                  <a:pt x="1004965" y="6470785"/>
                </a:lnTo>
                <a:lnTo>
                  <a:pt x="1004965" y="6451543"/>
                </a:lnTo>
                <a:close/>
                <a:moveTo>
                  <a:pt x="841570" y="6451543"/>
                </a:moveTo>
                <a:lnTo>
                  <a:pt x="841570" y="6542674"/>
                </a:lnTo>
                <a:lnTo>
                  <a:pt x="862692" y="6542674"/>
                </a:lnTo>
                <a:lnTo>
                  <a:pt x="862692" y="6486454"/>
                </a:lnTo>
                <a:lnTo>
                  <a:pt x="898981" y="6542486"/>
                </a:lnTo>
                <a:lnTo>
                  <a:pt x="898981" y="6542674"/>
                </a:lnTo>
                <a:lnTo>
                  <a:pt x="920855" y="6542674"/>
                </a:lnTo>
                <a:lnTo>
                  <a:pt x="920793" y="6522994"/>
                </a:lnTo>
                <a:lnTo>
                  <a:pt x="920667" y="6451543"/>
                </a:lnTo>
                <a:lnTo>
                  <a:pt x="899671" y="6451543"/>
                </a:lnTo>
                <a:lnTo>
                  <a:pt x="899671" y="6508829"/>
                </a:lnTo>
                <a:lnTo>
                  <a:pt x="863068" y="6451543"/>
                </a:lnTo>
                <a:close/>
                <a:moveTo>
                  <a:pt x="774444" y="6451543"/>
                </a:moveTo>
                <a:lnTo>
                  <a:pt x="742918" y="6542674"/>
                </a:lnTo>
                <a:lnTo>
                  <a:pt x="765168" y="6542674"/>
                </a:lnTo>
                <a:lnTo>
                  <a:pt x="770934" y="6524060"/>
                </a:lnTo>
                <a:lnTo>
                  <a:pt x="805845" y="6524060"/>
                </a:lnTo>
                <a:lnTo>
                  <a:pt x="811799" y="6542674"/>
                </a:lnTo>
                <a:lnTo>
                  <a:pt x="833735" y="6542674"/>
                </a:lnTo>
                <a:lnTo>
                  <a:pt x="801269" y="6451543"/>
                </a:lnTo>
                <a:close/>
                <a:moveTo>
                  <a:pt x="604404" y="6451543"/>
                </a:moveTo>
                <a:cubicBezTo>
                  <a:pt x="586792" y="6451543"/>
                  <a:pt x="576137" y="6461822"/>
                  <a:pt x="576137" y="6479246"/>
                </a:cubicBezTo>
                <a:cubicBezTo>
                  <a:pt x="576137" y="6496670"/>
                  <a:pt x="588484" y="6505821"/>
                  <a:pt x="604404" y="6505821"/>
                </a:cubicBezTo>
                <a:lnTo>
                  <a:pt x="625964" y="6505821"/>
                </a:lnTo>
                <a:cubicBezTo>
                  <a:pt x="631417" y="6505821"/>
                  <a:pt x="634174" y="6509957"/>
                  <a:pt x="634174" y="6514282"/>
                </a:cubicBezTo>
                <a:cubicBezTo>
                  <a:pt x="634174" y="6518732"/>
                  <a:pt x="631417" y="6522743"/>
                  <a:pt x="625964" y="6522743"/>
                </a:cubicBezTo>
                <a:lnTo>
                  <a:pt x="579772" y="6522743"/>
                </a:lnTo>
                <a:lnTo>
                  <a:pt x="579772" y="6542674"/>
                </a:lnTo>
                <a:lnTo>
                  <a:pt x="625149" y="6542674"/>
                </a:lnTo>
                <a:cubicBezTo>
                  <a:pt x="643137" y="6542674"/>
                  <a:pt x="653792" y="6532772"/>
                  <a:pt x="653792" y="6514282"/>
                </a:cubicBezTo>
                <a:cubicBezTo>
                  <a:pt x="653792" y="6497610"/>
                  <a:pt x="643137" y="6487707"/>
                  <a:pt x="629223" y="6487707"/>
                </a:cubicBezTo>
                <a:lnTo>
                  <a:pt x="604404" y="6487707"/>
                </a:lnTo>
                <a:cubicBezTo>
                  <a:pt x="598575" y="6487707"/>
                  <a:pt x="595817" y="6483696"/>
                  <a:pt x="595817" y="6479246"/>
                </a:cubicBezTo>
                <a:cubicBezTo>
                  <a:pt x="595817" y="6474796"/>
                  <a:pt x="598575" y="6470785"/>
                  <a:pt x="604404" y="6470785"/>
                </a:cubicBezTo>
                <a:lnTo>
                  <a:pt x="647462" y="6470785"/>
                </a:lnTo>
                <a:lnTo>
                  <a:pt x="647462" y="6451543"/>
                </a:lnTo>
                <a:close/>
                <a:moveTo>
                  <a:pt x="1023956" y="6451480"/>
                </a:moveTo>
                <a:lnTo>
                  <a:pt x="1023956" y="6542674"/>
                </a:lnTo>
                <a:lnTo>
                  <a:pt x="1045016" y="6542674"/>
                </a:lnTo>
                <a:lnTo>
                  <a:pt x="1045016" y="6504191"/>
                </a:lnTo>
                <a:lnTo>
                  <a:pt x="1074975" y="6542674"/>
                </a:lnTo>
                <a:lnTo>
                  <a:pt x="1099481" y="6542674"/>
                </a:lnTo>
                <a:lnTo>
                  <a:pt x="1065009" y="6497109"/>
                </a:lnTo>
                <a:lnTo>
                  <a:pt x="1099481" y="6451480"/>
                </a:lnTo>
                <a:lnTo>
                  <a:pt x="1074975" y="6451480"/>
                </a:lnTo>
                <a:lnTo>
                  <a:pt x="1045016" y="6489963"/>
                </a:lnTo>
                <a:lnTo>
                  <a:pt x="1045016" y="6451480"/>
                </a:lnTo>
                <a:close/>
                <a:moveTo>
                  <a:pt x="666077" y="6451480"/>
                </a:moveTo>
                <a:lnTo>
                  <a:pt x="666077" y="6542674"/>
                </a:lnTo>
                <a:lnTo>
                  <a:pt x="687073" y="6542674"/>
                </a:lnTo>
                <a:lnTo>
                  <a:pt x="687073" y="6504191"/>
                </a:lnTo>
                <a:lnTo>
                  <a:pt x="717033" y="6542674"/>
                </a:lnTo>
                <a:lnTo>
                  <a:pt x="741602" y="6542674"/>
                </a:lnTo>
                <a:lnTo>
                  <a:pt x="707067" y="6497109"/>
                </a:lnTo>
                <a:lnTo>
                  <a:pt x="741602" y="6451480"/>
                </a:lnTo>
                <a:lnTo>
                  <a:pt x="717033" y="6451480"/>
                </a:lnTo>
                <a:lnTo>
                  <a:pt x="687073" y="6489963"/>
                </a:lnTo>
                <a:lnTo>
                  <a:pt x="687073" y="6451480"/>
                </a:lnTo>
                <a:close/>
                <a:moveTo>
                  <a:pt x="0" y="0"/>
                </a:moveTo>
                <a:lnTo>
                  <a:pt x="7838843" y="0"/>
                </a:lnTo>
                <a:lnTo>
                  <a:pt x="7838843" y="6857997"/>
                </a:lnTo>
                <a:lnTo>
                  <a:pt x="0" y="6857997"/>
                </a:lnTo>
                <a:close/>
              </a:path>
            </a:pathLst>
          </a:custGeom>
          <a:solidFill>
            <a:schemeClr val="accent6">
              <a:lumMod val="90000"/>
            </a:schemeClr>
          </a:solidFill>
        </p:spPr>
        <p:txBody>
          <a:bodyPr wrap="square" lIns="36000" tIns="36000" rIns="36000" bIns="36000">
            <a:noAutofit/>
          </a:bodyPr>
          <a:lstStyle>
            <a:lvl1pPr marL="0" indent="0" algn="ctr">
              <a:buNone/>
              <a:defRPr sz="1300">
                <a:solidFill>
                  <a:schemeClr val="tx2"/>
                </a:solidFill>
              </a:defRPr>
            </a:lvl1pPr>
          </a:lstStyle>
          <a:p>
            <a:r>
              <a:rPr lang="en-US" noProof="0"/>
              <a:t>If the image placeholder icon is underneath the text box, select the gray placeholder box and then go to insert in the top menu and add picture. Do NOT move the textbox!</a:t>
            </a:r>
          </a:p>
          <a:p>
            <a:endParaRPr lang="en-US" noProof="0"/>
          </a:p>
        </p:txBody>
      </p:sp>
      <p:sp>
        <p:nvSpPr>
          <p:cNvPr id="19" name="Text Placeholder 18">
            <a:extLst>
              <a:ext uri="{FF2B5EF4-FFF2-40B4-BE49-F238E27FC236}">
                <a16:creationId xmlns:a16="http://schemas.microsoft.com/office/drawing/2014/main" id="{696CCD45-BBC3-4242-B2B8-F5604A1D97BB}"/>
              </a:ext>
            </a:extLst>
          </p:cNvPr>
          <p:cNvSpPr>
            <a:spLocks noGrp="1"/>
          </p:cNvSpPr>
          <p:nvPr>
            <p:ph type="body" sz="quarter" idx="14" hasCustomPrompt="1"/>
          </p:nvPr>
        </p:nvSpPr>
        <p:spPr>
          <a:xfrm>
            <a:off x="576000" y="731027"/>
            <a:ext cx="6975737" cy="1365942"/>
          </a:xfrm>
          <a:prstGeom prst="rect">
            <a:avLst/>
          </a:prstGeom>
        </p:spPr>
        <p:txBody>
          <a:bodyPr anchor="t">
            <a:noAutofit/>
          </a:bodyPr>
          <a:lstStyle>
            <a:lvl1pPr marL="0" indent="0">
              <a:lnSpc>
                <a:spcPct val="85000"/>
              </a:lnSpc>
              <a:spcBef>
                <a:spcPts val="0"/>
              </a:spcBef>
              <a:buNone/>
              <a:defRPr sz="3600" spc="40" baseline="0">
                <a:solidFill>
                  <a:schemeClr val="accent1"/>
                </a:solidFill>
                <a:latin typeface="+mj-lt"/>
              </a:defRPr>
            </a:lvl1pPr>
          </a:lstStyle>
          <a:p>
            <a:pPr lvl="0"/>
            <a:r>
              <a:rPr lang="en-US" noProof="0"/>
              <a:t>Click to add a headline </a:t>
            </a:r>
            <a:br>
              <a:rPr lang="en-US" noProof="0"/>
            </a:br>
            <a:r>
              <a:rPr lang="en-US" noProof="0"/>
              <a:t>of maximum three lines</a:t>
            </a:r>
          </a:p>
          <a:p>
            <a:pPr lvl="0"/>
            <a:endParaRPr lang="en-US" noProof="0"/>
          </a:p>
        </p:txBody>
      </p:sp>
      <p:sp>
        <p:nvSpPr>
          <p:cNvPr id="20" name="Chart Placeholder 8">
            <a:extLst>
              <a:ext uri="{FF2B5EF4-FFF2-40B4-BE49-F238E27FC236}">
                <a16:creationId xmlns:a16="http://schemas.microsoft.com/office/drawing/2014/main" id="{BB026610-336B-9444-B5C9-29901CCC0EC0}"/>
              </a:ext>
            </a:extLst>
          </p:cNvPr>
          <p:cNvSpPr>
            <a:spLocks noGrp="1"/>
          </p:cNvSpPr>
          <p:nvPr>
            <p:ph type="chart" sz="quarter" idx="36" hasCustomPrompt="1"/>
          </p:nvPr>
        </p:nvSpPr>
        <p:spPr>
          <a:xfrm>
            <a:off x="8311662" y="1062084"/>
            <a:ext cx="3106615" cy="3054107"/>
          </a:xfrm>
        </p:spPr>
        <p:txBody>
          <a:bodyPr/>
          <a:lstStyle>
            <a:lvl1pPr marL="12700" indent="0" algn="ctr">
              <a:buNone/>
              <a:defRPr sz="1300">
                <a:solidFill>
                  <a:schemeClr val="accent1"/>
                </a:solidFill>
              </a:defRPr>
            </a:lvl1pPr>
          </a:lstStyle>
          <a:p>
            <a:r>
              <a:rPr lang="en-US" noProof="0"/>
              <a:t>Click to add chart</a:t>
            </a:r>
          </a:p>
        </p:txBody>
      </p:sp>
      <p:sp>
        <p:nvSpPr>
          <p:cNvPr id="25" name="Text Placeholder 7">
            <a:extLst>
              <a:ext uri="{FF2B5EF4-FFF2-40B4-BE49-F238E27FC236}">
                <a16:creationId xmlns:a16="http://schemas.microsoft.com/office/drawing/2014/main" id="{B520DA9E-0163-F247-8501-7565F6E8DDA8}"/>
              </a:ext>
            </a:extLst>
          </p:cNvPr>
          <p:cNvSpPr>
            <a:spLocks noGrp="1"/>
          </p:cNvSpPr>
          <p:nvPr>
            <p:ph type="body" sz="quarter" idx="37" hasCustomPrompt="1"/>
          </p:nvPr>
        </p:nvSpPr>
        <p:spPr>
          <a:xfrm>
            <a:off x="8142991" y="4409999"/>
            <a:ext cx="3481650" cy="1727275"/>
          </a:xfrm>
        </p:spPr>
        <p:txBody>
          <a:bodyPr/>
          <a:lstStyle>
            <a:lvl1pPr marL="0" indent="0" algn="ctr">
              <a:lnSpc>
                <a:spcPct val="100000"/>
              </a:lnSpc>
              <a:spcBef>
                <a:spcPts val="0"/>
              </a:spcBef>
              <a:spcAft>
                <a:spcPts val="800"/>
              </a:spcAft>
              <a:buNone/>
              <a:defRPr sz="1800" b="1" spc="40" baseline="0">
                <a:solidFill>
                  <a:schemeClr val="accent1"/>
                </a:solidFill>
              </a:defRPr>
            </a:lvl1pPr>
            <a:lvl2pPr marL="0" indent="0" algn="ctr">
              <a:lnSpc>
                <a:spcPct val="100000"/>
              </a:lnSpc>
              <a:spcBef>
                <a:spcPts val="0"/>
              </a:spcBef>
              <a:spcAft>
                <a:spcPts val="600"/>
              </a:spcAft>
              <a:buNone/>
              <a:defRPr sz="1600" spc="40" baseline="0">
                <a:solidFill>
                  <a:schemeClr val="accent1"/>
                </a:solidFill>
              </a:defRPr>
            </a:lvl2pPr>
            <a:lvl3pPr marL="534988" indent="-168275">
              <a:buFont typeface="System Font Regular"/>
              <a:buChar char="–"/>
              <a:defRPr sz="1200" spc="40" baseline="0">
                <a:solidFill>
                  <a:schemeClr val="bg1"/>
                </a:solidFill>
              </a:defRPr>
            </a:lvl3pPr>
            <a:lvl4pPr>
              <a:defRPr sz="1200" spc="40" baseline="0"/>
            </a:lvl4pPr>
            <a:lvl5pPr>
              <a:defRPr sz="1200" spc="40" baseline="0"/>
            </a:lvl5pPr>
          </a:lstStyle>
          <a:p>
            <a:pPr lvl="0"/>
            <a:r>
              <a:rPr lang="en-US" noProof="0"/>
              <a:t>Click to add text</a:t>
            </a:r>
          </a:p>
          <a:p>
            <a:pPr lvl="1"/>
            <a:r>
              <a:rPr lang="en-US" noProof="0"/>
              <a:t>Second level</a:t>
            </a:r>
          </a:p>
        </p:txBody>
      </p:sp>
      <p:sp>
        <p:nvSpPr>
          <p:cNvPr id="12" name="Platshållare för text 11">
            <a:extLst>
              <a:ext uri="{FF2B5EF4-FFF2-40B4-BE49-F238E27FC236}">
                <a16:creationId xmlns:a16="http://schemas.microsoft.com/office/drawing/2014/main" id="{34268D0C-E11B-C642-B393-3C933B403356}"/>
              </a:ext>
            </a:extLst>
          </p:cNvPr>
          <p:cNvSpPr>
            <a:spLocks noGrp="1"/>
          </p:cNvSpPr>
          <p:nvPr>
            <p:ph type="body" sz="quarter" idx="20" hasCustomPrompt="1"/>
          </p:nvPr>
        </p:nvSpPr>
        <p:spPr>
          <a:xfrm>
            <a:off x="576001" y="2527200"/>
            <a:ext cx="3487366" cy="3600450"/>
          </a:xfrm>
        </p:spPr>
        <p:txBody>
          <a:bodyPr/>
          <a:lstStyle/>
          <a:p>
            <a:pPr lvl="0"/>
            <a:r>
              <a:rPr lang="en-US" noProof="0"/>
              <a:t>Click to add body text</a:t>
            </a:r>
          </a:p>
          <a:p>
            <a:pPr lvl="1"/>
            <a:r>
              <a:rPr lang="en-US" noProof="0"/>
              <a:t>Second level</a:t>
            </a:r>
          </a:p>
          <a:p>
            <a:pPr lvl="2"/>
            <a:r>
              <a:rPr lang="en-US" noProof="0"/>
              <a:t>Third level</a:t>
            </a:r>
          </a:p>
          <a:p>
            <a:pPr lvl="3"/>
            <a:r>
              <a:rPr lang="en-US" noProof="0"/>
              <a:t>Fourth level </a:t>
            </a:r>
          </a:p>
          <a:p>
            <a:pPr lvl="4"/>
            <a:r>
              <a:rPr lang="en-US" noProof="0"/>
              <a:t>Fifth level</a:t>
            </a:r>
          </a:p>
        </p:txBody>
      </p:sp>
      <p:sp>
        <p:nvSpPr>
          <p:cNvPr id="18" name="textruta 17">
            <a:extLst>
              <a:ext uri="{FF2B5EF4-FFF2-40B4-BE49-F238E27FC236}">
                <a16:creationId xmlns:a16="http://schemas.microsoft.com/office/drawing/2014/main" id="{8D3FDA7F-FEF7-5A4F-A6E6-FCE9B54715E2}"/>
              </a:ext>
            </a:extLst>
          </p:cNvPr>
          <p:cNvSpPr txBox="1"/>
          <p:nvPr userDrawn="1"/>
        </p:nvSpPr>
        <p:spPr>
          <a:xfrm>
            <a:off x="12395260" y="4409999"/>
            <a:ext cx="1681523" cy="1754326"/>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mn-lt"/>
                <a:cs typeface="Arial" panose="020B0604020202020204" pitchFamily="34" charset="0"/>
              </a:rPr>
              <a:t>To change from </a:t>
            </a:r>
            <a:r>
              <a:rPr lang="en-US" sz="900" b="1" baseline="0" noProof="0">
                <a:solidFill>
                  <a:schemeClr val="tx1">
                    <a:lumMod val="65000"/>
                    <a:lumOff val="35000"/>
                  </a:schemeClr>
                </a:solidFill>
                <a:latin typeface="+mn-lt"/>
                <a:cs typeface="Arial" panose="020B0604020202020204" pitchFamily="34" charset="0"/>
              </a:rPr>
              <a:t>headline</a:t>
            </a:r>
            <a:r>
              <a:rPr lang="en-US" sz="900" baseline="0" noProof="0">
                <a:solidFill>
                  <a:schemeClr val="tx1">
                    <a:lumMod val="65000"/>
                    <a:lumOff val="35000"/>
                  </a:schemeClr>
                </a:solidFill>
                <a:latin typeface="+mn-lt"/>
                <a:cs typeface="Arial" panose="020B0604020202020204" pitchFamily="34" charset="0"/>
              </a:rPr>
              <a:t> to </a:t>
            </a:r>
            <a:r>
              <a:rPr lang="en-US" sz="900" b="1" baseline="0" noProof="0">
                <a:solidFill>
                  <a:schemeClr val="tx1">
                    <a:lumMod val="65000"/>
                    <a:lumOff val="35000"/>
                  </a:schemeClr>
                </a:solidFill>
                <a:latin typeface="+mn-lt"/>
                <a:cs typeface="Arial" panose="020B0604020202020204" pitchFamily="34" charset="0"/>
              </a:rPr>
              <a:t>body text </a:t>
            </a:r>
            <a:r>
              <a:rPr lang="en-US" sz="900" baseline="0" noProof="0">
                <a:solidFill>
                  <a:schemeClr val="tx1">
                    <a:lumMod val="65000"/>
                    <a:lumOff val="35000"/>
                  </a:schemeClr>
                </a:solidFill>
                <a:latin typeface="+mn-lt"/>
                <a:cs typeface="Arial" panose="020B0604020202020204" pitchFamily="34" charset="0"/>
              </a:rPr>
              <a:t>or to </a:t>
            </a:r>
            <a:r>
              <a:rPr lang="en-US" sz="900" b="1" baseline="0" noProof="0">
                <a:solidFill>
                  <a:schemeClr val="tx1">
                    <a:lumMod val="65000"/>
                    <a:lumOff val="35000"/>
                  </a:schemeClr>
                </a:solidFill>
                <a:latin typeface="+mn-lt"/>
                <a:cs typeface="Arial" panose="020B0604020202020204" pitchFamily="34" charset="0"/>
              </a:rPr>
              <a:t>use bullets</a:t>
            </a:r>
            <a:r>
              <a:rPr lang="en-US" sz="900" baseline="0" noProof="0">
                <a:solidFill>
                  <a:schemeClr val="tx1">
                    <a:lumMod val="65000"/>
                    <a:lumOff val="35000"/>
                  </a:schemeClr>
                </a:solidFill>
                <a:latin typeface="+mn-lt"/>
                <a:cs typeface="Arial" panose="020B0604020202020204" pitchFamily="34" charset="0"/>
              </a:rPr>
              <a:t>, press </a:t>
            </a:r>
            <a:r>
              <a:rPr lang="en-US" sz="900" b="1" baseline="0" noProof="0">
                <a:solidFill>
                  <a:schemeClr val="tx1">
                    <a:lumMod val="65000"/>
                    <a:lumOff val="35000"/>
                  </a:schemeClr>
                </a:solidFill>
                <a:latin typeface="+mn-lt"/>
                <a:cs typeface="Arial" panose="020B0604020202020204" pitchFamily="34" charset="0"/>
              </a:rPr>
              <a:t>enter/return </a:t>
            </a:r>
            <a:r>
              <a:rPr lang="en-US" sz="900" baseline="0" noProof="0">
                <a:solidFill>
                  <a:schemeClr val="tx1">
                    <a:lumMod val="65000"/>
                    <a:lumOff val="35000"/>
                  </a:schemeClr>
                </a:solidFill>
                <a:latin typeface="+mn-lt"/>
                <a:cs typeface="Arial" panose="020B0604020202020204" pitchFamily="34" charset="0"/>
              </a:rPr>
              <a:t>after your headline then use this function toggle to body text.</a:t>
            </a: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p:txBody>
      </p:sp>
      <p:pic>
        <p:nvPicPr>
          <p:cNvPr id="21" name="Picture 9">
            <a:extLst>
              <a:ext uri="{FF2B5EF4-FFF2-40B4-BE49-F238E27FC236}">
                <a16:creationId xmlns:a16="http://schemas.microsoft.com/office/drawing/2014/main" id="{8D5D17FA-2B6B-A546-92A1-E3350691318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
          <a:stretch/>
        </p:blipFill>
        <p:spPr>
          <a:xfrm>
            <a:off x="12522649" y="5314208"/>
            <a:ext cx="1422121" cy="721417"/>
          </a:xfrm>
          <a:prstGeom prst="rect">
            <a:avLst/>
          </a:prstGeom>
          <a:ln w="9525">
            <a:solidFill>
              <a:schemeClr val="tx2"/>
            </a:solidFill>
          </a:ln>
        </p:spPr>
      </p:pic>
      <p:sp>
        <p:nvSpPr>
          <p:cNvPr id="22" name="Oval 4">
            <a:extLst>
              <a:ext uri="{FF2B5EF4-FFF2-40B4-BE49-F238E27FC236}">
                <a16:creationId xmlns:a16="http://schemas.microsoft.com/office/drawing/2014/main" id="{1192E461-E279-7141-82CE-BA8A88897DE1}"/>
              </a:ext>
            </a:extLst>
          </p:cNvPr>
          <p:cNvSpPr/>
          <p:nvPr userDrawn="1"/>
        </p:nvSpPr>
        <p:spPr>
          <a:xfrm>
            <a:off x="13194299" y="5537505"/>
            <a:ext cx="282818" cy="282818"/>
          </a:xfrm>
          <a:prstGeom prst="ellipse">
            <a:avLst/>
          </a:prstGeom>
          <a:solidFill>
            <a:schemeClr val="bg1">
              <a:lumMod val="95000"/>
              <a:alpha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latin typeface="+mn-lt"/>
            </a:endParaRPr>
          </a:p>
        </p:txBody>
      </p:sp>
      <p:cxnSp>
        <p:nvCxnSpPr>
          <p:cNvPr id="23" name="Connector: Elbow 131">
            <a:extLst>
              <a:ext uri="{FF2B5EF4-FFF2-40B4-BE49-F238E27FC236}">
                <a16:creationId xmlns:a16="http://schemas.microsoft.com/office/drawing/2014/main" id="{7C6A921D-C76D-3D4C-B6A1-49E36AE156AA}"/>
              </a:ext>
            </a:extLst>
          </p:cNvPr>
          <p:cNvCxnSpPr>
            <a:cxnSpLocks/>
            <a:endCxn id="22" idx="0"/>
          </p:cNvCxnSpPr>
          <p:nvPr userDrawn="1"/>
        </p:nvCxnSpPr>
        <p:spPr>
          <a:xfrm rot="5400000">
            <a:off x="13324711" y="5265685"/>
            <a:ext cx="282818" cy="260823"/>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textruta 5">
            <a:extLst>
              <a:ext uri="{FF2B5EF4-FFF2-40B4-BE49-F238E27FC236}">
                <a16:creationId xmlns:a16="http://schemas.microsoft.com/office/drawing/2014/main" id="{A4463C7D-F504-3941-8FDA-E34C13DFC7E5}"/>
              </a:ext>
            </a:extLst>
          </p:cNvPr>
          <p:cNvSpPr txBox="1"/>
          <p:nvPr userDrawn="1"/>
        </p:nvSpPr>
        <p:spPr>
          <a:xfrm>
            <a:off x="12395260" y="1453483"/>
            <a:ext cx="1681523" cy="646331"/>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the textboxes disappears after adding or changing an imag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right click the image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and use – </a:t>
            </a:r>
            <a:r>
              <a:rPr lang="en-US" sz="900" b="1" noProof="0">
                <a:solidFill>
                  <a:schemeClr val="tx1">
                    <a:lumMod val="65000"/>
                    <a:lumOff val="35000"/>
                  </a:schemeClr>
                </a:solidFill>
                <a:latin typeface="Arial" panose="020B0604020202020204" pitchFamily="34" charset="0"/>
                <a:cs typeface="Arial" panose="020B0604020202020204" pitchFamily="34" charset="0"/>
              </a:rPr>
              <a:t>S</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end to back</a:t>
            </a:r>
          </a:p>
        </p:txBody>
      </p:sp>
      <p:sp>
        <p:nvSpPr>
          <p:cNvPr id="26" name="textruta 25">
            <a:extLst>
              <a:ext uri="{FF2B5EF4-FFF2-40B4-BE49-F238E27FC236}">
                <a16:creationId xmlns:a16="http://schemas.microsoft.com/office/drawing/2014/main" id="{EDD868E4-C5F9-F44E-8E83-38E1C61A87CF}"/>
              </a:ext>
            </a:extLst>
          </p:cNvPr>
          <p:cNvSpPr txBox="1"/>
          <p:nvPr userDrawn="1"/>
        </p:nvSpPr>
        <p:spPr>
          <a:xfrm>
            <a:off x="12395260" y="-12189"/>
            <a:ext cx="1681523" cy="1338828"/>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you need to change the color of the logo, right click outside work area,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Format Background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from context menu and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Solid fill</a:t>
            </a:r>
            <a:r>
              <a:rPr lang="en-US" sz="900" baseline="0" noProof="0">
                <a:solidFill>
                  <a:schemeClr val="tx1">
                    <a:lumMod val="65000"/>
                    <a:lumOff val="35000"/>
                  </a:schemeClr>
                </a:solidFill>
                <a:latin typeface="Arial" panose="020B0604020202020204" pitchFamily="34" charset="0"/>
                <a:cs typeface="Arial" panose="020B0604020202020204" pitchFamily="34" charset="0"/>
              </a:rPr>
              <a:t> –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White or Blue</a:t>
            </a: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p:txBody>
      </p:sp>
      <p:sp>
        <p:nvSpPr>
          <p:cNvPr id="27" name="Rektangel 26">
            <a:extLst>
              <a:ext uri="{FF2B5EF4-FFF2-40B4-BE49-F238E27FC236}">
                <a16:creationId xmlns:a16="http://schemas.microsoft.com/office/drawing/2014/main" id="{34A09CD3-BE5C-4742-A5D0-0770E0DF2B53}"/>
              </a:ext>
            </a:extLst>
          </p:cNvPr>
          <p:cNvSpPr/>
          <p:nvPr userDrawn="1"/>
        </p:nvSpPr>
        <p:spPr>
          <a:xfrm>
            <a:off x="13255337" y="926211"/>
            <a:ext cx="341194" cy="305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8" name="Rektangel 27">
            <a:extLst>
              <a:ext uri="{FF2B5EF4-FFF2-40B4-BE49-F238E27FC236}">
                <a16:creationId xmlns:a16="http://schemas.microsoft.com/office/drawing/2014/main" id="{D75D8CC9-6E65-624D-95DA-4173446B3AAB}"/>
              </a:ext>
            </a:extLst>
          </p:cNvPr>
          <p:cNvSpPr/>
          <p:nvPr userDrawn="1"/>
        </p:nvSpPr>
        <p:spPr>
          <a:xfrm>
            <a:off x="12833410" y="926211"/>
            <a:ext cx="341194" cy="30590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9" name="Platshållare för datum 3">
            <a:extLst>
              <a:ext uri="{FF2B5EF4-FFF2-40B4-BE49-F238E27FC236}">
                <a16:creationId xmlns:a16="http://schemas.microsoft.com/office/drawing/2014/main" id="{6ED577CA-4918-8542-8E6E-7D394D4010D4}"/>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tx2"/>
                </a:solidFill>
              </a:defRPr>
            </a:lvl1pPr>
          </a:lstStyle>
          <a:p>
            <a:fld id="{2F9806AD-009B-8D45-82A9-B9E8234B6322}" type="datetime1">
              <a:rPr lang="en-US" noProof="0" smtClean="0"/>
              <a:t>10/17/2023</a:t>
            </a:fld>
            <a:endParaRPr lang="en-US" noProof="0"/>
          </a:p>
        </p:txBody>
      </p:sp>
      <p:sp>
        <p:nvSpPr>
          <p:cNvPr id="30" name="Platshållare för sidfot 4">
            <a:extLst>
              <a:ext uri="{FF2B5EF4-FFF2-40B4-BE49-F238E27FC236}">
                <a16:creationId xmlns:a16="http://schemas.microsoft.com/office/drawing/2014/main" id="{79B6E22E-6B8C-C24F-B68A-E5A5857D45BA}"/>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tx2"/>
                </a:solidFill>
              </a:defRPr>
            </a:lvl1pPr>
          </a:lstStyle>
          <a:p>
            <a:r>
              <a:rPr lang="en-US" noProof="0"/>
              <a:t>Go to header/footer to change text </a:t>
            </a:r>
          </a:p>
        </p:txBody>
      </p:sp>
      <p:sp>
        <p:nvSpPr>
          <p:cNvPr id="31" name="Platshållare för bildnummer 5">
            <a:extLst>
              <a:ext uri="{FF2B5EF4-FFF2-40B4-BE49-F238E27FC236}">
                <a16:creationId xmlns:a16="http://schemas.microsoft.com/office/drawing/2014/main" id="{EAE63384-4E26-1748-83AC-28C58AF22243}"/>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tx2"/>
                </a:solidFill>
              </a:defRPr>
            </a:lvl1pPr>
          </a:lstStyle>
          <a:p>
            <a:fld id="{EF8DBD5B-30F9-4F9C-AE39-E065C1AC514D}" type="slidenum">
              <a:rPr lang="en-US" noProof="0" smtClean="0"/>
              <a:pPr/>
              <a:t>‹#›</a:t>
            </a:fld>
            <a:endParaRPr lang="en-US" noProof="0"/>
          </a:p>
        </p:txBody>
      </p:sp>
      <p:sp>
        <p:nvSpPr>
          <p:cNvPr id="32" name="Text Placeholder 4">
            <a:extLst>
              <a:ext uri="{FF2B5EF4-FFF2-40B4-BE49-F238E27FC236}">
                <a16:creationId xmlns:a16="http://schemas.microsoft.com/office/drawing/2014/main" id="{426CE449-BA7F-F046-9CEA-601C9BFEBFB1}"/>
              </a:ext>
            </a:extLst>
          </p:cNvPr>
          <p:cNvSpPr>
            <a:spLocks noGrp="1"/>
          </p:cNvSpPr>
          <p:nvPr>
            <p:ph type="body" sz="quarter" idx="16" hasCustomPrompt="1"/>
          </p:nvPr>
        </p:nvSpPr>
        <p:spPr>
          <a:xfrm rot="5400000">
            <a:off x="6548578" y="803644"/>
            <a:ext cx="2093913" cy="486626"/>
          </a:xfrm>
        </p:spPr>
        <p:txBody>
          <a:bodyPr lIns="180000" tIns="180000" rIns="0" bIns="180000" anchor="ctr">
            <a:spAutoFit/>
          </a:bodyPr>
          <a:lstStyle>
            <a:lvl1pPr marL="6350" indent="0" algn="l">
              <a:buNone/>
              <a:defRPr sz="800"/>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Tree>
    <p:extLst>
      <p:ext uri="{BB962C8B-B14F-4D97-AF65-F5344CB8AC3E}">
        <p14:creationId xmlns:p14="http://schemas.microsoft.com/office/powerpoint/2010/main" val="116354083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7 Full Table">
    <p:spTree>
      <p:nvGrpSpPr>
        <p:cNvPr id="1" name=""/>
        <p:cNvGrpSpPr/>
        <p:nvPr/>
      </p:nvGrpSpPr>
      <p:grpSpPr>
        <a:xfrm>
          <a:off x="0" y="0"/>
          <a:ext cx="0" cy="0"/>
          <a:chOff x="0" y="0"/>
          <a:chExt cx="0" cy="0"/>
        </a:xfrm>
      </p:grpSpPr>
      <p:sp>
        <p:nvSpPr>
          <p:cNvPr id="14" name="Text Placeholder 18">
            <a:extLst>
              <a:ext uri="{FF2B5EF4-FFF2-40B4-BE49-F238E27FC236}">
                <a16:creationId xmlns:a16="http://schemas.microsoft.com/office/drawing/2014/main" id="{50DAC6A8-070F-A541-973B-11A3E7A90998}"/>
              </a:ext>
            </a:extLst>
          </p:cNvPr>
          <p:cNvSpPr>
            <a:spLocks noGrp="1"/>
          </p:cNvSpPr>
          <p:nvPr>
            <p:ph type="body" sz="quarter" idx="14" hasCustomPrompt="1"/>
          </p:nvPr>
        </p:nvSpPr>
        <p:spPr>
          <a:xfrm>
            <a:off x="576000" y="731027"/>
            <a:ext cx="11039738" cy="421200"/>
          </a:xfrm>
          <a:prstGeom prst="rect">
            <a:avLst/>
          </a:prstGeom>
        </p:spPr>
        <p:txBody>
          <a:bodyPr anchor="t">
            <a:noAutofit/>
          </a:bodyPr>
          <a:lstStyle>
            <a:lvl1pPr marL="0" indent="0">
              <a:lnSpc>
                <a:spcPct val="85000"/>
              </a:lnSpc>
              <a:spcBef>
                <a:spcPts val="0"/>
              </a:spcBef>
              <a:buNone/>
              <a:defRPr sz="3600" spc="40" baseline="0">
                <a:solidFill>
                  <a:schemeClr val="accent1"/>
                </a:solidFill>
                <a:latin typeface="+mj-lt"/>
              </a:defRPr>
            </a:lvl1pPr>
          </a:lstStyle>
          <a:p>
            <a:pPr lvl="0"/>
            <a:r>
              <a:rPr lang="en-US" noProof="0"/>
              <a:t>Click for a short headline of one line</a:t>
            </a:r>
          </a:p>
        </p:txBody>
      </p:sp>
      <p:grpSp>
        <p:nvGrpSpPr>
          <p:cNvPr id="17" name="Grupp 32">
            <a:extLst>
              <a:ext uri="{FF2B5EF4-FFF2-40B4-BE49-F238E27FC236}">
                <a16:creationId xmlns:a16="http://schemas.microsoft.com/office/drawing/2014/main" id="{06A06E8E-9AC5-474F-9D8F-BE8A4B8DF25A}"/>
              </a:ext>
            </a:extLst>
          </p:cNvPr>
          <p:cNvGrpSpPr/>
          <p:nvPr userDrawn="1"/>
        </p:nvGrpSpPr>
        <p:grpSpPr>
          <a:xfrm>
            <a:off x="576140" y="6451484"/>
            <a:ext cx="615478" cy="91194"/>
            <a:chOff x="576140" y="6451484"/>
            <a:chExt cx="615478" cy="91194"/>
          </a:xfrm>
          <a:solidFill>
            <a:schemeClr val="tx2"/>
          </a:solidFill>
        </p:grpSpPr>
        <p:sp>
          <p:nvSpPr>
            <p:cNvPr id="18" name="Bild 2">
              <a:extLst>
                <a:ext uri="{FF2B5EF4-FFF2-40B4-BE49-F238E27FC236}">
                  <a16:creationId xmlns:a16="http://schemas.microsoft.com/office/drawing/2014/main" id="{75F62DFF-CE28-2847-9178-371361C4B379}"/>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noProof="0">
                <a:solidFill>
                  <a:schemeClr val="tx2"/>
                </a:solidFill>
              </a:endParaRPr>
            </a:p>
          </p:txBody>
        </p:sp>
        <p:sp>
          <p:nvSpPr>
            <p:cNvPr id="19" name="Bild 2">
              <a:extLst>
                <a:ext uri="{FF2B5EF4-FFF2-40B4-BE49-F238E27FC236}">
                  <a16:creationId xmlns:a16="http://schemas.microsoft.com/office/drawing/2014/main" id="{56F4E682-4CA9-5346-8CD6-98F8EACD6CE7}"/>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0" name="Bild 2">
              <a:extLst>
                <a:ext uri="{FF2B5EF4-FFF2-40B4-BE49-F238E27FC236}">
                  <a16:creationId xmlns:a16="http://schemas.microsoft.com/office/drawing/2014/main" id="{11510029-65DB-F040-9ED5-A182045EEF2B}"/>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21" name="Bild 2">
              <a:extLst>
                <a:ext uri="{FF2B5EF4-FFF2-40B4-BE49-F238E27FC236}">
                  <a16:creationId xmlns:a16="http://schemas.microsoft.com/office/drawing/2014/main" id="{882E3E49-2F44-5445-B3D9-4FA93CE1837A}"/>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2" name="Bild 2">
              <a:extLst>
                <a:ext uri="{FF2B5EF4-FFF2-40B4-BE49-F238E27FC236}">
                  <a16:creationId xmlns:a16="http://schemas.microsoft.com/office/drawing/2014/main" id="{E77E397B-C384-F949-9F60-67A86BD39DCA}"/>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noProof="0">
                <a:solidFill>
                  <a:schemeClr val="tx2"/>
                </a:solidFill>
              </a:endParaRPr>
            </a:p>
          </p:txBody>
        </p:sp>
        <p:sp>
          <p:nvSpPr>
            <p:cNvPr id="23" name="Bild 2">
              <a:extLst>
                <a:ext uri="{FF2B5EF4-FFF2-40B4-BE49-F238E27FC236}">
                  <a16:creationId xmlns:a16="http://schemas.microsoft.com/office/drawing/2014/main" id="{DBE8665D-1D7B-BC49-9416-388A79FA9660}"/>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24" name="Bild 2">
              <a:extLst>
                <a:ext uri="{FF2B5EF4-FFF2-40B4-BE49-F238E27FC236}">
                  <a16:creationId xmlns:a16="http://schemas.microsoft.com/office/drawing/2014/main" id="{E25BD59B-C1DD-BF4D-89DA-D56603C3E329}"/>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grpSp>
      <p:sp>
        <p:nvSpPr>
          <p:cNvPr id="6" name="Table Placeholder 5">
            <a:extLst>
              <a:ext uri="{FF2B5EF4-FFF2-40B4-BE49-F238E27FC236}">
                <a16:creationId xmlns:a16="http://schemas.microsoft.com/office/drawing/2014/main" id="{9D72F005-92A7-3E40-AE8B-C0483ED6C406}"/>
              </a:ext>
            </a:extLst>
          </p:cNvPr>
          <p:cNvSpPr>
            <a:spLocks noGrp="1"/>
          </p:cNvSpPr>
          <p:nvPr>
            <p:ph type="tbl" sz="quarter" idx="19" hasCustomPrompt="1"/>
          </p:nvPr>
        </p:nvSpPr>
        <p:spPr>
          <a:xfrm>
            <a:off x="576263" y="2098801"/>
            <a:ext cx="11039475" cy="4037362"/>
          </a:xfrm>
        </p:spPr>
        <p:txBody>
          <a:bodyPr/>
          <a:lstStyle>
            <a:lvl1pPr marL="12700" indent="0">
              <a:buNone/>
              <a:defRPr sz="1300"/>
            </a:lvl1pPr>
          </a:lstStyle>
          <a:p>
            <a:r>
              <a:rPr lang="en-US" noProof="0"/>
              <a:t>Click to add a table</a:t>
            </a:r>
          </a:p>
        </p:txBody>
      </p:sp>
      <p:sp>
        <p:nvSpPr>
          <p:cNvPr id="15" name="Platshållare för datum 3">
            <a:extLst>
              <a:ext uri="{FF2B5EF4-FFF2-40B4-BE49-F238E27FC236}">
                <a16:creationId xmlns:a16="http://schemas.microsoft.com/office/drawing/2014/main" id="{670F8E42-AC0A-404C-9EE4-93B2A912F9BC}"/>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tx2"/>
                </a:solidFill>
              </a:defRPr>
            </a:lvl1pPr>
          </a:lstStyle>
          <a:p>
            <a:fld id="{2F9806AD-009B-8D45-82A9-B9E8234B6322}" type="datetime1">
              <a:rPr lang="en-US" noProof="0" smtClean="0"/>
              <a:t>10/17/2023</a:t>
            </a:fld>
            <a:endParaRPr lang="en-US" noProof="0"/>
          </a:p>
        </p:txBody>
      </p:sp>
      <p:sp>
        <p:nvSpPr>
          <p:cNvPr id="16" name="Platshållare för sidfot 4">
            <a:extLst>
              <a:ext uri="{FF2B5EF4-FFF2-40B4-BE49-F238E27FC236}">
                <a16:creationId xmlns:a16="http://schemas.microsoft.com/office/drawing/2014/main" id="{C9470A9D-83E1-E849-966D-5A0EE3A9986B}"/>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tx2"/>
                </a:solidFill>
              </a:defRPr>
            </a:lvl1pPr>
          </a:lstStyle>
          <a:p>
            <a:r>
              <a:rPr lang="en-US" noProof="0"/>
              <a:t>Go to header/footer to change text </a:t>
            </a:r>
          </a:p>
        </p:txBody>
      </p:sp>
      <p:sp>
        <p:nvSpPr>
          <p:cNvPr id="25" name="Platshållare för bildnummer 5">
            <a:extLst>
              <a:ext uri="{FF2B5EF4-FFF2-40B4-BE49-F238E27FC236}">
                <a16:creationId xmlns:a16="http://schemas.microsoft.com/office/drawing/2014/main" id="{6248F2C8-CF76-CD47-89F9-148F9C8D7F39}"/>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tx2"/>
                </a:solidFill>
              </a:defRPr>
            </a:lvl1pPr>
          </a:lstStyle>
          <a:p>
            <a:fld id="{EF8DBD5B-30F9-4F9C-AE39-E065C1AC514D}" type="slidenum">
              <a:rPr lang="en-US" noProof="0" smtClean="0"/>
              <a:pPr/>
              <a:t>‹#›</a:t>
            </a:fld>
            <a:endParaRPr lang="en-US" noProof="0"/>
          </a:p>
        </p:txBody>
      </p:sp>
    </p:spTree>
    <p:extLst>
      <p:ext uri="{BB962C8B-B14F-4D97-AF65-F5344CB8AC3E}">
        <p14:creationId xmlns:p14="http://schemas.microsoft.com/office/powerpoint/2010/main" val="262624914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7 Icons Text">
    <p:spTree>
      <p:nvGrpSpPr>
        <p:cNvPr id="1" name=""/>
        <p:cNvGrpSpPr/>
        <p:nvPr/>
      </p:nvGrpSpPr>
      <p:grpSpPr>
        <a:xfrm>
          <a:off x="0" y="0"/>
          <a:ext cx="0" cy="0"/>
          <a:chOff x="0" y="0"/>
          <a:chExt cx="0" cy="0"/>
        </a:xfrm>
      </p:grpSpPr>
      <p:sp>
        <p:nvSpPr>
          <p:cNvPr id="11" name="Text Placeholder 7">
            <a:extLst>
              <a:ext uri="{FF2B5EF4-FFF2-40B4-BE49-F238E27FC236}">
                <a16:creationId xmlns:a16="http://schemas.microsoft.com/office/drawing/2014/main" id="{1E8E1731-23EB-0B4A-A05C-05B9BCA19C9C}"/>
              </a:ext>
            </a:extLst>
          </p:cNvPr>
          <p:cNvSpPr>
            <a:spLocks noGrp="1"/>
          </p:cNvSpPr>
          <p:nvPr>
            <p:ph type="body" sz="quarter" idx="32" hasCustomPrompt="1"/>
          </p:nvPr>
        </p:nvSpPr>
        <p:spPr>
          <a:xfrm>
            <a:off x="3416920" y="4154400"/>
            <a:ext cx="2531167" cy="1974938"/>
          </a:xfrm>
        </p:spPr>
        <p:txBody>
          <a:bodyPr/>
          <a:lstStyle>
            <a:lvl1pPr marL="0" indent="0" algn="ctr">
              <a:lnSpc>
                <a:spcPct val="100000"/>
              </a:lnSpc>
              <a:spcBef>
                <a:spcPts val="0"/>
              </a:spcBef>
              <a:spcAft>
                <a:spcPts val="800"/>
              </a:spcAft>
              <a:buNone/>
              <a:defRPr sz="1800" b="1" spc="40" baseline="0">
                <a:solidFill>
                  <a:schemeClr val="accent1"/>
                </a:solidFill>
              </a:defRPr>
            </a:lvl1pPr>
            <a:lvl2pPr marL="0" indent="0" algn="ctr">
              <a:lnSpc>
                <a:spcPct val="100000"/>
              </a:lnSpc>
              <a:spcBef>
                <a:spcPts val="0"/>
              </a:spcBef>
              <a:spcAft>
                <a:spcPts val="600"/>
              </a:spcAft>
              <a:buNone/>
              <a:defRPr sz="1600" spc="40" baseline="0">
                <a:solidFill>
                  <a:schemeClr val="accent1"/>
                </a:solidFill>
              </a:defRPr>
            </a:lvl2pPr>
            <a:lvl3pPr marL="534988" indent="-168275">
              <a:buFont typeface="System Font Regular"/>
              <a:buChar char="–"/>
              <a:defRPr sz="1200" spc="40" baseline="0">
                <a:solidFill>
                  <a:schemeClr val="bg1"/>
                </a:solidFill>
              </a:defRPr>
            </a:lvl3pPr>
            <a:lvl4pPr>
              <a:defRPr sz="1200" spc="40" baseline="0"/>
            </a:lvl4pPr>
            <a:lvl5pPr>
              <a:defRPr sz="1200" spc="40" baseline="0"/>
            </a:lvl5pPr>
          </a:lstStyle>
          <a:p>
            <a:pPr lvl="0"/>
            <a:r>
              <a:rPr lang="en-US" noProof="0"/>
              <a:t>Click to add text</a:t>
            </a:r>
          </a:p>
          <a:p>
            <a:pPr lvl="1"/>
            <a:r>
              <a:rPr lang="en-US" noProof="0"/>
              <a:t>Second level</a:t>
            </a:r>
          </a:p>
        </p:txBody>
      </p:sp>
      <p:sp>
        <p:nvSpPr>
          <p:cNvPr id="12" name="Text Placeholder 7">
            <a:extLst>
              <a:ext uri="{FF2B5EF4-FFF2-40B4-BE49-F238E27FC236}">
                <a16:creationId xmlns:a16="http://schemas.microsoft.com/office/drawing/2014/main" id="{2338588B-5749-8548-8A92-845B34954343}"/>
              </a:ext>
            </a:extLst>
          </p:cNvPr>
          <p:cNvSpPr>
            <a:spLocks noGrp="1"/>
          </p:cNvSpPr>
          <p:nvPr>
            <p:ph type="body" sz="quarter" idx="35" hasCustomPrompt="1"/>
          </p:nvPr>
        </p:nvSpPr>
        <p:spPr>
          <a:xfrm>
            <a:off x="6250746" y="4154400"/>
            <a:ext cx="2531167" cy="1974938"/>
          </a:xfrm>
        </p:spPr>
        <p:txBody>
          <a:bodyPr/>
          <a:lstStyle>
            <a:lvl1pPr marL="0" indent="0" algn="ctr">
              <a:lnSpc>
                <a:spcPct val="100000"/>
              </a:lnSpc>
              <a:spcBef>
                <a:spcPts val="0"/>
              </a:spcBef>
              <a:spcAft>
                <a:spcPts val="800"/>
              </a:spcAft>
              <a:buNone/>
              <a:defRPr sz="1800" b="1" spc="40" baseline="0">
                <a:solidFill>
                  <a:schemeClr val="accent1"/>
                </a:solidFill>
              </a:defRPr>
            </a:lvl1pPr>
            <a:lvl2pPr marL="0" indent="0" algn="ctr">
              <a:lnSpc>
                <a:spcPct val="100000"/>
              </a:lnSpc>
              <a:spcBef>
                <a:spcPts val="0"/>
              </a:spcBef>
              <a:spcAft>
                <a:spcPts val="600"/>
              </a:spcAft>
              <a:buNone/>
              <a:defRPr sz="1600" spc="40" baseline="0">
                <a:solidFill>
                  <a:schemeClr val="accent1"/>
                </a:solidFill>
              </a:defRPr>
            </a:lvl2pPr>
            <a:lvl3pPr marL="534988" indent="-168275">
              <a:buFont typeface="System Font Regular"/>
              <a:buChar char="–"/>
              <a:defRPr sz="1200" spc="40" baseline="0">
                <a:solidFill>
                  <a:schemeClr val="bg1"/>
                </a:solidFill>
              </a:defRPr>
            </a:lvl3pPr>
            <a:lvl4pPr>
              <a:defRPr sz="1200" spc="40" baseline="0"/>
            </a:lvl4pPr>
            <a:lvl5pPr>
              <a:defRPr sz="1200" spc="40" baseline="0"/>
            </a:lvl5pPr>
          </a:lstStyle>
          <a:p>
            <a:pPr lvl="0"/>
            <a:r>
              <a:rPr lang="en-US" noProof="0"/>
              <a:t>Click to add text</a:t>
            </a:r>
          </a:p>
          <a:p>
            <a:pPr lvl="1"/>
            <a:r>
              <a:rPr lang="en-US" noProof="0"/>
              <a:t>Second level</a:t>
            </a:r>
          </a:p>
        </p:txBody>
      </p:sp>
      <p:sp>
        <p:nvSpPr>
          <p:cNvPr id="13" name="Text Placeholder 7">
            <a:extLst>
              <a:ext uri="{FF2B5EF4-FFF2-40B4-BE49-F238E27FC236}">
                <a16:creationId xmlns:a16="http://schemas.microsoft.com/office/drawing/2014/main" id="{B2D2E607-59C0-854C-9641-8FC1939742CC}"/>
              </a:ext>
            </a:extLst>
          </p:cNvPr>
          <p:cNvSpPr>
            <a:spLocks noGrp="1"/>
          </p:cNvSpPr>
          <p:nvPr>
            <p:ph type="body" sz="quarter" idx="37" hasCustomPrompt="1"/>
          </p:nvPr>
        </p:nvSpPr>
        <p:spPr>
          <a:xfrm>
            <a:off x="9084571" y="4154400"/>
            <a:ext cx="2531167" cy="1974938"/>
          </a:xfrm>
        </p:spPr>
        <p:txBody>
          <a:bodyPr/>
          <a:lstStyle>
            <a:lvl1pPr marL="0" indent="0" algn="ctr">
              <a:lnSpc>
                <a:spcPct val="100000"/>
              </a:lnSpc>
              <a:spcBef>
                <a:spcPts val="0"/>
              </a:spcBef>
              <a:spcAft>
                <a:spcPts val="800"/>
              </a:spcAft>
              <a:buNone/>
              <a:defRPr sz="1800" b="1" spc="40" baseline="0">
                <a:solidFill>
                  <a:schemeClr val="accent1"/>
                </a:solidFill>
              </a:defRPr>
            </a:lvl1pPr>
            <a:lvl2pPr marL="0" indent="0" algn="ctr">
              <a:lnSpc>
                <a:spcPct val="100000"/>
              </a:lnSpc>
              <a:spcBef>
                <a:spcPts val="0"/>
              </a:spcBef>
              <a:spcAft>
                <a:spcPts val="600"/>
              </a:spcAft>
              <a:buNone/>
              <a:defRPr sz="1600" spc="40" baseline="0">
                <a:solidFill>
                  <a:schemeClr val="accent1"/>
                </a:solidFill>
              </a:defRPr>
            </a:lvl2pPr>
            <a:lvl3pPr marL="534988" indent="-168275">
              <a:buFont typeface="System Font Regular"/>
              <a:buChar char="–"/>
              <a:defRPr sz="1200" spc="40" baseline="0">
                <a:solidFill>
                  <a:schemeClr val="bg1"/>
                </a:solidFill>
              </a:defRPr>
            </a:lvl3pPr>
            <a:lvl4pPr>
              <a:defRPr sz="1200" spc="40" baseline="0"/>
            </a:lvl4pPr>
            <a:lvl5pPr>
              <a:defRPr sz="1200" spc="40" baseline="0"/>
            </a:lvl5pPr>
          </a:lstStyle>
          <a:p>
            <a:pPr lvl="0"/>
            <a:r>
              <a:rPr lang="en-US" noProof="0"/>
              <a:t>Click to add text</a:t>
            </a:r>
          </a:p>
          <a:p>
            <a:pPr lvl="1"/>
            <a:r>
              <a:rPr lang="en-US" noProof="0"/>
              <a:t>Second level</a:t>
            </a:r>
          </a:p>
        </p:txBody>
      </p:sp>
      <p:sp>
        <p:nvSpPr>
          <p:cNvPr id="14" name="Text Placeholder 18">
            <a:extLst>
              <a:ext uri="{FF2B5EF4-FFF2-40B4-BE49-F238E27FC236}">
                <a16:creationId xmlns:a16="http://schemas.microsoft.com/office/drawing/2014/main" id="{50DAC6A8-070F-A541-973B-11A3E7A90998}"/>
              </a:ext>
            </a:extLst>
          </p:cNvPr>
          <p:cNvSpPr>
            <a:spLocks noGrp="1"/>
          </p:cNvSpPr>
          <p:nvPr>
            <p:ph type="body" sz="quarter" idx="14" hasCustomPrompt="1"/>
          </p:nvPr>
        </p:nvSpPr>
        <p:spPr>
          <a:xfrm>
            <a:off x="576000" y="731027"/>
            <a:ext cx="11039738" cy="421200"/>
          </a:xfrm>
          <a:prstGeom prst="rect">
            <a:avLst/>
          </a:prstGeom>
        </p:spPr>
        <p:txBody>
          <a:bodyPr anchor="t">
            <a:noAutofit/>
          </a:bodyPr>
          <a:lstStyle>
            <a:lvl1pPr marL="0" indent="0">
              <a:lnSpc>
                <a:spcPct val="85000"/>
              </a:lnSpc>
              <a:spcBef>
                <a:spcPts val="0"/>
              </a:spcBef>
              <a:buNone/>
              <a:defRPr sz="3600" spc="40" baseline="0">
                <a:solidFill>
                  <a:schemeClr val="accent1"/>
                </a:solidFill>
                <a:latin typeface="+mj-lt"/>
              </a:defRPr>
            </a:lvl1pPr>
          </a:lstStyle>
          <a:p>
            <a:pPr lvl="0"/>
            <a:r>
              <a:rPr lang="en-US" noProof="0"/>
              <a:t>Click for a short headline of one line</a:t>
            </a:r>
          </a:p>
        </p:txBody>
      </p:sp>
      <p:sp>
        <p:nvSpPr>
          <p:cNvPr id="15" name="Text Placeholder 7">
            <a:extLst>
              <a:ext uri="{FF2B5EF4-FFF2-40B4-BE49-F238E27FC236}">
                <a16:creationId xmlns:a16="http://schemas.microsoft.com/office/drawing/2014/main" id="{CD04EC2E-C805-E64A-BBA4-8DECB98EE820}"/>
              </a:ext>
            </a:extLst>
          </p:cNvPr>
          <p:cNvSpPr>
            <a:spLocks noGrp="1"/>
          </p:cNvSpPr>
          <p:nvPr>
            <p:ph type="body" sz="quarter" idx="38" hasCustomPrompt="1"/>
          </p:nvPr>
        </p:nvSpPr>
        <p:spPr>
          <a:xfrm>
            <a:off x="583094" y="4154400"/>
            <a:ext cx="2531167" cy="1974938"/>
          </a:xfrm>
        </p:spPr>
        <p:txBody>
          <a:bodyPr/>
          <a:lstStyle>
            <a:lvl1pPr marL="0" indent="0" algn="ctr">
              <a:lnSpc>
                <a:spcPct val="100000"/>
              </a:lnSpc>
              <a:spcBef>
                <a:spcPts val="0"/>
              </a:spcBef>
              <a:spcAft>
                <a:spcPts val="800"/>
              </a:spcAft>
              <a:buNone/>
              <a:defRPr sz="1800" b="1" spc="40" baseline="0">
                <a:solidFill>
                  <a:schemeClr val="accent1"/>
                </a:solidFill>
              </a:defRPr>
            </a:lvl1pPr>
            <a:lvl2pPr marL="0" indent="0" algn="ctr">
              <a:lnSpc>
                <a:spcPct val="100000"/>
              </a:lnSpc>
              <a:spcBef>
                <a:spcPts val="0"/>
              </a:spcBef>
              <a:spcAft>
                <a:spcPts val="600"/>
              </a:spcAft>
              <a:buNone/>
              <a:defRPr sz="1600" spc="40" baseline="0">
                <a:solidFill>
                  <a:schemeClr val="accent1"/>
                </a:solidFill>
              </a:defRPr>
            </a:lvl2pPr>
            <a:lvl3pPr marL="534988" indent="-168275">
              <a:buFont typeface="System Font Regular"/>
              <a:buChar char="–"/>
              <a:defRPr sz="1200" spc="40" baseline="0">
                <a:solidFill>
                  <a:schemeClr val="bg1"/>
                </a:solidFill>
              </a:defRPr>
            </a:lvl3pPr>
            <a:lvl4pPr>
              <a:defRPr sz="1200" spc="40" baseline="0"/>
            </a:lvl4pPr>
            <a:lvl5pPr>
              <a:defRPr sz="1200" spc="40" baseline="0"/>
            </a:lvl5pPr>
          </a:lstStyle>
          <a:p>
            <a:pPr lvl="0"/>
            <a:r>
              <a:rPr lang="en-US" noProof="0"/>
              <a:t>Click to add text</a:t>
            </a:r>
          </a:p>
          <a:p>
            <a:pPr lvl="1"/>
            <a:r>
              <a:rPr lang="en-US" noProof="0"/>
              <a:t>Second level</a:t>
            </a:r>
          </a:p>
        </p:txBody>
      </p:sp>
      <p:sp>
        <p:nvSpPr>
          <p:cNvPr id="5" name="Picture Placeholder 4">
            <a:extLst>
              <a:ext uri="{FF2B5EF4-FFF2-40B4-BE49-F238E27FC236}">
                <a16:creationId xmlns:a16="http://schemas.microsoft.com/office/drawing/2014/main" id="{664BB5C8-D6D6-9E45-86B2-CADD71FC5C88}"/>
              </a:ext>
            </a:extLst>
          </p:cNvPr>
          <p:cNvSpPr>
            <a:spLocks noGrp="1"/>
          </p:cNvSpPr>
          <p:nvPr>
            <p:ph type="pic" sz="quarter" idx="39" hasCustomPrompt="1"/>
          </p:nvPr>
        </p:nvSpPr>
        <p:spPr>
          <a:xfrm>
            <a:off x="858744" y="2133600"/>
            <a:ext cx="1979867" cy="1828800"/>
          </a:xfrm>
        </p:spPr>
        <p:txBody>
          <a:bodyPr/>
          <a:lstStyle>
            <a:lvl1pPr marL="12700" indent="0" algn="ctr">
              <a:buNone/>
              <a:defRPr sz="1300">
                <a:solidFill>
                  <a:schemeClr val="accent1"/>
                </a:solidFill>
              </a:defRPr>
            </a:lvl1pPr>
          </a:lstStyle>
          <a:p>
            <a:r>
              <a:rPr lang="en-US" noProof="0"/>
              <a:t>Click to add icon</a:t>
            </a:r>
          </a:p>
        </p:txBody>
      </p:sp>
      <p:sp>
        <p:nvSpPr>
          <p:cNvPr id="30" name="Picture Placeholder 4">
            <a:extLst>
              <a:ext uri="{FF2B5EF4-FFF2-40B4-BE49-F238E27FC236}">
                <a16:creationId xmlns:a16="http://schemas.microsoft.com/office/drawing/2014/main" id="{21B4219E-EAF7-A840-BD4B-30965C2453D6}"/>
              </a:ext>
            </a:extLst>
          </p:cNvPr>
          <p:cNvSpPr>
            <a:spLocks noGrp="1"/>
          </p:cNvSpPr>
          <p:nvPr>
            <p:ph type="pic" sz="quarter" idx="40" hasCustomPrompt="1"/>
          </p:nvPr>
        </p:nvSpPr>
        <p:spPr>
          <a:xfrm>
            <a:off x="3692570" y="2133600"/>
            <a:ext cx="1979867" cy="1828800"/>
          </a:xfrm>
        </p:spPr>
        <p:txBody>
          <a:bodyPr/>
          <a:lstStyle>
            <a:lvl1pPr marL="12700" indent="0" algn="ctr">
              <a:buNone/>
              <a:defRPr sz="1300">
                <a:solidFill>
                  <a:schemeClr val="accent1"/>
                </a:solidFill>
              </a:defRPr>
            </a:lvl1pPr>
          </a:lstStyle>
          <a:p>
            <a:r>
              <a:rPr lang="en-US" noProof="0"/>
              <a:t>Click to add icon</a:t>
            </a:r>
          </a:p>
        </p:txBody>
      </p:sp>
      <p:sp>
        <p:nvSpPr>
          <p:cNvPr id="31" name="Picture Placeholder 4">
            <a:extLst>
              <a:ext uri="{FF2B5EF4-FFF2-40B4-BE49-F238E27FC236}">
                <a16:creationId xmlns:a16="http://schemas.microsoft.com/office/drawing/2014/main" id="{3E3297E1-ECDE-7F49-9333-F2D3B667B9E2}"/>
              </a:ext>
            </a:extLst>
          </p:cNvPr>
          <p:cNvSpPr>
            <a:spLocks noGrp="1"/>
          </p:cNvSpPr>
          <p:nvPr>
            <p:ph type="pic" sz="quarter" idx="41" hasCustomPrompt="1"/>
          </p:nvPr>
        </p:nvSpPr>
        <p:spPr>
          <a:xfrm>
            <a:off x="6526396" y="2133600"/>
            <a:ext cx="1979867" cy="1828800"/>
          </a:xfrm>
        </p:spPr>
        <p:txBody>
          <a:bodyPr/>
          <a:lstStyle>
            <a:lvl1pPr marL="12700" indent="0" algn="ctr">
              <a:buNone/>
              <a:defRPr sz="1300">
                <a:solidFill>
                  <a:schemeClr val="accent1"/>
                </a:solidFill>
              </a:defRPr>
            </a:lvl1pPr>
          </a:lstStyle>
          <a:p>
            <a:r>
              <a:rPr lang="en-US" noProof="0"/>
              <a:t>Click to add icon</a:t>
            </a:r>
          </a:p>
        </p:txBody>
      </p:sp>
      <p:sp>
        <p:nvSpPr>
          <p:cNvPr id="32" name="Picture Placeholder 4">
            <a:extLst>
              <a:ext uri="{FF2B5EF4-FFF2-40B4-BE49-F238E27FC236}">
                <a16:creationId xmlns:a16="http://schemas.microsoft.com/office/drawing/2014/main" id="{791D8F08-C508-FA4F-98BC-992A22771E82}"/>
              </a:ext>
            </a:extLst>
          </p:cNvPr>
          <p:cNvSpPr>
            <a:spLocks noGrp="1"/>
          </p:cNvSpPr>
          <p:nvPr>
            <p:ph type="pic" sz="quarter" idx="42" hasCustomPrompt="1"/>
          </p:nvPr>
        </p:nvSpPr>
        <p:spPr>
          <a:xfrm>
            <a:off x="9360221" y="2133600"/>
            <a:ext cx="1979867" cy="1828800"/>
          </a:xfrm>
        </p:spPr>
        <p:txBody>
          <a:bodyPr/>
          <a:lstStyle>
            <a:lvl1pPr marL="12700" indent="0" algn="ctr">
              <a:buNone/>
              <a:defRPr sz="1300">
                <a:solidFill>
                  <a:schemeClr val="accent1"/>
                </a:solidFill>
              </a:defRPr>
            </a:lvl1pPr>
          </a:lstStyle>
          <a:p>
            <a:r>
              <a:rPr lang="en-US" noProof="0"/>
              <a:t>Click to add icon</a:t>
            </a:r>
          </a:p>
        </p:txBody>
      </p:sp>
      <p:grpSp>
        <p:nvGrpSpPr>
          <p:cNvPr id="17" name="Grupp 32">
            <a:extLst>
              <a:ext uri="{FF2B5EF4-FFF2-40B4-BE49-F238E27FC236}">
                <a16:creationId xmlns:a16="http://schemas.microsoft.com/office/drawing/2014/main" id="{06A06E8E-9AC5-474F-9D8F-BE8A4B8DF25A}"/>
              </a:ext>
            </a:extLst>
          </p:cNvPr>
          <p:cNvGrpSpPr/>
          <p:nvPr userDrawn="1"/>
        </p:nvGrpSpPr>
        <p:grpSpPr>
          <a:xfrm>
            <a:off x="576140" y="6451484"/>
            <a:ext cx="615478" cy="91194"/>
            <a:chOff x="576140" y="6451484"/>
            <a:chExt cx="615478" cy="91194"/>
          </a:xfrm>
          <a:solidFill>
            <a:schemeClr val="tx2"/>
          </a:solidFill>
        </p:grpSpPr>
        <p:sp>
          <p:nvSpPr>
            <p:cNvPr id="18" name="Bild 2">
              <a:extLst>
                <a:ext uri="{FF2B5EF4-FFF2-40B4-BE49-F238E27FC236}">
                  <a16:creationId xmlns:a16="http://schemas.microsoft.com/office/drawing/2014/main" id="{75F62DFF-CE28-2847-9178-371361C4B379}"/>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noProof="0">
                <a:solidFill>
                  <a:schemeClr val="tx2"/>
                </a:solidFill>
              </a:endParaRPr>
            </a:p>
          </p:txBody>
        </p:sp>
        <p:sp>
          <p:nvSpPr>
            <p:cNvPr id="19" name="Bild 2">
              <a:extLst>
                <a:ext uri="{FF2B5EF4-FFF2-40B4-BE49-F238E27FC236}">
                  <a16:creationId xmlns:a16="http://schemas.microsoft.com/office/drawing/2014/main" id="{56F4E682-4CA9-5346-8CD6-98F8EACD6CE7}"/>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0" name="Bild 2">
              <a:extLst>
                <a:ext uri="{FF2B5EF4-FFF2-40B4-BE49-F238E27FC236}">
                  <a16:creationId xmlns:a16="http://schemas.microsoft.com/office/drawing/2014/main" id="{11510029-65DB-F040-9ED5-A182045EEF2B}"/>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21" name="Bild 2">
              <a:extLst>
                <a:ext uri="{FF2B5EF4-FFF2-40B4-BE49-F238E27FC236}">
                  <a16:creationId xmlns:a16="http://schemas.microsoft.com/office/drawing/2014/main" id="{882E3E49-2F44-5445-B3D9-4FA93CE1837A}"/>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2" name="Bild 2">
              <a:extLst>
                <a:ext uri="{FF2B5EF4-FFF2-40B4-BE49-F238E27FC236}">
                  <a16:creationId xmlns:a16="http://schemas.microsoft.com/office/drawing/2014/main" id="{E77E397B-C384-F949-9F60-67A86BD39DCA}"/>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noProof="0">
                <a:solidFill>
                  <a:schemeClr val="tx2"/>
                </a:solidFill>
              </a:endParaRPr>
            </a:p>
          </p:txBody>
        </p:sp>
        <p:sp>
          <p:nvSpPr>
            <p:cNvPr id="23" name="Bild 2">
              <a:extLst>
                <a:ext uri="{FF2B5EF4-FFF2-40B4-BE49-F238E27FC236}">
                  <a16:creationId xmlns:a16="http://schemas.microsoft.com/office/drawing/2014/main" id="{DBE8665D-1D7B-BC49-9416-388A79FA9660}"/>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24" name="Bild 2">
              <a:extLst>
                <a:ext uri="{FF2B5EF4-FFF2-40B4-BE49-F238E27FC236}">
                  <a16:creationId xmlns:a16="http://schemas.microsoft.com/office/drawing/2014/main" id="{E25BD59B-C1DD-BF4D-89DA-D56603C3E329}"/>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grpSp>
      <p:sp>
        <p:nvSpPr>
          <p:cNvPr id="25" name="textruta 24">
            <a:extLst>
              <a:ext uri="{FF2B5EF4-FFF2-40B4-BE49-F238E27FC236}">
                <a16:creationId xmlns:a16="http://schemas.microsoft.com/office/drawing/2014/main" id="{6FF8A552-8B94-0248-98BE-FC41CCC7238C}"/>
              </a:ext>
            </a:extLst>
          </p:cNvPr>
          <p:cNvSpPr txBox="1"/>
          <p:nvPr userDrawn="1"/>
        </p:nvSpPr>
        <p:spPr>
          <a:xfrm>
            <a:off x="12395260" y="4154400"/>
            <a:ext cx="1681523" cy="1754326"/>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mn-lt"/>
                <a:cs typeface="Arial" panose="020B0604020202020204" pitchFamily="34" charset="0"/>
              </a:rPr>
              <a:t>To change from </a:t>
            </a:r>
            <a:r>
              <a:rPr lang="en-US" sz="900" b="1" baseline="0" noProof="0">
                <a:solidFill>
                  <a:schemeClr val="tx1">
                    <a:lumMod val="65000"/>
                    <a:lumOff val="35000"/>
                  </a:schemeClr>
                </a:solidFill>
                <a:latin typeface="+mn-lt"/>
                <a:cs typeface="Arial" panose="020B0604020202020204" pitchFamily="34" charset="0"/>
              </a:rPr>
              <a:t>headline</a:t>
            </a:r>
            <a:r>
              <a:rPr lang="en-US" sz="900" baseline="0" noProof="0">
                <a:solidFill>
                  <a:schemeClr val="tx1">
                    <a:lumMod val="65000"/>
                    <a:lumOff val="35000"/>
                  </a:schemeClr>
                </a:solidFill>
                <a:latin typeface="+mn-lt"/>
                <a:cs typeface="Arial" panose="020B0604020202020204" pitchFamily="34" charset="0"/>
              </a:rPr>
              <a:t> to </a:t>
            </a:r>
            <a:r>
              <a:rPr lang="en-US" sz="900" b="1" baseline="0" noProof="0">
                <a:solidFill>
                  <a:schemeClr val="tx1">
                    <a:lumMod val="65000"/>
                    <a:lumOff val="35000"/>
                  </a:schemeClr>
                </a:solidFill>
                <a:latin typeface="+mn-lt"/>
                <a:cs typeface="Arial" panose="020B0604020202020204" pitchFamily="34" charset="0"/>
              </a:rPr>
              <a:t>body text </a:t>
            </a:r>
            <a:r>
              <a:rPr lang="en-US" sz="900" baseline="0" noProof="0">
                <a:solidFill>
                  <a:schemeClr val="tx1">
                    <a:lumMod val="65000"/>
                    <a:lumOff val="35000"/>
                  </a:schemeClr>
                </a:solidFill>
                <a:latin typeface="+mn-lt"/>
                <a:cs typeface="Arial" panose="020B0604020202020204" pitchFamily="34" charset="0"/>
              </a:rPr>
              <a:t>or to </a:t>
            </a:r>
            <a:r>
              <a:rPr lang="en-US" sz="900" b="1" baseline="0" noProof="0">
                <a:solidFill>
                  <a:schemeClr val="tx1">
                    <a:lumMod val="65000"/>
                    <a:lumOff val="35000"/>
                  </a:schemeClr>
                </a:solidFill>
                <a:latin typeface="+mn-lt"/>
                <a:cs typeface="Arial" panose="020B0604020202020204" pitchFamily="34" charset="0"/>
              </a:rPr>
              <a:t>use bullets</a:t>
            </a:r>
            <a:r>
              <a:rPr lang="en-US" sz="900" baseline="0" noProof="0">
                <a:solidFill>
                  <a:schemeClr val="tx1">
                    <a:lumMod val="65000"/>
                    <a:lumOff val="35000"/>
                  </a:schemeClr>
                </a:solidFill>
                <a:latin typeface="+mn-lt"/>
                <a:cs typeface="Arial" panose="020B0604020202020204" pitchFamily="34" charset="0"/>
              </a:rPr>
              <a:t>, press </a:t>
            </a:r>
            <a:r>
              <a:rPr lang="en-US" sz="900" b="1" baseline="0" noProof="0">
                <a:solidFill>
                  <a:schemeClr val="tx1">
                    <a:lumMod val="65000"/>
                    <a:lumOff val="35000"/>
                  </a:schemeClr>
                </a:solidFill>
                <a:latin typeface="+mn-lt"/>
                <a:cs typeface="Arial" panose="020B0604020202020204" pitchFamily="34" charset="0"/>
              </a:rPr>
              <a:t>enter/return </a:t>
            </a:r>
            <a:r>
              <a:rPr lang="en-US" sz="900" baseline="0" noProof="0">
                <a:solidFill>
                  <a:schemeClr val="tx1">
                    <a:lumMod val="65000"/>
                    <a:lumOff val="35000"/>
                  </a:schemeClr>
                </a:solidFill>
                <a:latin typeface="+mn-lt"/>
                <a:cs typeface="Arial" panose="020B0604020202020204" pitchFamily="34" charset="0"/>
              </a:rPr>
              <a:t>after your headline then use this function toggle to body text.</a:t>
            </a: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p:txBody>
      </p:sp>
      <p:pic>
        <p:nvPicPr>
          <p:cNvPr id="26" name="Picture 9">
            <a:extLst>
              <a:ext uri="{FF2B5EF4-FFF2-40B4-BE49-F238E27FC236}">
                <a16:creationId xmlns:a16="http://schemas.microsoft.com/office/drawing/2014/main" id="{93794F68-FA77-DA48-9A1A-E02A2FFA0838}"/>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
          <a:stretch/>
        </p:blipFill>
        <p:spPr>
          <a:xfrm>
            <a:off x="12522649" y="5058609"/>
            <a:ext cx="1422121" cy="721417"/>
          </a:xfrm>
          <a:prstGeom prst="rect">
            <a:avLst/>
          </a:prstGeom>
          <a:ln w="9525">
            <a:solidFill>
              <a:schemeClr val="tx2"/>
            </a:solidFill>
          </a:ln>
        </p:spPr>
      </p:pic>
      <p:sp>
        <p:nvSpPr>
          <p:cNvPr id="27" name="Oval 4">
            <a:extLst>
              <a:ext uri="{FF2B5EF4-FFF2-40B4-BE49-F238E27FC236}">
                <a16:creationId xmlns:a16="http://schemas.microsoft.com/office/drawing/2014/main" id="{5241205B-C4DB-DD49-956F-BF07FDFE2B88}"/>
              </a:ext>
            </a:extLst>
          </p:cNvPr>
          <p:cNvSpPr/>
          <p:nvPr userDrawn="1"/>
        </p:nvSpPr>
        <p:spPr>
          <a:xfrm>
            <a:off x="13194299" y="5281906"/>
            <a:ext cx="282818" cy="282818"/>
          </a:xfrm>
          <a:prstGeom prst="ellipse">
            <a:avLst/>
          </a:prstGeom>
          <a:solidFill>
            <a:schemeClr val="bg1">
              <a:lumMod val="95000"/>
              <a:alpha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latin typeface="+mn-lt"/>
            </a:endParaRPr>
          </a:p>
        </p:txBody>
      </p:sp>
      <p:cxnSp>
        <p:nvCxnSpPr>
          <p:cNvPr id="28" name="Connector: Elbow 131">
            <a:extLst>
              <a:ext uri="{FF2B5EF4-FFF2-40B4-BE49-F238E27FC236}">
                <a16:creationId xmlns:a16="http://schemas.microsoft.com/office/drawing/2014/main" id="{51B26D0D-F6C6-4746-9A73-F3230C78CC13}"/>
              </a:ext>
            </a:extLst>
          </p:cNvPr>
          <p:cNvCxnSpPr>
            <a:cxnSpLocks/>
            <a:endCxn id="27" idx="0"/>
          </p:cNvCxnSpPr>
          <p:nvPr userDrawn="1"/>
        </p:nvCxnSpPr>
        <p:spPr>
          <a:xfrm rot="5400000">
            <a:off x="13324711" y="5010086"/>
            <a:ext cx="282818" cy="260823"/>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Platshållare för datum 3">
            <a:extLst>
              <a:ext uri="{FF2B5EF4-FFF2-40B4-BE49-F238E27FC236}">
                <a16:creationId xmlns:a16="http://schemas.microsoft.com/office/drawing/2014/main" id="{F108AD82-72FC-B14A-AB1D-3531EE1EF2A5}"/>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tx2"/>
                </a:solidFill>
              </a:defRPr>
            </a:lvl1pPr>
          </a:lstStyle>
          <a:p>
            <a:fld id="{2F9806AD-009B-8D45-82A9-B9E8234B6322}" type="datetime1">
              <a:rPr lang="en-US" noProof="0" smtClean="0"/>
              <a:t>10/17/2023</a:t>
            </a:fld>
            <a:endParaRPr lang="en-US" noProof="0"/>
          </a:p>
        </p:txBody>
      </p:sp>
      <p:sp>
        <p:nvSpPr>
          <p:cNvPr id="33" name="Platshållare för sidfot 4">
            <a:extLst>
              <a:ext uri="{FF2B5EF4-FFF2-40B4-BE49-F238E27FC236}">
                <a16:creationId xmlns:a16="http://schemas.microsoft.com/office/drawing/2014/main" id="{C4EB0FB3-7424-E64E-9E1F-C82858E84CA5}"/>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tx2"/>
                </a:solidFill>
              </a:defRPr>
            </a:lvl1pPr>
          </a:lstStyle>
          <a:p>
            <a:r>
              <a:rPr lang="en-US" noProof="0"/>
              <a:t>Go to header/footer to change text </a:t>
            </a:r>
          </a:p>
        </p:txBody>
      </p:sp>
      <p:sp>
        <p:nvSpPr>
          <p:cNvPr id="34" name="Platshållare för bildnummer 5">
            <a:extLst>
              <a:ext uri="{FF2B5EF4-FFF2-40B4-BE49-F238E27FC236}">
                <a16:creationId xmlns:a16="http://schemas.microsoft.com/office/drawing/2014/main" id="{F618CE27-EA31-0640-9BB9-B364046C3B39}"/>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tx2"/>
                </a:solidFill>
              </a:defRPr>
            </a:lvl1pPr>
          </a:lstStyle>
          <a:p>
            <a:fld id="{EF8DBD5B-30F9-4F9C-AE39-E065C1AC514D}" type="slidenum">
              <a:rPr lang="en-US" noProof="0" smtClean="0"/>
              <a:pPr/>
              <a:t>‹#›</a:t>
            </a:fld>
            <a:endParaRPr lang="en-US" noProof="0"/>
          </a:p>
        </p:txBody>
      </p:sp>
    </p:spTree>
    <p:extLst>
      <p:ext uri="{BB962C8B-B14F-4D97-AF65-F5344CB8AC3E}">
        <p14:creationId xmlns:p14="http://schemas.microsoft.com/office/powerpoint/2010/main" val="219535030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7 Icons Text Image">
    <p:bg>
      <p:bgPr>
        <a:solidFill>
          <a:schemeClr val="bg1"/>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3CBA7EE4-EB8C-8F45-95DB-49CBDE2D978D}"/>
              </a:ext>
            </a:extLst>
          </p:cNvPr>
          <p:cNvSpPr>
            <a:spLocks noGrp="1"/>
          </p:cNvSpPr>
          <p:nvPr>
            <p:ph type="pic" sz="quarter" idx="13" hasCustomPrompt="1"/>
          </p:nvPr>
        </p:nvSpPr>
        <p:spPr>
          <a:xfrm>
            <a:off x="5" y="5"/>
            <a:ext cx="12191997" cy="6857997"/>
          </a:xfrm>
          <a:custGeom>
            <a:avLst/>
            <a:gdLst>
              <a:gd name="connsiteX0" fmla="*/ 1146049 w 12191997"/>
              <a:gd name="connsiteY0" fmla="*/ 6470534 h 6857997"/>
              <a:gd name="connsiteX1" fmla="*/ 1157832 w 12191997"/>
              <a:gd name="connsiteY1" fmla="*/ 6505507 h 6857997"/>
              <a:gd name="connsiteX2" fmla="*/ 1134642 w 12191997"/>
              <a:gd name="connsiteY2" fmla="*/ 6505507 h 6857997"/>
              <a:gd name="connsiteX3" fmla="*/ 788170 w 12191997"/>
              <a:gd name="connsiteY3" fmla="*/ 6470534 h 6857997"/>
              <a:gd name="connsiteX4" fmla="*/ 799953 w 12191997"/>
              <a:gd name="connsiteY4" fmla="*/ 6505507 h 6857997"/>
              <a:gd name="connsiteX5" fmla="*/ 776763 w 12191997"/>
              <a:gd name="connsiteY5" fmla="*/ 6505507 h 6857997"/>
              <a:gd name="connsiteX6" fmla="*/ 1132323 w 12191997"/>
              <a:gd name="connsiteY6" fmla="*/ 6451543 h 6857997"/>
              <a:gd name="connsiteX7" fmla="*/ 1100860 w 12191997"/>
              <a:gd name="connsiteY7" fmla="*/ 6542674 h 6857997"/>
              <a:gd name="connsiteX8" fmla="*/ 1123110 w 12191997"/>
              <a:gd name="connsiteY8" fmla="*/ 6542674 h 6857997"/>
              <a:gd name="connsiteX9" fmla="*/ 1128876 w 12191997"/>
              <a:gd name="connsiteY9" fmla="*/ 6524060 h 6857997"/>
              <a:gd name="connsiteX10" fmla="*/ 1163786 w 12191997"/>
              <a:gd name="connsiteY10" fmla="*/ 6524060 h 6857997"/>
              <a:gd name="connsiteX11" fmla="*/ 1169741 w 12191997"/>
              <a:gd name="connsiteY11" fmla="*/ 6542674 h 6857997"/>
              <a:gd name="connsiteX12" fmla="*/ 1191615 w 12191997"/>
              <a:gd name="connsiteY12" fmla="*/ 6542674 h 6857997"/>
              <a:gd name="connsiteX13" fmla="*/ 1159148 w 12191997"/>
              <a:gd name="connsiteY13" fmla="*/ 6451543 h 6857997"/>
              <a:gd name="connsiteX14" fmla="*/ 961907 w 12191997"/>
              <a:gd name="connsiteY14" fmla="*/ 6451543 h 6857997"/>
              <a:gd name="connsiteX15" fmla="*/ 933640 w 12191997"/>
              <a:gd name="connsiteY15" fmla="*/ 6479246 h 6857997"/>
              <a:gd name="connsiteX16" fmla="*/ 961907 w 12191997"/>
              <a:gd name="connsiteY16" fmla="*/ 6505821 h 6857997"/>
              <a:gd name="connsiteX17" fmla="*/ 983468 w 12191997"/>
              <a:gd name="connsiteY17" fmla="*/ 6505821 h 6857997"/>
              <a:gd name="connsiteX18" fmla="*/ 991678 w 12191997"/>
              <a:gd name="connsiteY18" fmla="*/ 6514282 h 6857997"/>
              <a:gd name="connsiteX19" fmla="*/ 983468 w 12191997"/>
              <a:gd name="connsiteY19" fmla="*/ 6522743 h 6857997"/>
              <a:gd name="connsiteX20" fmla="*/ 937338 w 12191997"/>
              <a:gd name="connsiteY20" fmla="*/ 6522743 h 6857997"/>
              <a:gd name="connsiteX21" fmla="*/ 937338 w 12191997"/>
              <a:gd name="connsiteY21" fmla="*/ 6542674 h 6857997"/>
              <a:gd name="connsiteX22" fmla="*/ 982716 w 12191997"/>
              <a:gd name="connsiteY22" fmla="*/ 6542674 h 6857997"/>
              <a:gd name="connsiteX23" fmla="*/ 1011358 w 12191997"/>
              <a:gd name="connsiteY23" fmla="*/ 6514282 h 6857997"/>
              <a:gd name="connsiteX24" fmla="*/ 986727 w 12191997"/>
              <a:gd name="connsiteY24" fmla="*/ 6487707 h 6857997"/>
              <a:gd name="connsiteX25" fmla="*/ 961907 w 12191997"/>
              <a:gd name="connsiteY25" fmla="*/ 6487707 h 6857997"/>
              <a:gd name="connsiteX26" fmla="*/ 953321 w 12191997"/>
              <a:gd name="connsiteY26" fmla="*/ 6479246 h 6857997"/>
              <a:gd name="connsiteX27" fmla="*/ 961907 w 12191997"/>
              <a:gd name="connsiteY27" fmla="*/ 6470785 h 6857997"/>
              <a:gd name="connsiteX28" fmla="*/ 1004965 w 12191997"/>
              <a:gd name="connsiteY28" fmla="*/ 6470785 h 6857997"/>
              <a:gd name="connsiteX29" fmla="*/ 1004965 w 12191997"/>
              <a:gd name="connsiteY29" fmla="*/ 6451543 h 6857997"/>
              <a:gd name="connsiteX30" fmla="*/ 841570 w 12191997"/>
              <a:gd name="connsiteY30" fmla="*/ 6451543 h 6857997"/>
              <a:gd name="connsiteX31" fmla="*/ 841570 w 12191997"/>
              <a:gd name="connsiteY31" fmla="*/ 6542674 h 6857997"/>
              <a:gd name="connsiteX32" fmla="*/ 862692 w 12191997"/>
              <a:gd name="connsiteY32" fmla="*/ 6542674 h 6857997"/>
              <a:gd name="connsiteX33" fmla="*/ 862692 w 12191997"/>
              <a:gd name="connsiteY33" fmla="*/ 6486454 h 6857997"/>
              <a:gd name="connsiteX34" fmla="*/ 898981 w 12191997"/>
              <a:gd name="connsiteY34" fmla="*/ 6542486 h 6857997"/>
              <a:gd name="connsiteX35" fmla="*/ 898981 w 12191997"/>
              <a:gd name="connsiteY35" fmla="*/ 6542674 h 6857997"/>
              <a:gd name="connsiteX36" fmla="*/ 920855 w 12191997"/>
              <a:gd name="connsiteY36" fmla="*/ 6542674 h 6857997"/>
              <a:gd name="connsiteX37" fmla="*/ 920793 w 12191997"/>
              <a:gd name="connsiteY37" fmla="*/ 6522994 h 6857997"/>
              <a:gd name="connsiteX38" fmla="*/ 920667 w 12191997"/>
              <a:gd name="connsiteY38" fmla="*/ 6451543 h 6857997"/>
              <a:gd name="connsiteX39" fmla="*/ 899671 w 12191997"/>
              <a:gd name="connsiteY39" fmla="*/ 6451543 h 6857997"/>
              <a:gd name="connsiteX40" fmla="*/ 899671 w 12191997"/>
              <a:gd name="connsiteY40" fmla="*/ 6508829 h 6857997"/>
              <a:gd name="connsiteX41" fmla="*/ 863068 w 12191997"/>
              <a:gd name="connsiteY41" fmla="*/ 6451543 h 6857997"/>
              <a:gd name="connsiteX42" fmla="*/ 774444 w 12191997"/>
              <a:gd name="connsiteY42" fmla="*/ 6451543 h 6857997"/>
              <a:gd name="connsiteX43" fmla="*/ 742918 w 12191997"/>
              <a:gd name="connsiteY43" fmla="*/ 6542674 h 6857997"/>
              <a:gd name="connsiteX44" fmla="*/ 765168 w 12191997"/>
              <a:gd name="connsiteY44" fmla="*/ 6542674 h 6857997"/>
              <a:gd name="connsiteX45" fmla="*/ 770934 w 12191997"/>
              <a:gd name="connsiteY45" fmla="*/ 6524060 h 6857997"/>
              <a:gd name="connsiteX46" fmla="*/ 805845 w 12191997"/>
              <a:gd name="connsiteY46" fmla="*/ 6524060 h 6857997"/>
              <a:gd name="connsiteX47" fmla="*/ 811799 w 12191997"/>
              <a:gd name="connsiteY47" fmla="*/ 6542674 h 6857997"/>
              <a:gd name="connsiteX48" fmla="*/ 833735 w 12191997"/>
              <a:gd name="connsiteY48" fmla="*/ 6542674 h 6857997"/>
              <a:gd name="connsiteX49" fmla="*/ 801269 w 12191997"/>
              <a:gd name="connsiteY49" fmla="*/ 6451543 h 6857997"/>
              <a:gd name="connsiteX50" fmla="*/ 604404 w 12191997"/>
              <a:gd name="connsiteY50" fmla="*/ 6451543 h 6857997"/>
              <a:gd name="connsiteX51" fmla="*/ 576137 w 12191997"/>
              <a:gd name="connsiteY51" fmla="*/ 6479246 h 6857997"/>
              <a:gd name="connsiteX52" fmla="*/ 604404 w 12191997"/>
              <a:gd name="connsiteY52" fmla="*/ 6505821 h 6857997"/>
              <a:gd name="connsiteX53" fmla="*/ 625964 w 12191997"/>
              <a:gd name="connsiteY53" fmla="*/ 6505821 h 6857997"/>
              <a:gd name="connsiteX54" fmla="*/ 634174 w 12191997"/>
              <a:gd name="connsiteY54" fmla="*/ 6514282 h 6857997"/>
              <a:gd name="connsiteX55" fmla="*/ 625964 w 12191997"/>
              <a:gd name="connsiteY55" fmla="*/ 6522743 h 6857997"/>
              <a:gd name="connsiteX56" fmla="*/ 579772 w 12191997"/>
              <a:gd name="connsiteY56" fmla="*/ 6522743 h 6857997"/>
              <a:gd name="connsiteX57" fmla="*/ 579772 w 12191997"/>
              <a:gd name="connsiteY57" fmla="*/ 6542674 h 6857997"/>
              <a:gd name="connsiteX58" fmla="*/ 625149 w 12191997"/>
              <a:gd name="connsiteY58" fmla="*/ 6542674 h 6857997"/>
              <a:gd name="connsiteX59" fmla="*/ 653792 w 12191997"/>
              <a:gd name="connsiteY59" fmla="*/ 6514282 h 6857997"/>
              <a:gd name="connsiteX60" fmla="*/ 629223 w 12191997"/>
              <a:gd name="connsiteY60" fmla="*/ 6487707 h 6857997"/>
              <a:gd name="connsiteX61" fmla="*/ 604404 w 12191997"/>
              <a:gd name="connsiteY61" fmla="*/ 6487707 h 6857997"/>
              <a:gd name="connsiteX62" fmla="*/ 595817 w 12191997"/>
              <a:gd name="connsiteY62" fmla="*/ 6479246 h 6857997"/>
              <a:gd name="connsiteX63" fmla="*/ 604404 w 12191997"/>
              <a:gd name="connsiteY63" fmla="*/ 6470785 h 6857997"/>
              <a:gd name="connsiteX64" fmla="*/ 647462 w 12191997"/>
              <a:gd name="connsiteY64" fmla="*/ 6470785 h 6857997"/>
              <a:gd name="connsiteX65" fmla="*/ 647462 w 12191997"/>
              <a:gd name="connsiteY65" fmla="*/ 6451543 h 6857997"/>
              <a:gd name="connsiteX66" fmla="*/ 1023956 w 12191997"/>
              <a:gd name="connsiteY66" fmla="*/ 6451480 h 6857997"/>
              <a:gd name="connsiteX67" fmla="*/ 1023956 w 12191997"/>
              <a:gd name="connsiteY67" fmla="*/ 6542674 h 6857997"/>
              <a:gd name="connsiteX68" fmla="*/ 1045016 w 12191997"/>
              <a:gd name="connsiteY68" fmla="*/ 6542674 h 6857997"/>
              <a:gd name="connsiteX69" fmla="*/ 1045016 w 12191997"/>
              <a:gd name="connsiteY69" fmla="*/ 6504191 h 6857997"/>
              <a:gd name="connsiteX70" fmla="*/ 1074975 w 12191997"/>
              <a:gd name="connsiteY70" fmla="*/ 6542674 h 6857997"/>
              <a:gd name="connsiteX71" fmla="*/ 1099481 w 12191997"/>
              <a:gd name="connsiteY71" fmla="*/ 6542674 h 6857997"/>
              <a:gd name="connsiteX72" fmla="*/ 1065009 w 12191997"/>
              <a:gd name="connsiteY72" fmla="*/ 6497109 h 6857997"/>
              <a:gd name="connsiteX73" fmla="*/ 1099481 w 12191997"/>
              <a:gd name="connsiteY73" fmla="*/ 6451480 h 6857997"/>
              <a:gd name="connsiteX74" fmla="*/ 1074975 w 12191997"/>
              <a:gd name="connsiteY74" fmla="*/ 6451480 h 6857997"/>
              <a:gd name="connsiteX75" fmla="*/ 1045016 w 12191997"/>
              <a:gd name="connsiteY75" fmla="*/ 6489963 h 6857997"/>
              <a:gd name="connsiteX76" fmla="*/ 1045016 w 12191997"/>
              <a:gd name="connsiteY76" fmla="*/ 6451480 h 6857997"/>
              <a:gd name="connsiteX77" fmla="*/ 666077 w 12191997"/>
              <a:gd name="connsiteY77" fmla="*/ 6451480 h 6857997"/>
              <a:gd name="connsiteX78" fmla="*/ 666077 w 12191997"/>
              <a:gd name="connsiteY78" fmla="*/ 6542674 h 6857997"/>
              <a:gd name="connsiteX79" fmla="*/ 687073 w 12191997"/>
              <a:gd name="connsiteY79" fmla="*/ 6542674 h 6857997"/>
              <a:gd name="connsiteX80" fmla="*/ 687073 w 12191997"/>
              <a:gd name="connsiteY80" fmla="*/ 6504191 h 6857997"/>
              <a:gd name="connsiteX81" fmla="*/ 717033 w 12191997"/>
              <a:gd name="connsiteY81" fmla="*/ 6542674 h 6857997"/>
              <a:gd name="connsiteX82" fmla="*/ 741602 w 12191997"/>
              <a:gd name="connsiteY82" fmla="*/ 6542674 h 6857997"/>
              <a:gd name="connsiteX83" fmla="*/ 707067 w 12191997"/>
              <a:gd name="connsiteY83" fmla="*/ 6497109 h 6857997"/>
              <a:gd name="connsiteX84" fmla="*/ 741602 w 12191997"/>
              <a:gd name="connsiteY84" fmla="*/ 6451480 h 6857997"/>
              <a:gd name="connsiteX85" fmla="*/ 717033 w 12191997"/>
              <a:gd name="connsiteY85" fmla="*/ 6451480 h 6857997"/>
              <a:gd name="connsiteX86" fmla="*/ 687073 w 12191997"/>
              <a:gd name="connsiteY86" fmla="*/ 6489963 h 6857997"/>
              <a:gd name="connsiteX87" fmla="*/ 687073 w 12191997"/>
              <a:gd name="connsiteY87" fmla="*/ 6451480 h 6857997"/>
              <a:gd name="connsiteX88" fmla="*/ 0 w 12191997"/>
              <a:gd name="connsiteY88" fmla="*/ 0 h 6857997"/>
              <a:gd name="connsiteX89" fmla="*/ 12191997 w 12191997"/>
              <a:gd name="connsiteY89" fmla="*/ 0 h 6857997"/>
              <a:gd name="connsiteX90" fmla="*/ 12191997 w 12191997"/>
              <a:gd name="connsiteY90" fmla="*/ 6857997 h 6857997"/>
              <a:gd name="connsiteX91" fmla="*/ 0 w 12191997"/>
              <a:gd name="connsiteY91" fmla="*/ 6857997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2191997" h="6857997">
                <a:moveTo>
                  <a:pt x="1146049" y="6470534"/>
                </a:moveTo>
                <a:lnTo>
                  <a:pt x="1157832" y="6505507"/>
                </a:lnTo>
                <a:lnTo>
                  <a:pt x="1134642" y="6505507"/>
                </a:lnTo>
                <a:close/>
                <a:moveTo>
                  <a:pt x="788170" y="6470534"/>
                </a:moveTo>
                <a:lnTo>
                  <a:pt x="799953" y="6505507"/>
                </a:lnTo>
                <a:lnTo>
                  <a:pt x="776763" y="6505507"/>
                </a:lnTo>
                <a:close/>
                <a:moveTo>
                  <a:pt x="1132323" y="6451543"/>
                </a:moveTo>
                <a:lnTo>
                  <a:pt x="1100860" y="6542674"/>
                </a:lnTo>
                <a:lnTo>
                  <a:pt x="1123110" y="6542674"/>
                </a:lnTo>
                <a:lnTo>
                  <a:pt x="1128876" y="6524060"/>
                </a:lnTo>
                <a:lnTo>
                  <a:pt x="1163786" y="6524060"/>
                </a:lnTo>
                <a:lnTo>
                  <a:pt x="1169741" y="6542674"/>
                </a:lnTo>
                <a:lnTo>
                  <a:pt x="1191615" y="6542674"/>
                </a:lnTo>
                <a:lnTo>
                  <a:pt x="1159148" y="6451543"/>
                </a:lnTo>
                <a:close/>
                <a:moveTo>
                  <a:pt x="961907" y="6451543"/>
                </a:moveTo>
                <a:cubicBezTo>
                  <a:pt x="944358" y="6451543"/>
                  <a:pt x="933640" y="6461822"/>
                  <a:pt x="933640" y="6479246"/>
                </a:cubicBezTo>
                <a:cubicBezTo>
                  <a:pt x="933640" y="6496670"/>
                  <a:pt x="945987" y="6505821"/>
                  <a:pt x="961907" y="6505821"/>
                </a:cubicBezTo>
                <a:lnTo>
                  <a:pt x="983468" y="6505821"/>
                </a:lnTo>
                <a:cubicBezTo>
                  <a:pt x="988921" y="6505821"/>
                  <a:pt x="991678" y="6509957"/>
                  <a:pt x="991678" y="6514282"/>
                </a:cubicBezTo>
                <a:cubicBezTo>
                  <a:pt x="991678" y="6518732"/>
                  <a:pt x="988921" y="6522743"/>
                  <a:pt x="983468" y="6522743"/>
                </a:cubicBezTo>
                <a:lnTo>
                  <a:pt x="937338" y="6522743"/>
                </a:lnTo>
                <a:lnTo>
                  <a:pt x="937338" y="6542674"/>
                </a:lnTo>
                <a:lnTo>
                  <a:pt x="982716" y="6542674"/>
                </a:lnTo>
                <a:cubicBezTo>
                  <a:pt x="1000704" y="6542674"/>
                  <a:pt x="1011358" y="6532772"/>
                  <a:pt x="1011358" y="6514282"/>
                </a:cubicBezTo>
                <a:cubicBezTo>
                  <a:pt x="1011358" y="6497610"/>
                  <a:pt x="1000641" y="6487707"/>
                  <a:pt x="986727" y="6487707"/>
                </a:cubicBezTo>
                <a:lnTo>
                  <a:pt x="961907" y="6487707"/>
                </a:lnTo>
                <a:cubicBezTo>
                  <a:pt x="956078" y="6487707"/>
                  <a:pt x="953321" y="6483696"/>
                  <a:pt x="953321" y="6479246"/>
                </a:cubicBezTo>
                <a:cubicBezTo>
                  <a:pt x="953321" y="6474796"/>
                  <a:pt x="956078" y="6470785"/>
                  <a:pt x="961907" y="6470785"/>
                </a:cubicBezTo>
                <a:lnTo>
                  <a:pt x="1004965" y="6470785"/>
                </a:lnTo>
                <a:lnTo>
                  <a:pt x="1004965" y="6451543"/>
                </a:lnTo>
                <a:close/>
                <a:moveTo>
                  <a:pt x="841570" y="6451543"/>
                </a:moveTo>
                <a:lnTo>
                  <a:pt x="841570" y="6542674"/>
                </a:lnTo>
                <a:lnTo>
                  <a:pt x="862692" y="6542674"/>
                </a:lnTo>
                <a:lnTo>
                  <a:pt x="862692" y="6486454"/>
                </a:lnTo>
                <a:lnTo>
                  <a:pt x="898981" y="6542486"/>
                </a:lnTo>
                <a:lnTo>
                  <a:pt x="898981" y="6542674"/>
                </a:lnTo>
                <a:lnTo>
                  <a:pt x="920855" y="6542674"/>
                </a:lnTo>
                <a:lnTo>
                  <a:pt x="920793" y="6522994"/>
                </a:lnTo>
                <a:lnTo>
                  <a:pt x="920667" y="6451543"/>
                </a:lnTo>
                <a:lnTo>
                  <a:pt x="899671" y="6451543"/>
                </a:lnTo>
                <a:lnTo>
                  <a:pt x="899671" y="6508829"/>
                </a:lnTo>
                <a:lnTo>
                  <a:pt x="863068" y="6451543"/>
                </a:lnTo>
                <a:close/>
                <a:moveTo>
                  <a:pt x="774444" y="6451543"/>
                </a:moveTo>
                <a:lnTo>
                  <a:pt x="742918" y="6542674"/>
                </a:lnTo>
                <a:lnTo>
                  <a:pt x="765168" y="6542674"/>
                </a:lnTo>
                <a:lnTo>
                  <a:pt x="770934" y="6524060"/>
                </a:lnTo>
                <a:lnTo>
                  <a:pt x="805845" y="6524060"/>
                </a:lnTo>
                <a:lnTo>
                  <a:pt x="811799" y="6542674"/>
                </a:lnTo>
                <a:lnTo>
                  <a:pt x="833735" y="6542674"/>
                </a:lnTo>
                <a:lnTo>
                  <a:pt x="801269" y="6451543"/>
                </a:lnTo>
                <a:close/>
                <a:moveTo>
                  <a:pt x="604404" y="6451543"/>
                </a:moveTo>
                <a:cubicBezTo>
                  <a:pt x="586792" y="6451543"/>
                  <a:pt x="576137" y="6461822"/>
                  <a:pt x="576137" y="6479246"/>
                </a:cubicBezTo>
                <a:cubicBezTo>
                  <a:pt x="576137" y="6496670"/>
                  <a:pt x="588484" y="6505821"/>
                  <a:pt x="604404" y="6505821"/>
                </a:cubicBezTo>
                <a:lnTo>
                  <a:pt x="625964" y="6505821"/>
                </a:lnTo>
                <a:cubicBezTo>
                  <a:pt x="631417" y="6505821"/>
                  <a:pt x="634174" y="6509957"/>
                  <a:pt x="634174" y="6514282"/>
                </a:cubicBezTo>
                <a:cubicBezTo>
                  <a:pt x="634174" y="6518732"/>
                  <a:pt x="631417" y="6522743"/>
                  <a:pt x="625964" y="6522743"/>
                </a:cubicBezTo>
                <a:lnTo>
                  <a:pt x="579772" y="6522743"/>
                </a:lnTo>
                <a:lnTo>
                  <a:pt x="579772" y="6542674"/>
                </a:lnTo>
                <a:lnTo>
                  <a:pt x="625149" y="6542674"/>
                </a:lnTo>
                <a:cubicBezTo>
                  <a:pt x="643137" y="6542674"/>
                  <a:pt x="653792" y="6532772"/>
                  <a:pt x="653792" y="6514282"/>
                </a:cubicBezTo>
                <a:cubicBezTo>
                  <a:pt x="653792" y="6497610"/>
                  <a:pt x="643137" y="6487707"/>
                  <a:pt x="629223" y="6487707"/>
                </a:cubicBezTo>
                <a:lnTo>
                  <a:pt x="604404" y="6487707"/>
                </a:lnTo>
                <a:cubicBezTo>
                  <a:pt x="598575" y="6487707"/>
                  <a:pt x="595817" y="6483696"/>
                  <a:pt x="595817" y="6479246"/>
                </a:cubicBezTo>
                <a:cubicBezTo>
                  <a:pt x="595817" y="6474796"/>
                  <a:pt x="598575" y="6470785"/>
                  <a:pt x="604404" y="6470785"/>
                </a:cubicBezTo>
                <a:lnTo>
                  <a:pt x="647462" y="6470785"/>
                </a:lnTo>
                <a:lnTo>
                  <a:pt x="647462" y="6451543"/>
                </a:lnTo>
                <a:close/>
                <a:moveTo>
                  <a:pt x="1023956" y="6451480"/>
                </a:moveTo>
                <a:lnTo>
                  <a:pt x="1023956" y="6542674"/>
                </a:lnTo>
                <a:lnTo>
                  <a:pt x="1045016" y="6542674"/>
                </a:lnTo>
                <a:lnTo>
                  <a:pt x="1045016" y="6504191"/>
                </a:lnTo>
                <a:lnTo>
                  <a:pt x="1074975" y="6542674"/>
                </a:lnTo>
                <a:lnTo>
                  <a:pt x="1099481" y="6542674"/>
                </a:lnTo>
                <a:lnTo>
                  <a:pt x="1065009" y="6497109"/>
                </a:lnTo>
                <a:lnTo>
                  <a:pt x="1099481" y="6451480"/>
                </a:lnTo>
                <a:lnTo>
                  <a:pt x="1074975" y="6451480"/>
                </a:lnTo>
                <a:lnTo>
                  <a:pt x="1045016" y="6489963"/>
                </a:lnTo>
                <a:lnTo>
                  <a:pt x="1045016" y="6451480"/>
                </a:lnTo>
                <a:close/>
                <a:moveTo>
                  <a:pt x="666077" y="6451480"/>
                </a:moveTo>
                <a:lnTo>
                  <a:pt x="666077" y="6542674"/>
                </a:lnTo>
                <a:lnTo>
                  <a:pt x="687073" y="6542674"/>
                </a:lnTo>
                <a:lnTo>
                  <a:pt x="687073" y="6504191"/>
                </a:lnTo>
                <a:lnTo>
                  <a:pt x="717033" y="6542674"/>
                </a:lnTo>
                <a:lnTo>
                  <a:pt x="741602" y="6542674"/>
                </a:lnTo>
                <a:lnTo>
                  <a:pt x="707067" y="6497109"/>
                </a:lnTo>
                <a:lnTo>
                  <a:pt x="741602" y="6451480"/>
                </a:lnTo>
                <a:lnTo>
                  <a:pt x="717033" y="6451480"/>
                </a:lnTo>
                <a:lnTo>
                  <a:pt x="687073" y="6489963"/>
                </a:lnTo>
                <a:lnTo>
                  <a:pt x="687073" y="6451480"/>
                </a:lnTo>
                <a:close/>
                <a:moveTo>
                  <a:pt x="0" y="0"/>
                </a:moveTo>
                <a:lnTo>
                  <a:pt x="12191997" y="0"/>
                </a:lnTo>
                <a:lnTo>
                  <a:pt x="12191997" y="6857997"/>
                </a:lnTo>
                <a:lnTo>
                  <a:pt x="0" y="6857997"/>
                </a:lnTo>
                <a:close/>
              </a:path>
            </a:pathLst>
          </a:custGeom>
          <a:solidFill>
            <a:schemeClr val="accent6">
              <a:lumMod val="90000"/>
            </a:schemeClr>
          </a:solidFill>
        </p:spPr>
        <p:txBody>
          <a:bodyPr wrap="square" lIns="36000" tIns="36000" rIns="36000" bIns="36000">
            <a:noAutofit/>
          </a:bodyPr>
          <a:lstStyle>
            <a:lvl1pPr marL="0" indent="0" algn="ctr">
              <a:buNone/>
              <a:defRPr sz="1300">
                <a:solidFill>
                  <a:schemeClr val="tx2"/>
                </a:solidFill>
              </a:defRPr>
            </a:lvl1pPr>
          </a:lstStyle>
          <a:p>
            <a:r>
              <a:rPr lang="en-US" noProof="0"/>
              <a:t>Click on the icon to add an image</a:t>
            </a:r>
          </a:p>
        </p:txBody>
      </p:sp>
      <p:sp>
        <p:nvSpPr>
          <p:cNvPr id="11" name="Text Placeholder 7">
            <a:extLst>
              <a:ext uri="{FF2B5EF4-FFF2-40B4-BE49-F238E27FC236}">
                <a16:creationId xmlns:a16="http://schemas.microsoft.com/office/drawing/2014/main" id="{1E8E1731-23EB-0B4A-A05C-05B9BCA19C9C}"/>
              </a:ext>
            </a:extLst>
          </p:cNvPr>
          <p:cNvSpPr>
            <a:spLocks noGrp="1"/>
          </p:cNvSpPr>
          <p:nvPr>
            <p:ph type="body" sz="quarter" idx="32" hasCustomPrompt="1"/>
          </p:nvPr>
        </p:nvSpPr>
        <p:spPr>
          <a:xfrm>
            <a:off x="3416920" y="4154400"/>
            <a:ext cx="2531167" cy="1974938"/>
          </a:xfrm>
        </p:spPr>
        <p:txBody>
          <a:bodyPr/>
          <a:lstStyle>
            <a:lvl1pPr marL="0" indent="0" algn="ctr">
              <a:lnSpc>
                <a:spcPct val="100000"/>
              </a:lnSpc>
              <a:spcBef>
                <a:spcPts val="0"/>
              </a:spcBef>
              <a:spcAft>
                <a:spcPts val="800"/>
              </a:spcAft>
              <a:buNone/>
              <a:defRPr sz="1800" b="1" spc="40" baseline="0">
                <a:solidFill>
                  <a:schemeClr val="bg1"/>
                </a:solidFill>
              </a:defRPr>
            </a:lvl1pPr>
            <a:lvl2pPr marL="0" indent="0" algn="ctr">
              <a:lnSpc>
                <a:spcPct val="100000"/>
              </a:lnSpc>
              <a:spcBef>
                <a:spcPts val="0"/>
              </a:spcBef>
              <a:spcAft>
                <a:spcPts val="600"/>
              </a:spcAft>
              <a:buNone/>
              <a:defRPr sz="1600" spc="40" baseline="0">
                <a:solidFill>
                  <a:schemeClr val="bg1"/>
                </a:solidFill>
              </a:defRPr>
            </a:lvl2pPr>
            <a:lvl3pPr marL="534988" indent="-168275">
              <a:buFont typeface="System Font Regular"/>
              <a:buChar char="–"/>
              <a:defRPr sz="1200" spc="40" baseline="0">
                <a:solidFill>
                  <a:schemeClr val="bg1"/>
                </a:solidFill>
              </a:defRPr>
            </a:lvl3pPr>
            <a:lvl4pPr>
              <a:defRPr sz="1200" spc="40" baseline="0"/>
            </a:lvl4pPr>
            <a:lvl5pPr>
              <a:defRPr sz="1200" spc="40" baseline="0"/>
            </a:lvl5pPr>
          </a:lstStyle>
          <a:p>
            <a:pPr lvl="0"/>
            <a:r>
              <a:rPr lang="en-US" noProof="0"/>
              <a:t>Click to add text</a:t>
            </a:r>
          </a:p>
          <a:p>
            <a:pPr lvl="1"/>
            <a:r>
              <a:rPr lang="en-US" noProof="0"/>
              <a:t>Second level</a:t>
            </a:r>
          </a:p>
        </p:txBody>
      </p:sp>
      <p:sp>
        <p:nvSpPr>
          <p:cNvPr id="12" name="Text Placeholder 7">
            <a:extLst>
              <a:ext uri="{FF2B5EF4-FFF2-40B4-BE49-F238E27FC236}">
                <a16:creationId xmlns:a16="http://schemas.microsoft.com/office/drawing/2014/main" id="{2338588B-5749-8548-8A92-845B34954343}"/>
              </a:ext>
            </a:extLst>
          </p:cNvPr>
          <p:cNvSpPr>
            <a:spLocks noGrp="1"/>
          </p:cNvSpPr>
          <p:nvPr>
            <p:ph type="body" sz="quarter" idx="35" hasCustomPrompt="1"/>
          </p:nvPr>
        </p:nvSpPr>
        <p:spPr>
          <a:xfrm>
            <a:off x="6250746" y="4154400"/>
            <a:ext cx="2531167" cy="1974938"/>
          </a:xfrm>
        </p:spPr>
        <p:txBody>
          <a:bodyPr/>
          <a:lstStyle>
            <a:lvl1pPr marL="0" indent="0" algn="ctr">
              <a:lnSpc>
                <a:spcPct val="100000"/>
              </a:lnSpc>
              <a:spcBef>
                <a:spcPts val="0"/>
              </a:spcBef>
              <a:spcAft>
                <a:spcPts val="800"/>
              </a:spcAft>
              <a:buNone/>
              <a:defRPr sz="1800" b="1" spc="40" baseline="0">
                <a:solidFill>
                  <a:schemeClr val="bg1"/>
                </a:solidFill>
              </a:defRPr>
            </a:lvl1pPr>
            <a:lvl2pPr marL="0" indent="0" algn="ctr">
              <a:lnSpc>
                <a:spcPct val="100000"/>
              </a:lnSpc>
              <a:spcBef>
                <a:spcPts val="0"/>
              </a:spcBef>
              <a:spcAft>
                <a:spcPts val="600"/>
              </a:spcAft>
              <a:buNone/>
              <a:defRPr sz="1600" spc="40" baseline="0">
                <a:solidFill>
                  <a:schemeClr val="bg1"/>
                </a:solidFill>
              </a:defRPr>
            </a:lvl2pPr>
            <a:lvl3pPr marL="534988" indent="-168275">
              <a:buFont typeface="System Font Regular"/>
              <a:buChar char="–"/>
              <a:defRPr sz="1200" spc="40" baseline="0">
                <a:solidFill>
                  <a:schemeClr val="bg1"/>
                </a:solidFill>
              </a:defRPr>
            </a:lvl3pPr>
            <a:lvl4pPr>
              <a:defRPr sz="1200" spc="40" baseline="0"/>
            </a:lvl4pPr>
            <a:lvl5pPr>
              <a:defRPr sz="1200" spc="40" baseline="0"/>
            </a:lvl5pPr>
          </a:lstStyle>
          <a:p>
            <a:pPr lvl="0"/>
            <a:r>
              <a:rPr lang="en-US" noProof="0"/>
              <a:t>Click to add text</a:t>
            </a:r>
          </a:p>
          <a:p>
            <a:pPr lvl="1"/>
            <a:r>
              <a:rPr lang="en-US" noProof="0"/>
              <a:t>Second level</a:t>
            </a:r>
          </a:p>
        </p:txBody>
      </p:sp>
      <p:sp>
        <p:nvSpPr>
          <p:cNvPr id="13" name="Text Placeholder 7">
            <a:extLst>
              <a:ext uri="{FF2B5EF4-FFF2-40B4-BE49-F238E27FC236}">
                <a16:creationId xmlns:a16="http://schemas.microsoft.com/office/drawing/2014/main" id="{B2D2E607-59C0-854C-9641-8FC1939742CC}"/>
              </a:ext>
            </a:extLst>
          </p:cNvPr>
          <p:cNvSpPr>
            <a:spLocks noGrp="1"/>
          </p:cNvSpPr>
          <p:nvPr>
            <p:ph type="body" sz="quarter" idx="37" hasCustomPrompt="1"/>
          </p:nvPr>
        </p:nvSpPr>
        <p:spPr>
          <a:xfrm>
            <a:off x="9084571" y="4154400"/>
            <a:ext cx="2531167" cy="1974938"/>
          </a:xfrm>
        </p:spPr>
        <p:txBody>
          <a:bodyPr/>
          <a:lstStyle>
            <a:lvl1pPr marL="0" indent="0" algn="ctr">
              <a:lnSpc>
                <a:spcPct val="100000"/>
              </a:lnSpc>
              <a:spcBef>
                <a:spcPts val="0"/>
              </a:spcBef>
              <a:spcAft>
                <a:spcPts val="800"/>
              </a:spcAft>
              <a:buNone/>
              <a:defRPr sz="1800" b="1" spc="40" baseline="0">
                <a:solidFill>
                  <a:schemeClr val="bg1"/>
                </a:solidFill>
              </a:defRPr>
            </a:lvl1pPr>
            <a:lvl2pPr marL="0" indent="0" algn="ctr">
              <a:lnSpc>
                <a:spcPct val="100000"/>
              </a:lnSpc>
              <a:spcBef>
                <a:spcPts val="0"/>
              </a:spcBef>
              <a:spcAft>
                <a:spcPts val="600"/>
              </a:spcAft>
              <a:buNone/>
              <a:defRPr sz="1600" spc="40" baseline="0">
                <a:solidFill>
                  <a:schemeClr val="bg1"/>
                </a:solidFill>
              </a:defRPr>
            </a:lvl2pPr>
            <a:lvl3pPr marL="534988" indent="-168275">
              <a:buFont typeface="System Font Regular"/>
              <a:buChar char="–"/>
              <a:defRPr sz="1200" spc="40" baseline="0">
                <a:solidFill>
                  <a:schemeClr val="bg1"/>
                </a:solidFill>
              </a:defRPr>
            </a:lvl3pPr>
            <a:lvl4pPr>
              <a:defRPr sz="1200" spc="40" baseline="0"/>
            </a:lvl4pPr>
            <a:lvl5pPr>
              <a:defRPr sz="1200" spc="40" baseline="0"/>
            </a:lvl5pPr>
          </a:lstStyle>
          <a:p>
            <a:pPr lvl="0"/>
            <a:r>
              <a:rPr lang="en-US" noProof="0"/>
              <a:t>Click to add text</a:t>
            </a:r>
          </a:p>
          <a:p>
            <a:pPr lvl="1"/>
            <a:r>
              <a:rPr lang="en-US" noProof="0"/>
              <a:t>Second level</a:t>
            </a:r>
          </a:p>
        </p:txBody>
      </p:sp>
      <p:sp>
        <p:nvSpPr>
          <p:cNvPr id="14" name="Text Placeholder 18">
            <a:extLst>
              <a:ext uri="{FF2B5EF4-FFF2-40B4-BE49-F238E27FC236}">
                <a16:creationId xmlns:a16="http://schemas.microsoft.com/office/drawing/2014/main" id="{50DAC6A8-070F-A541-973B-11A3E7A90998}"/>
              </a:ext>
            </a:extLst>
          </p:cNvPr>
          <p:cNvSpPr>
            <a:spLocks noGrp="1"/>
          </p:cNvSpPr>
          <p:nvPr>
            <p:ph type="body" sz="quarter" idx="14" hasCustomPrompt="1"/>
          </p:nvPr>
        </p:nvSpPr>
        <p:spPr>
          <a:xfrm>
            <a:off x="576000" y="731027"/>
            <a:ext cx="11039738" cy="421200"/>
          </a:xfrm>
          <a:prstGeom prst="rect">
            <a:avLst/>
          </a:prstGeom>
        </p:spPr>
        <p:txBody>
          <a:bodyPr anchor="t">
            <a:noAutofit/>
          </a:bodyPr>
          <a:lstStyle>
            <a:lvl1pPr marL="0" indent="0">
              <a:lnSpc>
                <a:spcPct val="85000"/>
              </a:lnSpc>
              <a:spcBef>
                <a:spcPts val="0"/>
              </a:spcBef>
              <a:buNone/>
              <a:defRPr sz="3600" spc="40" baseline="0">
                <a:solidFill>
                  <a:schemeClr val="bg1"/>
                </a:solidFill>
                <a:latin typeface="+mj-lt"/>
              </a:defRPr>
            </a:lvl1pPr>
          </a:lstStyle>
          <a:p>
            <a:pPr lvl="0"/>
            <a:r>
              <a:rPr lang="en-US" noProof="0"/>
              <a:t>Click for a short headline of one line</a:t>
            </a:r>
          </a:p>
        </p:txBody>
      </p:sp>
      <p:sp>
        <p:nvSpPr>
          <p:cNvPr id="15" name="Text Placeholder 7">
            <a:extLst>
              <a:ext uri="{FF2B5EF4-FFF2-40B4-BE49-F238E27FC236}">
                <a16:creationId xmlns:a16="http://schemas.microsoft.com/office/drawing/2014/main" id="{CD04EC2E-C805-E64A-BBA4-8DECB98EE820}"/>
              </a:ext>
            </a:extLst>
          </p:cNvPr>
          <p:cNvSpPr>
            <a:spLocks noGrp="1"/>
          </p:cNvSpPr>
          <p:nvPr>
            <p:ph type="body" sz="quarter" idx="38" hasCustomPrompt="1"/>
          </p:nvPr>
        </p:nvSpPr>
        <p:spPr>
          <a:xfrm>
            <a:off x="583094" y="4154400"/>
            <a:ext cx="2531167" cy="1974938"/>
          </a:xfrm>
        </p:spPr>
        <p:txBody>
          <a:bodyPr/>
          <a:lstStyle>
            <a:lvl1pPr marL="0" indent="0" algn="ctr">
              <a:lnSpc>
                <a:spcPct val="100000"/>
              </a:lnSpc>
              <a:spcBef>
                <a:spcPts val="0"/>
              </a:spcBef>
              <a:spcAft>
                <a:spcPts val="800"/>
              </a:spcAft>
              <a:buNone/>
              <a:defRPr sz="1800" b="1" spc="40" baseline="0">
                <a:solidFill>
                  <a:schemeClr val="bg1"/>
                </a:solidFill>
              </a:defRPr>
            </a:lvl1pPr>
            <a:lvl2pPr marL="0" indent="0" algn="ctr">
              <a:lnSpc>
                <a:spcPct val="100000"/>
              </a:lnSpc>
              <a:spcBef>
                <a:spcPts val="0"/>
              </a:spcBef>
              <a:spcAft>
                <a:spcPts val="600"/>
              </a:spcAft>
              <a:buNone/>
              <a:defRPr sz="1600" spc="40" baseline="0">
                <a:solidFill>
                  <a:schemeClr val="bg1"/>
                </a:solidFill>
              </a:defRPr>
            </a:lvl2pPr>
            <a:lvl3pPr marL="534988" indent="-168275">
              <a:buFont typeface="System Font Regular"/>
              <a:buChar char="–"/>
              <a:defRPr sz="1200" spc="40" baseline="0">
                <a:solidFill>
                  <a:schemeClr val="bg1"/>
                </a:solidFill>
              </a:defRPr>
            </a:lvl3pPr>
            <a:lvl4pPr>
              <a:defRPr sz="1200" spc="40" baseline="0"/>
            </a:lvl4pPr>
            <a:lvl5pPr>
              <a:defRPr sz="1200" spc="40" baseline="0"/>
            </a:lvl5pPr>
          </a:lstStyle>
          <a:p>
            <a:pPr lvl="0"/>
            <a:r>
              <a:rPr lang="en-US" noProof="0"/>
              <a:t>Click to add text</a:t>
            </a:r>
          </a:p>
          <a:p>
            <a:pPr lvl="1"/>
            <a:r>
              <a:rPr lang="en-US" noProof="0"/>
              <a:t>Second level</a:t>
            </a:r>
          </a:p>
        </p:txBody>
      </p:sp>
      <p:sp>
        <p:nvSpPr>
          <p:cNvPr id="16" name="textruta 15">
            <a:extLst>
              <a:ext uri="{FF2B5EF4-FFF2-40B4-BE49-F238E27FC236}">
                <a16:creationId xmlns:a16="http://schemas.microsoft.com/office/drawing/2014/main" id="{5B557DC7-544E-9044-B335-9376734CE4C7}"/>
              </a:ext>
            </a:extLst>
          </p:cNvPr>
          <p:cNvSpPr txBox="1"/>
          <p:nvPr userDrawn="1"/>
        </p:nvSpPr>
        <p:spPr>
          <a:xfrm>
            <a:off x="12395260" y="4154400"/>
            <a:ext cx="1681523" cy="1754326"/>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mn-lt"/>
                <a:cs typeface="Arial" panose="020B0604020202020204" pitchFamily="34" charset="0"/>
              </a:rPr>
              <a:t>To change from </a:t>
            </a:r>
            <a:r>
              <a:rPr lang="en-US" sz="900" b="1" baseline="0" noProof="0">
                <a:solidFill>
                  <a:schemeClr val="tx1">
                    <a:lumMod val="65000"/>
                    <a:lumOff val="35000"/>
                  </a:schemeClr>
                </a:solidFill>
                <a:latin typeface="+mn-lt"/>
                <a:cs typeface="Arial" panose="020B0604020202020204" pitchFamily="34" charset="0"/>
              </a:rPr>
              <a:t>headline</a:t>
            </a:r>
            <a:r>
              <a:rPr lang="en-US" sz="900" baseline="0" noProof="0">
                <a:solidFill>
                  <a:schemeClr val="tx1">
                    <a:lumMod val="65000"/>
                    <a:lumOff val="35000"/>
                  </a:schemeClr>
                </a:solidFill>
                <a:latin typeface="+mn-lt"/>
                <a:cs typeface="Arial" panose="020B0604020202020204" pitchFamily="34" charset="0"/>
              </a:rPr>
              <a:t> to </a:t>
            </a:r>
            <a:r>
              <a:rPr lang="en-US" sz="900" b="1" baseline="0" noProof="0">
                <a:solidFill>
                  <a:schemeClr val="tx1">
                    <a:lumMod val="65000"/>
                    <a:lumOff val="35000"/>
                  </a:schemeClr>
                </a:solidFill>
                <a:latin typeface="+mn-lt"/>
                <a:cs typeface="Arial" panose="020B0604020202020204" pitchFamily="34" charset="0"/>
              </a:rPr>
              <a:t>body text </a:t>
            </a:r>
            <a:r>
              <a:rPr lang="en-US" sz="900" baseline="0" noProof="0">
                <a:solidFill>
                  <a:schemeClr val="tx1">
                    <a:lumMod val="65000"/>
                    <a:lumOff val="35000"/>
                  </a:schemeClr>
                </a:solidFill>
                <a:latin typeface="+mn-lt"/>
                <a:cs typeface="Arial" panose="020B0604020202020204" pitchFamily="34" charset="0"/>
              </a:rPr>
              <a:t>or to </a:t>
            </a:r>
            <a:r>
              <a:rPr lang="en-US" sz="900" b="1" baseline="0" noProof="0">
                <a:solidFill>
                  <a:schemeClr val="tx1">
                    <a:lumMod val="65000"/>
                    <a:lumOff val="35000"/>
                  </a:schemeClr>
                </a:solidFill>
                <a:latin typeface="+mn-lt"/>
                <a:cs typeface="Arial" panose="020B0604020202020204" pitchFamily="34" charset="0"/>
              </a:rPr>
              <a:t>use bullets</a:t>
            </a:r>
            <a:r>
              <a:rPr lang="en-US" sz="900" baseline="0" noProof="0">
                <a:solidFill>
                  <a:schemeClr val="tx1">
                    <a:lumMod val="65000"/>
                    <a:lumOff val="35000"/>
                  </a:schemeClr>
                </a:solidFill>
                <a:latin typeface="+mn-lt"/>
                <a:cs typeface="Arial" panose="020B0604020202020204" pitchFamily="34" charset="0"/>
              </a:rPr>
              <a:t>, press </a:t>
            </a:r>
            <a:r>
              <a:rPr lang="en-US" sz="900" b="1" baseline="0" noProof="0">
                <a:solidFill>
                  <a:schemeClr val="tx1">
                    <a:lumMod val="65000"/>
                    <a:lumOff val="35000"/>
                  </a:schemeClr>
                </a:solidFill>
                <a:latin typeface="+mn-lt"/>
                <a:cs typeface="Arial" panose="020B0604020202020204" pitchFamily="34" charset="0"/>
              </a:rPr>
              <a:t>enter/return </a:t>
            </a:r>
            <a:r>
              <a:rPr lang="en-US" sz="900" baseline="0" noProof="0">
                <a:solidFill>
                  <a:schemeClr val="tx1">
                    <a:lumMod val="65000"/>
                    <a:lumOff val="35000"/>
                  </a:schemeClr>
                </a:solidFill>
                <a:latin typeface="+mn-lt"/>
                <a:cs typeface="Arial" panose="020B0604020202020204" pitchFamily="34" charset="0"/>
              </a:rPr>
              <a:t>after your headline then use this function toggle to body text.</a:t>
            </a: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p:txBody>
      </p:sp>
      <p:pic>
        <p:nvPicPr>
          <p:cNvPr id="20" name="Picture 9">
            <a:extLst>
              <a:ext uri="{FF2B5EF4-FFF2-40B4-BE49-F238E27FC236}">
                <a16:creationId xmlns:a16="http://schemas.microsoft.com/office/drawing/2014/main" id="{5DB31F11-9F44-8645-A844-3ADA59673FA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
          <a:stretch/>
        </p:blipFill>
        <p:spPr>
          <a:xfrm>
            <a:off x="12522649" y="5058609"/>
            <a:ext cx="1422121" cy="721417"/>
          </a:xfrm>
          <a:prstGeom prst="rect">
            <a:avLst/>
          </a:prstGeom>
          <a:ln w="9525">
            <a:solidFill>
              <a:schemeClr val="tx2"/>
            </a:solidFill>
          </a:ln>
        </p:spPr>
      </p:pic>
      <p:sp>
        <p:nvSpPr>
          <p:cNvPr id="21" name="Oval 4">
            <a:extLst>
              <a:ext uri="{FF2B5EF4-FFF2-40B4-BE49-F238E27FC236}">
                <a16:creationId xmlns:a16="http://schemas.microsoft.com/office/drawing/2014/main" id="{A5F2B902-2364-FB49-99E0-D370C6CC7FB2}"/>
              </a:ext>
            </a:extLst>
          </p:cNvPr>
          <p:cNvSpPr/>
          <p:nvPr userDrawn="1"/>
        </p:nvSpPr>
        <p:spPr>
          <a:xfrm>
            <a:off x="13194299" y="5281906"/>
            <a:ext cx="282818" cy="282818"/>
          </a:xfrm>
          <a:prstGeom prst="ellipse">
            <a:avLst/>
          </a:prstGeom>
          <a:solidFill>
            <a:schemeClr val="bg1">
              <a:lumMod val="95000"/>
              <a:alpha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latin typeface="+mn-lt"/>
            </a:endParaRPr>
          </a:p>
        </p:txBody>
      </p:sp>
      <p:cxnSp>
        <p:nvCxnSpPr>
          <p:cNvPr id="22" name="Connector: Elbow 131">
            <a:extLst>
              <a:ext uri="{FF2B5EF4-FFF2-40B4-BE49-F238E27FC236}">
                <a16:creationId xmlns:a16="http://schemas.microsoft.com/office/drawing/2014/main" id="{2EF1A2AE-7440-6E41-8D23-42FC41929565}"/>
              </a:ext>
            </a:extLst>
          </p:cNvPr>
          <p:cNvCxnSpPr>
            <a:cxnSpLocks/>
            <a:endCxn id="21" idx="0"/>
          </p:cNvCxnSpPr>
          <p:nvPr userDrawn="1"/>
        </p:nvCxnSpPr>
        <p:spPr>
          <a:xfrm rot="5400000">
            <a:off x="13324711" y="5010086"/>
            <a:ext cx="282818" cy="260823"/>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Picture Placeholder 4">
            <a:extLst>
              <a:ext uri="{FF2B5EF4-FFF2-40B4-BE49-F238E27FC236}">
                <a16:creationId xmlns:a16="http://schemas.microsoft.com/office/drawing/2014/main" id="{D0E63235-FEA3-D948-A94A-0578C7768948}"/>
              </a:ext>
            </a:extLst>
          </p:cNvPr>
          <p:cNvSpPr>
            <a:spLocks noGrp="1"/>
          </p:cNvSpPr>
          <p:nvPr>
            <p:ph type="pic" sz="quarter" idx="39" hasCustomPrompt="1"/>
          </p:nvPr>
        </p:nvSpPr>
        <p:spPr>
          <a:xfrm>
            <a:off x="858744" y="2133600"/>
            <a:ext cx="1979867" cy="1828800"/>
          </a:xfrm>
        </p:spPr>
        <p:txBody>
          <a:bodyPr/>
          <a:lstStyle>
            <a:lvl1pPr marL="12700" indent="0" algn="ctr">
              <a:buNone/>
              <a:defRPr sz="1300">
                <a:solidFill>
                  <a:schemeClr val="accent1"/>
                </a:solidFill>
              </a:defRPr>
            </a:lvl1pPr>
          </a:lstStyle>
          <a:p>
            <a:r>
              <a:rPr lang="en-US" noProof="0"/>
              <a:t>Click to add icon</a:t>
            </a:r>
          </a:p>
        </p:txBody>
      </p:sp>
      <p:sp>
        <p:nvSpPr>
          <p:cNvPr id="24" name="Picture Placeholder 4">
            <a:extLst>
              <a:ext uri="{FF2B5EF4-FFF2-40B4-BE49-F238E27FC236}">
                <a16:creationId xmlns:a16="http://schemas.microsoft.com/office/drawing/2014/main" id="{FB7545F6-DD9D-304C-9F71-C8CA7EFDC097}"/>
              </a:ext>
            </a:extLst>
          </p:cNvPr>
          <p:cNvSpPr>
            <a:spLocks noGrp="1"/>
          </p:cNvSpPr>
          <p:nvPr>
            <p:ph type="pic" sz="quarter" idx="40" hasCustomPrompt="1"/>
          </p:nvPr>
        </p:nvSpPr>
        <p:spPr>
          <a:xfrm>
            <a:off x="3692570" y="2133600"/>
            <a:ext cx="1979867" cy="1828800"/>
          </a:xfrm>
        </p:spPr>
        <p:txBody>
          <a:bodyPr/>
          <a:lstStyle>
            <a:lvl1pPr marL="12700" indent="0" algn="ctr">
              <a:buNone/>
              <a:defRPr sz="1300">
                <a:solidFill>
                  <a:schemeClr val="accent1"/>
                </a:solidFill>
              </a:defRPr>
            </a:lvl1pPr>
          </a:lstStyle>
          <a:p>
            <a:r>
              <a:rPr lang="en-US" noProof="0"/>
              <a:t>Click to add icon</a:t>
            </a:r>
          </a:p>
        </p:txBody>
      </p:sp>
      <p:sp>
        <p:nvSpPr>
          <p:cNvPr id="25" name="Picture Placeholder 4">
            <a:extLst>
              <a:ext uri="{FF2B5EF4-FFF2-40B4-BE49-F238E27FC236}">
                <a16:creationId xmlns:a16="http://schemas.microsoft.com/office/drawing/2014/main" id="{A03EE993-57A1-F843-87BE-52AFE8FCB895}"/>
              </a:ext>
            </a:extLst>
          </p:cNvPr>
          <p:cNvSpPr>
            <a:spLocks noGrp="1"/>
          </p:cNvSpPr>
          <p:nvPr>
            <p:ph type="pic" sz="quarter" idx="41" hasCustomPrompt="1"/>
          </p:nvPr>
        </p:nvSpPr>
        <p:spPr>
          <a:xfrm>
            <a:off x="6526396" y="2133600"/>
            <a:ext cx="1979867" cy="1828800"/>
          </a:xfrm>
        </p:spPr>
        <p:txBody>
          <a:bodyPr/>
          <a:lstStyle>
            <a:lvl1pPr marL="12700" indent="0" algn="ctr">
              <a:buNone/>
              <a:defRPr sz="1300">
                <a:solidFill>
                  <a:schemeClr val="accent1"/>
                </a:solidFill>
              </a:defRPr>
            </a:lvl1pPr>
          </a:lstStyle>
          <a:p>
            <a:r>
              <a:rPr lang="en-US" noProof="0"/>
              <a:t>Click to add icon</a:t>
            </a:r>
          </a:p>
        </p:txBody>
      </p:sp>
      <p:sp>
        <p:nvSpPr>
          <p:cNvPr id="26" name="Picture Placeholder 4">
            <a:extLst>
              <a:ext uri="{FF2B5EF4-FFF2-40B4-BE49-F238E27FC236}">
                <a16:creationId xmlns:a16="http://schemas.microsoft.com/office/drawing/2014/main" id="{BFA14DDB-89C6-5E45-A9BC-61F9CE9E1FCA}"/>
              </a:ext>
            </a:extLst>
          </p:cNvPr>
          <p:cNvSpPr>
            <a:spLocks noGrp="1"/>
          </p:cNvSpPr>
          <p:nvPr>
            <p:ph type="pic" sz="quarter" idx="42" hasCustomPrompt="1"/>
          </p:nvPr>
        </p:nvSpPr>
        <p:spPr>
          <a:xfrm>
            <a:off x="9360221" y="2133600"/>
            <a:ext cx="1979867" cy="1828800"/>
          </a:xfrm>
        </p:spPr>
        <p:txBody>
          <a:bodyPr/>
          <a:lstStyle>
            <a:lvl1pPr marL="12700" indent="0" algn="ctr">
              <a:buNone/>
              <a:defRPr sz="1300">
                <a:solidFill>
                  <a:schemeClr val="accent1"/>
                </a:solidFill>
              </a:defRPr>
            </a:lvl1pPr>
          </a:lstStyle>
          <a:p>
            <a:r>
              <a:rPr lang="en-US" noProof="0"/>
              <a:t>Click to add icon</a:t>
            </a:r>
          </a:p>
        </p:txBody>
      </p:sp>
      <p:sp>
        <p:nvSpPr>
          <p:cNvPr id="19" name="Platshållare för datum 3">
            <a:extLst>
              <a:ext uri="{FF2B5EF4-FFF2-40B4-BE49-F238E27FC236}">
                <a16:creationId xmlns:a16="http://schemas.microsoft.com/office/drawing/2014/main" id="{3E533940-02A5-A44C-99C4-528A46A184BF}"/>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bg1"/>
                </a:solidFill>
              </a:defRPr>
            </a:lvl1pPr>
          </a:lstStyle>
          <a:p>
            <a:fld id="{2F9806AD-009B-8D45-82A9-B9E8234B6322}" type="datetime1">
              <a:rPr lang="en-US" smtClean="0"/>
              <a:pPr/>
              <a:t>10/17/2023</a:t>
            </a:fld>
            <a:endParaRPr lang="en-US"/>
          </a:p>
        </p:txBody>
      </p:sp>
      <p:sp>
        <p:nvSpPr>
          <p:cNvPr id="27" name="Platshållare för sidfot 4">
            <a:extLst>
              <a:ext uri="{FF2B5EF4-FFF2-40B4-BE49-F238E27FC236}">
                <a16:creationId xmlns:a16="http://schemas.microsoft.com/office/drawing/2014/main" id="{5F5CD060-CDC0-1D48-B04C-8511F91A14EA}"/>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bg1"/>
                </a:solidFill>
              </a:defRPr>
            </a:lvl1pPr>
          </a:lstStyle>
          <a:p>
            <a:r>
              <a:rPr lang="en-US"/>
              <a:t>Go to header/footer to change text </a:t>
            </a:r>
          </a:p>
        </p:txBody>
      </p:sp>
      <p:sp>
        <p:nvSpPr>
          <p:cNvPr id="28" name="Platshållare för bildnummer 5">
            <a:extLst>
              <a:ext uri="{FF2B5EF4-FFF2-40B4-BE49-F238E27FC236}">
                <a16:creationId xmlns:a16="http://schemas.microsoft.com/office/drawing/2014/main" id="{85494874-3942-6145-8A0D-2EC0BF3C1B00}"/>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bg1"/>
                </a:solidFill>
              </a:defRPr>
            </a:lvl1pPr>
          </a:lstStyle>
          <a:p>
            <a:fld id="{EF8DBD5B-30F9-4F9C-AE39-E065C1AC514D}" type="slidenum">
              <a:rPr lang="en-US" smtClean="0"/>
              <a:pPr/>
              <a:t>‹#›</a:t>
            </a:fld>
            <a:endParaRPr lang="en-US"/>
          </a:p>
        </p:txBody>
      </p:sp>
    </p:spTree>
    <p:extLst>
      <p:ext uri="{BB962C8B-B14F-4D97-AF65-F5344CB8AC3E}">
        <p14:creationId xmlns:p14="http://schemas.microsoft.com/office/powerpoint/2010/main" val="259089448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8 Phone Mockup">
    <p:spTree>
      <p:nvGrpSpPr>
        <p:cNvPr id="1" name=""/>
        <p:cNvGrpSpPr/>
        <p:nvPr/>
      </p:nvGrpSpPr>
      <p:grpSpPr>
        <a:xfrm>
          <a:off x="0" y="0"/>
          <a:ext cx="0" cy="0"/>
          <a:chOff x="0" y="0"/>
          <a:chExt cx="0" cy="0"/>
        </a:xfrm>
      </p:grpSpPr>
      <p:grpSp>
        <p:nvGrpSpPr>
          <p:cNvPr id="17" name="Grupp 32">
            <a:extLst>
              <a:ext uri="{FF2B5EF4-FFF2-40B4-BE49-F238E27FC236}">
                <a16:creationId xmlns:a16="http://schemas.microsoft.com/office/drawing/2014/main" id="{06A06E8E-9AC5-474F-9D8F-BE8A4B8DF25A}"/>
              </a:ext>
            </a:extLst>
          </p:cNvPr>
          <p:cNvGrpSpPr/>
          <p:nvPr userDrawn="1"/>
        </p:nvGrpSpPr>
        <p:grpSpPr>
          <a:xfrm>
            <a:off x="576140" y="6451484"/>
            <a:ext cx="615478" cy="91194"/>
            <a:chOff x="576140" y="6451484"/>
            <a:chExt cx="615478" cy="91194"/>
          </a:xfrm>
          <a:solidFill>
            <a:schemeClr val="tx2"/>
          </a:solidFill>
        </p:grpSpPr>
        <p:sp>
          <p:nvSpPr>
            <p:cNvPr id="18" name="Bild 2">
              <a:extLst>
                <a:ext uri="{FF2B5EF4-FFF2-40B4-BE49-F238E27FC236}">
                  <a16:creationId xmlns:a16="http://schemas.microsoft.com/office/drawing/2014/main" id="{75F62DFF-CE28-2847-9178-371361C4B379}"/>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noProof="0">
                <a:solidFill>
                  <a:schemeClr val="tx2"/>
                </a:solidFill>
              </a:endParaRPr>
            </a:p>
          </p:txBody>
        </p:sp>
        <p:sp>
          <p:nvSpPr>
            <p:cNvPr id="19" name="Bild 2">
              <a:extLst>
                <a:ext uri="{FF2B5EF4-FFF2-40B4-BE49-F238E27FC236}">
                  <a16:creationId xmlns:a16="http://schemas.microsoft.com/office/drawing/2014/main" id="{56F4E682-4CA9-5346-8CD6-98F8EACD6CE7}"/>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0" name="Bild 2">
              <a:extLst>
                <a:ext uri="{FF2B5EF4-FFF2-40B4-BE49-F238E27FC236}">
                  <a16:creationId xmlns:a16="http://schemas.microsoft.com/office/drawing/2014/main" id="{11510029-65DB-F040-9ED5-A182045EEF2B}"/>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21" name="Bild 2">
              <a:extLst>
                <a:ext uri="{FF2B5EF4-FFF2-40B4-BE49-F238E27FC236}">
                  <a16:creationId xmlns:a16="http://schemas.microsoft.com/office/drawing/2014/main" id="{882E3E49-2F44-5445-B3D9-4FA93CE1837A}"/>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2" name="Bild 2">
              <a:extLst>
                <a:ext uri="{FF2B5EF4-FFF2-40B4-BE49-F238E27FC236}">
                  <a16:creationId xmlns:a16="http://schemas.microsoft.com/office/drawing/2014/main" id="{E77E397B-C384-F949-9F60-67A86BD39DCA}"/>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noProof="0">
                <a:solidFill>
                  <a:schemeClr val="tx2"/>
                </a:solidFill>
              </a:endParaRPr>
            </a:p>
          </p:txBody>
        </p:sp>
        <p:sp>
          <p:nvSpPr>
            <p:cNvPr id="23" name="Bild 2">
              <a:extLst>
                <a:ext uri="{FF2B5EF4-FFF2-40B4-BE49-F238E27FC236}">
                  <a16:creationId xmlns:a16="http://schemas.microsoft.com/office/drawing/2014/main" id="{DBE8665D-1D7B-BC49-9416-388A79FA9660}"/>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24" name="Bild 2">
              <a:extLst>
                <a:ext uri="{FF2B5EF4-FFF2-40B4-BE49-F238E27FC236}">
                  <a16:creationId xmlns:a16="http://schemas.microsoft.com/office/drawing/2014/main" id="{E25BD59B-C1DD-BF4D-89DA-D56603C3E329}"/>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grpSp>
      <p:pic>
        <p:nvPicPr>
          <p:cNvPr id="25" name="Bildobjekt 15">
            <a:extLst>
              <a:ext uri="{FF2B5EF4-FFF2-40B4-BE49-F238E27FC236}">
                <a16:creationId xmlns:a16="http://schemas.microsoft.com/office/drawing/2014/main" id="{13ED98E9-C731-A94B-BFD5-2ECE623D3806}"/>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443227" y="571905"/>
            <a:ext cx="2979174" cy="5704803"/>
          </a:xfrm>
          <a:prstGeom prst="rect">
            <a:avLst/>
          </a:prstGeom>
        </p:spPr>
      </p:pic>
      <p:sp>
        <p:nvSpPr>
          <p:cNvPr id="26" name="Text Placeholder 18">
            <a:extLst>
              <a:ext uri="{FF2B5EF4-FFF2-40B4-BE49-F238E27FC236}">
                <a16:creationId xmlns:a16="http://schemas.microsoft.com/office/drawing/2014/main" id="{A6ED295F-AFF0-3548-BAA8-8DAFA2BDE3F6}"/>
              </a:ext>
            </a:extLst>
          </p:cNvPr>
          <p:cNvSpPr>
            <a:spLocks noGrp="1"/>
          </p:cNvSpPr>
          <p:nvPr>
            <p:ph type="body" sz="quarter" idx="14" hasCustomPrompt="1"/>
          </p:nvPr>
        </p:nvSpPr>
        <p:spPr>
          <a:xfrm>
            <a:off x="576000" y="731027"/>
            <a:ext cx="5367178" cy="1365942"/>
          </a:xfrm>
          <a:prstGeom prst="rect">
            <a:avLst/>
          </a:prstGeom>
        </p:spPr>
        <p:txBody>
          <a:bodyPr anchor="t">
            <a:noAutofit/>
          </a:bodyPr>
          <a:lstStyle>
            <a:lvl1pPr marL="0" indent="0">
              <a:lnSpc>
                <a:spcPct val="85000"/>
              </a:lnSpc>
              <a:spcBef>
                <a:spcPts val="0"/>
              </a:spcBef>
              <a:buNone/>
              <a:defRPr sz="3600" spc="40" baseline="0">
                <a:solidFill>
                  <a:schemeClr val="tx2"/>
                </a:solidFill>
                <a:latin typeface="+mj-lt"/>
              </a:defRPr>
            </a:lvl1pPr>
          </a:lstStyle>
          <a:p>
            <a:pPr lvl="0"/>
            <a:r>
              <a:rPr lang="en-US" noProof="0"/>
              <a:t>Click to add a headline </a:t>
            </a:r>
            <a:br>
              <a:rPr lang="en-US" noProof="0"/>
            </a:br>
            <a:r>
              <a:rPr lang="en-US" noProof="0"/>
              <a:t>of maximum three lines</a:t>
            </a:r>
          </a:p>
        </p:txBody>
      </p:sp>
      <p:sp>
        <p:nvSpPr>
          <p:cNvPr id="29" name="Picture Placeholder 28">
            <a:extLst>
              <a:ext uri="{FF2B5EF4-FFF2-40B4-BE49-F238E27FC236}">
                <a16:creationId xmlns:a16="http://schemas.microsoft.com/office/drawing/2014/main" id="{A08EABB5-1663-9D44-9EDB-6442B31EC5D9}"/>
              </a:ext>
            </a:extLst>
          </p:cNvPr>
          <p:cNvSpPr>
            <a:spLocks noGrp="1"/>
          </p:cNvSpPr>
          <p:nvPr>
            <p:ph type="pic" sz="quarter" idx="20" hasCustomPrompt="1"/>
          </p:nvPr>
        </p:nvSpPr>
        <p:spPr>
          <a:xfrm>
            <a:off x="7686262" y="874644"/>
            <a:ext cx="2451652" cy="5155096"/>
          </a:xfrm>
          <a:custGeom>
            <a:avLst/>
            <a:gdLst>
              <a:gd name="connsiteX0" fmla="*/ 246293 w 2451652"/>
              <a:gd name="connsiteY0" fmla="*/ 0 h 5155096"/>
              <a:gd name="connsiteX1" fmla="*/ 2205359 w 2451652"/>
              <a:gd name="connsiteY1" fmla="*/ 0 h 5155096"/>
              <a:gd name="connsiteX2" fmla="*/ 2451652 w 2451652"/>
              <a:gd name="connsiteY2" fmla="*/ 246293 h 5155096"/>
              <a:gd name="connsiteX3" fmla="*/ 2451652 w 2451652"/>
              <a:gd name="connsiteY3" fmla="*/ 4908803 h 5155096"/>
              <a:gd name="connsiteX4" fmla="*/ 2205359 w 2451652"/>
              <a:gd name="connsiteY4" fmla="*/ 5155096 h 5155096"/>
              <a:gd name="connsiteX5" fmla="*/ 246293 w 2451652"/>
              <a:gd name="connsiteY5" fmla="*/ 5155096 h 5155096"/>
              <a:gd name="connsiteX6" fmla="*/ 0 w 2451652"/>
              <a:gd name="connsiteY6" fmla="*/ 4908803 h 5155096"/>
              <a:gd name="connsiteX7" fmla="*/ 0 w 2451652"/>
              <a:gd name="connsiteY7" fmla="*/ 246293 h 5155096"/>
              <a:gd name="connsiteX8" fmla="*/ 246293 w 2451652"/>
              <a:gd name="connsiteY8" fmla="*/ 0 h 5155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51652" h="5155096">
                <a:moveTo>
                  <a:pt x="246293" y="0"/>
                </a:moveTo>
                <a:lnTo>
                  <a:pt x="2205359" y="0"/>
                </a:lnTo>
                <a:cubicBezTo>
                  <a:pt x="2341383" y="0"/>
                  <a:pt x="2451652" y="110269"/>
                  <a:pt x="2451652" y="246293"/>
                </a:cubicBezTo>
                <a:lnTo>
                  <a:pt x="2451652" y="4908803"/>
                </a:lnTo>
                <a:cubicBezTo>
                  <a:pt x="2451652" y="5044827"/>
                  <a:pt x="2341383" y="5155096"/>
                  <a:pt x="2205359" y="5155096"/>
                </a:cubicBezTo>
                <a:lnTo>
                  <a:pt x="246293" y="5155096"/>
                </a:lnTo>
                <a:cubicBezTo>
                  <a:pt x="110269" y="5155096"/>
                  <a:pt x="0" y="5044827"/>
                  <a:pt x="0" y="4908803"/>
                </a:cubicBezTo>
                <a:lnTo>
                  <a:pt x="0" y="246293"/>
                </a:lnTo>
                <a:cubicBezTo>
                  <a:pt x="0" y="110269"/>
                  <a:pt x="110269" y="0"/>
                  <a:pt x="246293" y="0"/>
                </a:cubicBezTo>
                <a:close/>
              </a:path>
            </a:pathLst>
          </a:custGeom>
          <a:solidFill>
            <a:schemeClr val="bg1">
              <a:lumMod val="85000"/>
            </a:schemeClr>
          </a:solidFill>
        </p:spPr>
        <p:txBody>
          <a:bodyPr wrap="square" lIns="108000" tIns="108000" rIns="144000">
            <a:noAutofit/>
          </a:bodyPr>
          <a:lstStyle>
            <a:lvl1pPr marL="12700" indent="0" algn="ctr">
              <a:spcBef>
                <a:spcPts val="0"/>
              </a:spcBef>
              <a:buNone/>
              <a:defRPr sz="1300"/>
            </a:lvl1pPr>
          </a:lstStyle>
          <a:p>
            <a:r>
              <a:rPr lang="en-US" noProof="0"/>
              <a:t>Click on the icon to add a print screen or image</a:t>
            </a:r>
          </a:p>
        </p:txBody>
      </p:sp>
      <p:sp>
        <p:nvSpPr>
          <p:cNvPr id="28" name="Platshållare för text 11">
            <a:extLst>
              <a:ext uri="{FF2B5EF4-FFF2-40B4-BE49-F238E27FC236}">
                <a16:creationId xmlns:a16="http://schemas.microsoft.com/office/drawing/2014/main" id="{E31C1F6F-95FC-D448-89F4-1960D28114DB}"/>
              </a:ext>
            </a:extLst>
          </p:cNvPr>
          <p:cNvSpPr>
            <a:spLocks noGrp="1"/>
          </p:cNvSpPr>
          <p:nvPr>
            <p:ph type="body" sz="quarter" idx="21" hasCustomPrompt="1"/>
          </p:nvPr>
        </p:nvSpPr>
        <p:spPr>
          <a:xfrm>
            <a:off x="576000" y="2527200"/>
            <a:ext cx="5377125" cy="3600450"/>
          </a:xfrm>
        </p:spPr>
        <p:txBody>
          <a:bodyPr/>
          <a:lstStyle/>
          <a:p>
            <a:pPr lvl="0"/>
            <a:r>
              <a:rPr lang="en-US" noProof="0"/>
              <a:t>Click to add body text</a:t>
            </a:r>
          </a:p>
          <a:p>
            <a:pPr lvl="1"/>
            <a:r>
              <a:rPr lang="en-US" noProof="0"/>
              <a:t>Second level</a:t>
            </a:r>
          </a:p>
          <a:p>
            <a:pPr lvl="2"/>
            <a:r>
              <a:rPr lang="en-US" noProof="0"/>
              <a:t>Third level</a:t>
            </a:r>
          </a:p>
          <a:p>
            <a:pPr lvl="3"/>
            <a:r>
              <a:rPr lang="en-US" noProof="0"/>
              <a:t>Fourth level </a:t>
            </a:r>
          </a:p>
          <a:p>
            <a:pPr lvl="4"/>
            <a:r>
              <a:rPr lang="en-US" noProof="0"/>
              <a:t>Fifth level</a:t>
            </a:r>
          </a:p>
        </p:txBody>
      </p:sp>
      <p:sp>
        <p:nvSpPr>
          <p:cNvPr id="27" name="Platshållare för datum 3">
            <a:extLst>
              <a:ext uri="{FF2B5EF4-FFF2-40B4-BE49-F238E27FC236}">
                <a16:creationId xmlns:a16="http://schemas.microsoft.com/office/drawing/2014/main" id="{2637DBA1-D261-724E-93F9-5E39FC5E070D}"/>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tx2"/>
                </a:solidFill>
              </a:defRPr>
            </a:lvl1pPr>
          </a:lstStyle>
          <a:p>
            <a:fld id="{2F9806AD-009B-8D45-82A9-B9E8234B6322}" type="datetime1">
              <a:rPr lang="en-US" noProof="0" smtClean="0"/>
              <a:t>10/17/2023</a:t>
            </a:fld>
            <a:endParaRPr lang="en-US" noProof="0"/>
          </a:p>
        </p:txBody>
      </p:sp>
      <p:sp>
        <p:nvSpPr>
          <p:cNvPr id="30" name="Platshållare för sidfot 4">
            <a:extLst>
              <a:ext uri="{FF2B5EF4-FFF2-40B4-BE49-F238E27FC236}">
                <a16:creationId xmlns:a16="http://schemas.microsoft.com/office/drawing/2014/main" id="{038997BA-D372-9543-B729-46FF4A74C647}"/>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tx2"/>
                </a:solidFill>
              </a:defRPr>
            </a:lvl1pPr>
          </a:lstStyle>
          <a:p>
            <a:r>
              <a:rPr lang="en-US" noProof="0"/>
              <a:t>Go to header/footer to change text </a:t>
            </a:r>
          </a:p>
        </p:txBody>
      </p:sp>
      <p:sp>
        <p:nvSpPr>
          <p:cNvPr id="31" name="Platshållare för bildnummer 5">
            <a:extLst>
              <a:ext uri="{FF2B5EF4-FFF2-40B4-BE49-F238E27FC236}">
                <a16:creationId xmlns:a16="http://schemas.microsoft.com/office/drawing/2014/main" id="{3ECA4266-AEC4-3246-A758-D7CAB8F0A87B}"/>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tx2"/>
                </a:solidFill>
              </a:defRPr>
            </a:lvl1pPr>
          </a:lstStyle>
          <a:p>
            <a:fld id="{EF8DBD5B-30F9-4F9C-AE39-E065C1AC514D}" type="slidenum">
              <a:rPr lang="en-US" noProof="0" smtClean="0"/>
              <a:pPr/>
              <a:t>‹#›</a:t>
            </a:fld>
            <a:endParaRPr lang="en-US" noProof="0"/>
          </a:p>
        </p:txBody>
      </p:sp>
    </p:spTree>
    <p:extLst>
      <p:ext uri="{BB962C8B-B14F-4D97-AF65-F5344CB8AC3E}">
        <p14:creationId xmlns:p14="http://schemas.microsoft.com/office/powerpoint/2010/main" val="305941696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8 Tablet Mockup">
    <p:spTree>
      <p:nvGrpSpPr>
        <p:cNvPr id="1" name=""/>
        <p:cNvGrpSpPr/>
        <p:nvPr/>
      </p:nvGrpSpPr>
      <p:grpSpPr>
        <a:xfrm>
          <a:off x="0" y="0"/>
          <a:ext cx="0" cy="0"/>
          <a:chOff x="0" y="0"/>
          <a:chExt cx="0" cy="0"/>
        </a:xfrm>
      </p:grpSpPr>
      <p:pic>
        <p:nvPicPr>
          <p:cNvPr id="30" name="Bildobjekt 14">
            <a:extLst>
              <a:ext uri="{FF2B5EF4-FFF2-40B4-BE49-F238E27FC236}">
                <a16:creationId xmlns:a16="http://schemas.microsoft.com/office/drawing/2014/main" id="{99BEB798-BAD7-994E-B336-1BA64B6632D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6689177" y="613726"/>
            <a:ext cx="4325139" cy="5646397"/>
          </a:xfrm>
          <a:prstGeom prst="rect">
            <a:avLst/>
          </a:prstGeom>
        </p:spPr>
      </p:pic>
      <p:sp>
        <p:nvSpPr>
          <p:cNvPr id="32" name="Picture Placeholder 31">
            <a:extLst>
              <a:ext uri="{FF2B5EF4-FFF2-40B4-BE49-F238E27FC236}">
                <a16:creationId xmlns:a16="http://schemas.microsoft.com/office/drawing/2014/main" id="{44B08C3B-79C1-2849-BF8E-3F68C34C99EB}"/>
              </a:ext>
            </a:extLst>
          </p:cNvPr>
          <p:cNvSpPr>
            <a:spLocks noGrp="1"/>
          </p:cNvSpPr>
          <p:nvPr>
            <p:ph type="pic" sz="quarter" idx="20" hasCustomPrompt="1"/>
          </p:nvPr>
        </p:nvSpPr>
        <p:spPr>
          <a:xfrm>
            <a:off x="6936658" y="875071"/>
            <a:ext cx="3854245" cy="5132439"/>
          </a:xfrm>
          <a:custGeom>
            <a:avLst/>
            <a:gdLst>
              <a:gd name="connsiteX0" fmla="*/ 112814 w 3854245"/>
              <a:gd name="connsiteY0" fmla="*/ 0 h 5132439"/>
              <a:gd name="connsiteX1" fmla="*/ 3741431 w 3854245"/>
              <a:gd name="connsiteY1" fmla="*/ 0 h 5132439"/>
              <a:gd name="connsiteX2" fmla="*/ 3854245 w 3854245"/>
              <a:gd name="connsiteY2" fmla="*/ 112814 h 5132439"/>
              <a:gd name="connsiteX3" fmla="*/ 3854245 w 3854245"/>
              <a:gd name="connsiteY3" fmla="*/ 5019625 h 5132439"/>
              <a:gd name="connsiteX4" fmla="*/ 3741431 w 3854245"/>
              <a:gd name="connsiteY4" fmla="*/ 5132439 h 5132439"/>
              <a:gd name="connsiteX5" fmla="*/ 112814 w 3854245"/>
              <a:gd name="connsiteY5" fmla="*/ 5132439 h 5132439"/>
              <a:gd name="connsiteX6" fmla="*/ 0 w 3854245"/>
              <a:gd name="connsiteY6" fmla="*/ 5019625 h 5132439"/>
              <a:gd name="connsiteX7" fmla="*/ 0 w 3854245"/>
              <a:gd name="connsiteY7" fmla="*/ 112814 h 5132439"/>
              <a:gd name="connsiteX8" fmla="*/ 112814 w 3854245"/>
              <a:gd name="connsiteY8" fmla="*/ 0 h 5132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54245" h="5132439">
                <a:moveTo>
                  <a:pt x="112814" y="0"/>
                </a:moveTo>
                <a:lnTo>
                  <a:pt x="3741431" y="0"/>
                </a:lnTo>
                <a:cubicBezTo>
                  <a:pt x="3803736" y="0"/>
                  <a:pt x="3854245" y="50509"/>
                  <a:pt x="3854245" y="112814"/>
                </a:cubicBezTo>
                <a:lnTo>
                  <a:pt x="3854245" y="5019625"/>
                </a:lnTo>
                <a:cubicBezTo>
                  <a:pt x="3854245" y="5081930"/>
                  <a:pt x="3803736" y="5132439"/>
                  <a:pt x="3741431" y="5132439"/>
                </a:cubicBezTo>
                <a:lnTo>
                  <a:pt x="112814" y="5132439"/>
                </a:lnTo>
                <a:cubicBezTo>
                  <a:pt x="50509" y="5132439"/>
                  <a:pt x="0" y="5081930"/>
                  <a:pt x="0" y="5019625"/>
                </a:cubicBezTo>
                <a:lnTo>
                  <a:pt x="0" y="112814"/>
                </a:lnTo>
                <a:cubicBezTo>
                  <a:pt x="0" y="50509"/>
                  <a:pt x="50509" y="0"/>
                  <a:pt x="112814" y="0"/>
                </a:cubicBezTo>
                <a:close/>
              </a:path>
            </a:pathLst>
          </a:custGeom>
          <a:solidFill>
            <a:schemeClr val="bg1">
              <a:lumMod val="85000"/>
            </a:schemeClr>
          </a:solidFill>
        </p:spPr>
        <p:txBody>
          <a:bodyPr wrap="square" lIns="108000" tIns="108000" rIns="144000">
            <a:noAutofit/>
          </a:bodyPr>
          <a:lstStyle>
            <a:lvl1pPr marL="12700" indent="0" algn="ctr" fontAlgn="ctr">
              <a:spcBef>
                <a:spcPts val="0"/>
              </a:spcBef>
              <a:buNone/>
              <a:defRPr sz="1300"/>
            </a:lvl1pPr>
          </a:lstStyle>
          <a:p>
            <a:r>
              <a:rPr lang="en-US" noProof="0"/>
              <a:t>Click on the icon to add a print screen </a:t>
            </a:r>
            <a:br>
              <a:rPr lang="en-US" noProof="0"/>
            </a:br>
            <a:r>
              <a:rPr lang="en-US" noProof="0"/>
              <a:t>or image</a:t>
            </a:r>
          </a:p>
        </p:txBody>
      </p:sp>
      <p:grpSp>
        <p:nvGrpSpPr>
          <p:cNvPr id="17" name="Grupp 32">
            <a:extLst>
              <a:ext uri="{FF2B5EF4-FFF2-40B4-BE49-F238E27FC236}">
                <a16:creationId xmlns:a16="http://schemas.microsoft.com/office/drawing/2014/main" id="{06A06E8E-9AC5-474F-9D8F-BE8A4B8DF25A}"/>
              </a:ext>
            </a:extLst>
          </p:cNvPr>
          <p:cNvGrpSpPr/>
          <p:nvPr userDrawn="1"/>
        </p:nvGrpSpPr>
        <p:grpSpPr>
          <a:xfrm>
            <a:off x="576140" y="6451484"/>
            <a:ext cx="615478" cy="91194"/>
            <a:chOff x="576140" y="6451484"/>
            <a:chExt cx="615478" cy="91194"/>
          </a:xfrm>
          <a:solidFill>
            <a:schemeClr val="tx2"/>
          </a:solidFill>
        </p:grpSpPr>
        <p:sp>
          <p:nvSpPr>
            <p:cNvPr id="18" name="Bild 2">
              <a:extLst>
                <a:ext uri="{FF2B5EF4-FFF2-40B4-BE49-F238E27FC236}">
                  <a16:creationId xmlns:a16="http://schemas.microsoft.com/office/drawing/2014/main" id="{75F62DFF-CE28-2847-9178-371361C4B379}"/>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noProof="0">
                <a:solidFill>
                  <a:schemeClr val="tx2"/>
                </a:solidFill>
              </a:endParaRPr>
            </a:p>
          </p:txBody>
        </p:sp>
        <p:sp>
          <p:nvSpPr>
            <p:cNvPr id="19" name="Bild 2">
              <a:extLst>
                <a:ext uri="{FF2B5EF4-FFF2-40B4-BE49-F238E27FC236}">
                  <a16:creationId xmlns:a16="http://schemas.microsoft.com/office/drawing/2014/main" id="{56F4E682-4CA9-5346-8CD6-98F8EACD6CE7}"/>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0" name="Bild 2">
              <a:extLst>
                <a:ext uri="{FF2B5EF4-FFF2-40B4-BE49-F238E27FC236}">
                  <a16:creationId xmlns:a16="http://schemas.microsoft.com/office/drawing/2014/main" id="{11510029-65DB-F040-9ED5-A182045EEF2B}"/>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21" name="Bild 2">
              <a:extLst>
                <a:ext uri="{FF2B5EF4-FFF2-40B4-BE49-F238E27FC236}">
                  <a16:creationId xmlns:a16="http://schemas.microsoft.com/office/drawing/2014/main" id="{882E3E49-2F44-5445-B3D9-4FA93CE1837A}"/>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2" name="Bild 2">
              <a:extLst>
                <a:ext uri="{FF2B5EF4-FFF2-40B4-BE49-F238E27FC236}">
                  <a16:creationId xmlns:a16="http://schemas.microsoft.com/office/drawing/2014/main" id="{E77E397B-C384-F949-9F60-67A86BD39DCA}"/>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noProof="0">
                <a:solidFill>
                  <a:schemeClr val="tx2"/>
                </a:solidFill>
              </a:endParaRPr>
            </a:p>
          </p:txBody>
        </p:sp>
        <p:sp>
          <p:nvSpPr>
            <p:cNvPr id="23" name="Bild 2">
              <a:extLst>
                <a:ext uri="{FF2B5EF4-FFF2-40B4-BE49-F238E27FC236}">
                  <a16:creationId xmlns:a16="http://schemas.microsoft.com/office/drawing/2014/main" id="{DBE8665D-1D7B-BC49-9416-388A79FA9660}"/>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24" name="Bild 2">
              <a:extLst>
                <a:ext uri="{FF2B5EF4-FFF2-40B4-BE49-F238E27FC236}">
                  <a16:creationId xmlns:a16="http://schemas.microsoft.com/office/drawing/2014/main" id="{E25BD59B-C1DD-BF4D-89DA-D56603C3E329}"/>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grpSp>
      <p:sp>
        <p:nvSpPr>
          <p:cNvPr id="33" name="Text Placeholder 18">
            <a:extLst>
              <a:ext uri="{FF2B5EF4-FFF2-40B4-BE49-F238E27FC236}">
                <a16:creationId xmlns:a16="http://schemas.microsoft.com/office/drawing/2014/main" id="{96B2358A-BB39-7B47-9534-6E6E079F5E39}"/>
              </a:ext>
            </a:extLst>
          </p:cNvPr>
          <p:cNvSpPr>
            <a:spLocks noGrp="1"/>
          </p:cNvSpPr>
          <p:nvPr>
            <p:ph type="body" sz="quarter" idx="14" hasCustomPrompt="1"/>
          </p:nvPr>
        </p:nvSpPr>
        <p:spPr>
          <a:xfrm>
            <a:off x="575999" y="731027"/>
            <a:ext cx="5377125" cy="1365942"/>
          </a:xfrm>
          <a:prstGeom prst="rect">
            <a:avLst/>
          </a:prstGeom>
        </p:spPr>
        <p:txBody>
          <a:bodyPr anchor="t">
            <a:noAutofit/>
          </a:bodyPr>
          <a:lstStyle>
            <a:lvl1pPr marL="0" indent="0">
              <a:lnSpc>
                <a:spcPct val="85000"/>
              </a:lnSpc>
              <a:spcBef>
                <a:spcPts val="0"/>
              </a:spcBef>
              <a:buNone/>
              <a:defRPr sz="3600" spc="40" baseline="0">
                <a:solidFill>
                  <a:schemeClr val="tx2"/>
                </a:solidFill>
                <a:latin typeface="+mj-lt"/>
              </a:defRPr>
            </a:lvl1pPr>
          </a:lstStyle>
          <a:p>
            <a:pPr lvl="0"/>
            <a:r>
              <a:rPr lang="en-US" noProof="0"/>
              <a:t>Click to add a headline </a:t>
            </a:r>
            <a:br>
              <a:rPr lang="en-US" noProof="0"/>
            </a:br>
            <a:r>
              <a:rPr lang="en-US" noProof="0"/>
              <a:t>of maximum three lines</a:t>
            </a:r>
          </a:p>
        </p:txBody>
      </p:sp>
      <p:sp>
        <p:nvSpPr>
          <p:cNvPr id="25" name="Platshållare för text 11">
            <a:extLst>
              <a:ext uri="{FF2B5EF4-FFF2-40B4-BE49-F238E27FC236}">
                <a16:creationId xmlns:a16="http://schemas.microsoft.com/office/drawing/2014/main" id="{15044A8B-EC3C-AC48-809D-139C48BB0CB9}"/>
              </a:ext>
            </a:extLst>
          </p:cNvPr>
          <p:cNvSpPr>
            <a:spLocks noGrp="1"/>
          </p:cNvSpPr>
          <p:nvPr>
            <p:ph type="body" sz="quarter" idx="21" hasCustomPrompt="1"/>
          </p:nvPr>
        </p:nvSpPr>
        <p:spPr>
          <a:xfrm>
            <a:off x="576000" y="2527200"/>
            <a:ext cx="5377125" cy="3600450"/>
          </a:xfrm>
        </p:spPr>
        <p:txBody>
          <a:bodyPr/>
          <a:lstStyle/>
          <a:p>
            <a:pPr lvl="0"/>
            <a:r>
              <a:rPr lang="en-US" noProof="0"/>
              <a:t>Click to add body text</a:t>
            </a:r>
          </a:p>
          <a:p>
            <a:pPr lvl="1"/>
            <a:r>
              <a:rPr lang="en-US" noProof="0"/>
              <a:t>Second level</a:t>
            </a:r>
          </a:p>
          <a:p>
            <a:pPr lvl="2"/>
            <a:r>
              <a:rPr lang="en-US" noProof="0"/>
              <a:t>Third level</a:t>
            </a:r>
          </a:p>
          <a:p>
            <a:pPr lvl="3"/>
            <a:r>
              <a:rPr lang="en-US" noProof="0"/>
              <a:t>Fourth level </a:t>
            </a:r>
          </a:p>
          <a:p>
            <a:pPr lvl="4"/>
            <a:r>
              <a:rPr lang="en-US" noProof="0"/>
              <a:t>Fifth level</a:t>
            </a:r>
          </a:p>
        </p:txBody>
      </p:sp>
      <p:sp>
        <p:nvSpPr>
          <p:cNvPr id="26" name="Platshållare för datum 3">
            <a:extLst>
              <a:ext uri="{FF2B5EF4-FFF2-40B4-BE49-F238E27FC236}">
                <a16:creationId xmlns:a16="http://schemas.microsoft.com/office/drawing/2014/main" id="{FE602DED-DAC5-024B-AE88-9935B5D11D37}"/>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tx2"/>
                </a:solidFill>
              </a:defRPr>
            </a:lvl1pPr>
          </a:lstStyle>
          <a:p>
            <a:fld id="{2F9806AD-009B-8D45-82A9-B9E8234B6322}" type="datetime1">
              <a:rPr lang="en-US" noProof="0" smtClean="0"/>
              <a:t>10/17/2023</a:t>
            </a:fld>
            <a:endParaRPr lang="en-US" noProof="0"/>
          </a:p>
        </p:txBody>
      </p:sp>
      <p:sp>
        <p:nvSpPr>
          <p:cNvPr id="27" name="Platshållare för sidfot 4">
            <a:extLst>
              <a:ext uri="{FF2B5EF4-FFF2-40B4-BE49-F238E27FC236}">
                <a16:creationId xmlns:a16="http://schemas.microsoft.com/office/drawing/2014/main" id="{71479E35-8226-3343-A824-A028DAAD3ACC}"/>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tx2"/>
                </a:solidFill>
              </a:defRPr>
            </a:lvl1pPr>
          </a:lstStyle>
          <a:p>
            <a:r>
              <a:rPr lang="en-US" noProof="0"/>
              <a:t>Go to header/footer to change text </a:t>
            </a:r>
          </a:p>
        </p:txBody>
      </p:sp>
      <p:sp>
        <p:nvSpPr>
          <p:cNvPr id="28" name="Platshållare för bildnummer 5">
            <a:extLst>
              <a:ext uri="{FF2B5EF4-FFF2-40B4-BE49-F238E27FC236}">
                <a16:creationId xmlns:a16="http://schemas.microsoft.com/office/drawing/2014/main" id="{F42DCEB3-A3C8-3E41-AC6B-EF5005843077}"/>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tx2"/>
                </a:solidFill>
              </a:defRPr>
            </a:lvl1pPr>
          </a:lstStyle>
          <a:p>
            <a:fld id="{EF8DBD5B-30F9-4F9C-AE39-E065C1AC514D}" type="slidenum">
              <a:rPr lang="en-US" noProof="0" smtClean="0"/>
              <a:pPr/>
              <a:t>‹#›</a:t>
            </a:fld>
            <a:endParaRPr lang="en-US" noProof="0"/>
          </a:p>
        </p:txBody>
      </p:sp>
    </p:spTree>
    <p:extLst>
      <p:ext uri="{BB962C8B-B14F-4D97-AF65-F5344CB8AC3E}">
        <p14:creationId xmlns:p14="http://schemas.microsoft.com/office/powerpoint/2010/main" val="306011418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 Title Start Blue">
    <p:bg>
      <p:bgRef idx="1001">
        <a:schemeClr val="bg2"/>
      </p:bgRef>
    </p:bg>
    <p:spTree>
      <p:nvGrpSpPr>
        <p:cNvPr id="1" name=""/>
        <p:cNvGrpSpPr/>
        <p:nvPr/>
      </p:nvGrpSpPr>
      <p:grpSpPr>
        <a:xfrm>
          <a:off x="0" y="0"/>
          <a:ext cx="0" cy="0"/>
          <a:chOff x="0" y="0"/>
          <a:chExt cx="0" cy="0"/>
        </a:xfrm>
      </p:grpSpPr>
      <p:grpSp>
        <p:nvGrpSpPr>
          <p:cNvPr id="8" name="Grupp 12">
            <a:extLst>
              <a:ext uri="{FF2B5EF4-FFF2-40B4-BE49-F238E27FC236}">
                <a16:creationId xmlns:a16="http://schemas.microsoft.com/office/drawing/2014/main" id="{020B7E71-8C9B-5242-B01F-6CA360F416B2}"/>
              </a:ext>
            </a:extLst>
          </p:cNvPr>
          <p:cNvGrpSpPr/>
          <p:nvPr userDrawn="1"/>
        </p:nvGrpSpPr>
        <p:grpSpPr>
          <a:xfrm>
            <a:off x="576139" y="356679"/>
            <a:ext cx="1060123" cy="157076"/>
            <a:chOff x="576140" y="6451484"/>
            <a:chExt cx="615478" cy="91194"/>
          </a:xfrm>
          <a:solidFill>
            <a:schemeClr val="tx1"/>
          </a:solidFill>
        </p:grpSpPr>
        <p:sp>
          <p:nvSpPr>
            <p:cNvPr id="9" name="Bild 2">
              <a:extLst>
                <a:ext uri="{FF2B5EF4-FFF2-40B4-BE49-F238E27FC236}">
                  <a16:creationId xmlns:a16="http://schemas.microsoft.com/office/drawing/2014/main" id="{6318E37B-AA14-0649-9DA7-69211BFB17CA}"/>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noProof="0">
                <a:solidFill>
                  <a:schemeClr val="tx1"/>
                </a:solidFill>
              </a:endParaRPr>
            </a:p>
          </p:txBody>
        </p:sp>
        <p:sp>
          <p:nvSpPr>
            <p:cNvPr id="10" name="Bild 2">
              <a:extLst>
                <a:ext uri="{FF2B5EF4-FFF2-40B4-BE49-F238E27FC236}">
                  <a16:creationId xmlns:a16="http://schemas.microsoft.com/office/drawing/2014/main" id="{32E1F09D-ED0C-DE46-9B1B-B9E26DF0BD30}"/>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noProof="0">
                <a:solidFill>
                  <a:schemeClr val="tx1"/>
                </a:solidFill>
              </a:endParaRPr>
            </a:p>
          </p:txBody>
        </p:sp>
        <p:sp>
          <p:nvSpPr>
            <p:cNvPr id="11" name="Bild 2">
              <a:extLst>
                <a:ext uri="{FF2B5EF4-FFF2-40B4-BE49-F238E27FC236}">
                  <a16:creationId xmlns:a16="http://schemas.microsoft.com/office/drawing/2014/main" id="{3CA8F4F3-6275-ED44-8BB0-3552187481D5}"/>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noProof="0">
                <a:solidFill>
                  <a:schemeClr val="tx1"/>
                </a:solidFill>
              </a:endParaRPr>
            </a:p>
          </p:txBody>
        </p:sp>
        <p:sp>
          <p:nvSpPr>
            <p:cNvPr id="12" name="Bild 2">
              <a:extLst>
                <a:ext uri="{FF2B5EF4-FFF2-40B4-BE49-F238E27FC236}">
                  <a16:creationId xmlns:a16="http://schemas.microsoft.com/office/drawing/2014/main" id="{9CDD8FD0-0EEC-FF4A-887F-3DDDEE806432}"/>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noProof="0">
                <a:solidFill>
                  <a:schemeClr val="tx1"/>
                </a:solidFill>
              </a:endParaRPr>
            </a:p>
          </p:txBody>
        </p:sp>
        <p:sp>
          <p:nvSpPr>
            <p:cNvPr id="13" name="Bild 2">
              <a:extLst>
                <a:ext uri="{FF2B5EF4-FFF2-40B4-BE49-F238E27FC236}">
                  <a16:creationId xmlns:a16="http://schemas.microsoft.com/office/drawing/2014/main" id="{6CFB5C2E-2D79-B54B-B355-1FAC5B95A304}"/>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noProof="0">
                <a:solidFill>
                  <a:schemeClr val="tx1"/>
                </a:solidFill>
              </a:endParaRPr>
            </a:p>
          </p:txBody>
        </p:sp>
        <p:sp>
          <p:nvSpPr>
            <p:cNvPr id="14" name="Bild 2">
              <a:extLst>
                <a:ext uri="{FF2B5EF4-FFF2-40B4-BE49-F238E27FC236}">
                  <a16:creationId xmlns:a16="http://schemas.microsoft.com/office/drawing/2014/main" id="{A94DC018-4855-8D4B-9A15-FEB331F2E3F7}"/>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noProof="0">
                <a:solidFill>
                  <a:schemeClr val="tx1"/>
                </a:solidFill>
              </a:endParaRPr>
            </a:p>
          </p:txBody>
        </p:sp>
        <p:sp>
          <p:nvSpPr>
            <p:cNvPr id="15" name="Bild 2">
              <a:extLst>
                <a:ext uri="{FF2B5EF4-FFF2-40B4-BE49-F238E27FC236}">
                  <a16:creationId xmlns:a16="http://schemas.microsoft.com/office/drawing/2014/main" id="{8C343B86-2555-6D48-AE8D-2ACDF160AD2F}"/>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noProof="0">
                <a:solidFill>
                  <a:schemeClr val="tx1"/>
                </a:solidFill>
              </a:endParaRPr>
            </a:p>
          </p:txBody>
        </p:sp>
      </p:grpSp>
      <p:sp>
        <p:nvSpPr>
          <p:cNvPr id="16" name="Text Placeholder 18">
            <a:extLst>
              <a:ext uri="{FF2B5EF4-FFF2-40B4-BE49-F238E27FC236}">
                <a16:creationId xmlns:a16="http://schemas.microsoft.com/office/drawing/2014/main" id="{F7778766-F776-2644-80BC-C322DB5143E5}"/>
              </a:ext>
            </a:extLst>
          </p:cNvPr>
          <p:cNvSpPr>
            <a:spLocks noGrp="1"/>
          </p:cNvSpPr>
          <p:nvPr>
            <p:ph type="body" sz="quarter" idx="14" hasCustomPrompt="1"/>
          </p:nvPr>
        </p:nvSpPr>
        <p:spPr>
          <a:xfrm>
            <a:off x="576000" y="1845591"/>
            <a:ext cx="5665788" cy="1903912"/>
          </a:xfrm>
          <a:prstGeom prst="rect">
            <a:avLst/>
          </a:prstGeom>
        </p:spPr>
        <p:txBody>
          <a:bodyPr anchor="b">
            <a:noAutofit/>
          </a:bodyPr>
          <a:lstStyle>
            <a:lvl1pPr marL="0" indent="0">
              <a:lnSpc>
                <a:spcPct val="85000"/>
              </a:lnSpc>
              <a:spcBef>
                <a:spcPts val="0"/>
              </a:spcBef>
              <a:buNone/>
              <a:defRPr sz="4200" spc="40" baseline="0">
                <a:solidFill>
                  <a:schemeClr val="tx1"/>
                </a:solidFill>
                <a:latin typeface="+mj-lt"/>
              </a:defRPr>
            </a:lvl1pPr>
          </a:lstStyle>
          <a:p>
            <a:pPr lvl="0"/>
            <a:r>
              <a:rPr lang="en-US" noProof="0"/>
              <a:t>Click to add a headline </a:t>
            </a:r>
            <a:br>
              <a:rPr lang="en-US" noProof="0"/>
            </a:br>
            <a:r>
              <a:rPr lang="en-US" noProof="0"/>
              <a:t>of maximum two lines</a:t>
            </a:r>
          </a:p>
        </p:txBody>
      </p:sp>
      <p:sp>
        <p:nvSpPr>
          <p:cNvPr id="17" name="Text Placeholder 18">
            <a:extLst>
              <a:ext uri="{FF2B5EF4-FFF2-40B4-BE49-F238E27FC236}">
                <a16:creationId xmlns:a16="http://schemas.microsoft.com/office/drawing/2014/main" id="{5CE2C598-208E-6443-A5A6-FF5E07D00E14}"/>
              </a:ext>
            </a:extLst>
          </p:cNvPr>
          <p:cNvSpPr>
            <a:spLocks noGrp="1"/>
          </p:cNvSpPr>
          <p:nvPr>
            <p:ph type="body" sz="quarter" idx="15" hasCustomPrompt="1"/>
          </p:nvPr>
        </p:nvSpPr>
        <p:spPr>
          <a:xfrm>
            <a:off x="576000" y="3915585"/>
            <a:ext cx="3773171" cy="646331"/>
          </a:xfrm>
          <a:prstGeom prst="rect">
            <a:avLst/>
          </a:prstGeom>
        </p:spPr>
        <p:txBody>
          <a:bodyPr anchor="t">
            <a:noAutofit/>
          </a:bodyPr>
          <a:lstStyle>
            <a:lvl1pPr marL="0" indent="0">
              <a:lnSpc>
                <a:spcPct val="100000"/>
              </a:lnSpc>
              <a:spcBef>
                <a:spcPts val="0"/>
              </a:spcBef>
              <a:buNone/>
              <a:defRPr sz="1400" spc="70" baseline="0">
                <a:solidFill>
                  <a:schemeClr val="tx1"/>
                </a:solidFill>
              </a:defRPr>
            </a:lvl1pPr>
          </a:lstStyle>
          <a:p>
            <a:pPr lvl="0"/>
            <a:r>
              <a:rPr lang="en-US" noProof="0"/>
              <a:t>Click to add name </a:t>
            </a:r>
            <a:br>
              <a:rPr lang="en-US" noProof="0"/>
            </a:br>
            <a:r>
              <a:rPr lang="en-US" noProof="0"/>
              <a:t>Title, Business Unit</a:t>
            </a:r>
          </a:p>
          <a:p>
            <a:pPr lvl="0"/>
            <a:r>
              <a:rPr lang="en-US" noProof="0"/>
              <a:t>And Date</a:t>
            </a:r>
          </a:p>
        </p:txBody>
      </p:sp>
      <p:sp>
        <p:nvSpPr>
          <p:cNvPr id="18" name="Platshållare för datum 3">
            <a:extLst>
              <a:ext uri="{FF2B5EF4-FFF2-40B4-BE49-F238E27FC236}">
                <a16:creationId xmlns:a16="http://schemas.microsoft.com/office/drawing/2014/main" id="{BB35720B-17F2-F047-AD03-59887AF1CFC0}"/>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tx1"/>
                </a:solidFill>
              </a:defRPr>
            </a:lvl1pPr>
          </a:lstStyle>
          <a:p>
            <a:fld id="{2F9806AD-009B-8D45-82A9-B9E8234B6322}" type="datetime1">
              <a:rPr lang="en-US" smtClean="0"/>
              <a:pPr/>
              <a:t>10/17/2023</a:t>
            </a:fld>
            <a:endParaRPr lang="en-US"/>
          </a:p>
        </p:txBody>
      </p:sp>
      <p:sp>
        <p:nvSpPr>
          <p:cNvPr id="19" name="Platshållare för sidfot 4">
            <a:extLst>
              <a:ext uri="{FF2B5EF4-FFF2-40B4-BE49-F238E27FC236}">
                <a16:creationId xmlns:a16="http://schemas.microsoft.com/office/drawing/2014/main" id="{AD7CD38D-F54E-8C40-8506-2A3C4C315939}"/>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tx1"/>
                </a:solidFill>
              </a:defRPr>
            </a:lvl1pPr>
          </a:lstStyle>
          <a:p>
            <a:r>
              <a:rPr lang="en-US"/>
              <a:t>Go to header/footer to change text </a:t>
            </a:r>
          </a:p>
        </p:txBody>
      </p:sp>
      <p:sp>
        <p:nvSpPr>
          <p:cNvPr id="20" name="Platshållare för bildnummer 5">
            <a:extLst>
              <a:ext uri="{FF2B5EF4-FFF2-40B4-BE49-F238E27FC236}">
                <a16:creationId xmlns:a16="http://schemas.microsoft.com/office/drawing/2014/main" id="{78EFAF87-EB3E-9448-9EB2-F1FA0DB51245}"/>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tx1"/>
                </a:solidFill>
              </a:defRPr>
            </a:lvl1pPr>
          </a:lstStyle>
          <a:p>
            <a:fld id="{EF8DBD5B-30F9-4F9C-AE39-E065C1AC514D}" type="slidenum">
              <a:rPr lang="en-US" smtClean="0"/>
              <a:pPr/>
              <a:t>‹#›</a:t>
            </a:fld>
            <a:endParaRPr lang="en-US"/>
          </a:p>
        </p:txBody>
      </p:sp>
    </p:spTree>
    <p:extLst>
      <p:ext uri="{BB962C8B-B14F-4D97-AF65-F5344CB8AC3E}">
        <p14:creationId xmlns:p14="http://schemas.microsoft.com/office/powerpoint/2010/main" val="4012258951"/>
      </p:ext>
    </p:extLst>
  </p:cSld>
  <p:clrMapOvr>
    <a:overrideClrMapping bg1="dk1" tx1="lt1" bg2="dk2" tx2="lt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9 End/Thank You Blue with image">
    <p:bg>
      <p:bgPr>
        <a:solidFill>
          <a:schemeClr val="tx2"/>
        </a:solidFill>
        <a:effectLst/>
      </p:bgPr>
    </p:bg>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5544DF57-7764-0643-BBD9-8E9A5BB6A5C0}"/>
              </a:ext>
            </a:extLst>
          </p:cNvPr>
          <p:cNvSpPr>
            <a:spLocks noGrp="1"/>
          </p:cNvSpPr>
          <p:nvPr>
            <p:ph type="pic" sz="quarter" idx="13" hasCustomPrompt="1"/>
          </p:nvPr>
        </p:nvSpPr>
        <p:spPr>
          <a:xfrm>
            <a:off x="5" y="5"/>
            <a:ext cx="12191997" cy="6857997"/>
          </a:xfrm>
          <a:custGeom>
            <a:avLst/>
            <a:gdLst>
              <a:gd name="connsiteX0" fmla="*/ 1146049 w 12191997"/>
              <a:gd name="connsiteY0" fmla="*/ 6470534 h 6857997"/>
              <a:gd name="connsiteX1" fmla="*/ 1157832 w 12191997"/>
              <a:gd name="connsiteY1" fmla="*/ 6505507 h 6857997"/>
              <a:gd name="connsiteX2" fmla="*/ 1134642 w 12191997"/>
              <a:gd name="connsiteY2" fmla="*/ 6505507 h 6857997"/>
              <a:gd name="connsiteX3" fmla="*/ 788170 w 12191997"/>
              <a:gd name="connsiteY3" fmla="*/ 6470534 h 6857997"/>
              <a:gd name="connsiteX4" fmla="*/ 799953 w 12191997"/>
              <a:gd name="connsiteY4" fmla="*/ 6505507 h 6857997"/>
              <a:gd name="connsiteX5" fmla="*/ 776763 w 12191997"/>
              <a:gd name="connsiteY5" fmla="*/ 6505507 h 6857997"/>
              <a:gd name="connsiteX6" fmla="*/ 1132323 w 12191997"/>
              <a:gd name="connsiteY6" fmla="*/ 6451543 h 6857997"/>
              <a:gd name="connsiteX7" fmla="*/ 1100860 w 12191997"/>
              <a:gd name="connsiteY7" fmla="*/ 6542674 h 6857997"/>
              <a:gd name="connsiteX8" fmla="*/ 1123110 w 12191997"/>
              <a:gd name="connsiteY8" fmla="*/ 6542674 h 6857997"/>
              <a:gd name="connsiteX9" fmla="*/ 1128876 w 12191997"/>
              <a:gd name="connsiteY9" fmla="*/ 6524060 h 6857997"/>
              <a:gd name="connsiteX10" fmla="*/ 1163786 w 12191997"/>
              <a:gd name="connsiteY10" fmla="*/ 6524060 h 6857997"/>
              <a:gd name="connsiteX11" fmla="*/ 1169741 w 12191997"/>
              <a:gd name="connsiteY11" fmla="*/ 6542674 h 6857997"/>
              <a:gd name="connsiteX12" fmla="*/ 1191615 w 12191997"/>
              <a:gd name="connsiteY12" fmla="*/ 6542674 h 6857997"/>
              <a:gd name="connsiteX13" fmla="*/ 1159148 w 12191997"/>
              <a:gd name="connsiteY13" fmla="*/ 6451543 h 6857997"/>
              <a:gd name="connsiteX14" fmla="*/ 961907 w 12191997"/>
              <a:gd name="connsiteY14" fmla="*/ 6451543 h 6857997"/>
              <a:gd name="connsiteX15" fmla="*/ 933640 w 12191997"/>
              <a:gd name="connsiteY15" fmla="*/ 6479246 h 6857997"/>
              <a:gd name="connsiteX16" fmla="*/ 961907 w 12191997"/>
              <a:gd name="connsiteY16" fmla="*/ 6505821 h 6857997"/>
              <a:gd name="connsiteX17" fmla="*/ 983468 w 12191997"/>
              <a:gd name="connsiteY17" fmla="*/ 6505821 h 6857997"/>
              <a:gd name="connsiteX18" fmla="*/ 991678 w 12191997"/>
              <a:gd name="connsiteY18" fmla="*/ 6514282 h 6857997"/>
              <a:gd name="connsiteX19" fmla="*/ 983468 w 12191997"/>
              <a:gd name="connsiteY19" fmla="*/ 6522743 h 6857997"/>
              <a:gd name="connsiteX20" fmla="*/ 937338 w 12191997"/>
              <a:gd name="connsiteY20" fmla="*/ 6522743 h 6857997"/>
              <a:gd name="connsiteX21" fmla="*/ 937338 w 12191997"/>
              <a:gd name="connsiteY21" fmla="*/ 6542674 h 6857997"/>
              <a:gd name="connsiteX22" fmla="*/ 982716 w 12191997"/>
              <a:gd name="connsiteY22" fmla="*/ 6542674 h 6857997"/>
              <a:gd name="connsiteX23" fmla="*/ 1011358 w 12191997"/>
              <a:gd name="connsiteY23" fmla="*/ 6514282 h 6857997"/>
              <a:gd name="connsiteX24" fmla="*/ 986727 w 12191997"/>
              <a:gd name="connsiteY24" fmla="*/ 6487707 h 6857997"/>
              <a:gd name="connsiteX25" fmla="*/ 961907 w 12191997"/>
              <a:gd name="connsiteY25" fmla="*/ 6487707 h 6857997"/>
              <a:gd name="connsiteX26" fmla="*/ 953321 w 12191997"/>
              <a:gd name="connsiteY26" fmla="*/ 6479246 h 6857997"/>
              <a:gd name="connsiteX27" fmla="*/ 961907 w 12191997"/>
              <a:gd name="connsiteY27" fmla="*/ 6470785 h 6857997"/>
              <a:gd name="connsiteX28" fmla="*/ 1004965 w 12191997"/>
              <a:gd name="connsiteY28" fmla="*/ 6470785 h 6857997"/>
              <a:gd name="connsiteX29" fmla="*/ 1004965 w 12191997"/>
              <a:gd name="connsiteY29" fmla="*/ 6451543 h 6857997"/>
              <a:gd name="connsiteX30" fmla="*/ 841570 w 12191997"/>
              <a:gd name="connsiteY30" fmla="*/ 6451543 h 6857997"/>
              <a:gd name="connsiteX31" fmla="*/ 841570 w 12191997"/>
              <a:gd name="connsiteY31" fmla="*/ 6542674 h 6857997"/>
              <a:gd name="connsiteX32" fmla="*/ 862692 w 12191997"/>
              <a:gd name="connsiteY32" fmla="*/ 6542674 h 6857997"/>
              <a:gd name="connsiteX33" fmla="*/ 862692 w 12191997"/>
              <a:gd name="connsiteY33" fmla="*/ 6486454 h 6857997"/>
              <a:gd name="connsiteX34" fmla="*/ 898981 w 12191997"/>
              <a:gd name="connsiteY34" fmla="*/ 6542486 h 6857997"/>
              <a:gd name="connsiteX35" fmla="*/ 898981 w 12191997"/>
              <a:gd name="connsiteY35" fmla="*/ 6542674 h 6857997"/>
              <a:gd name="connsiteX36" fmla="*/ 920855 w 12191997"/>
              <a:gd name="connsiteY36" fmla="*/ 6542674 h 6857997"/>
              <a:gd name="connsiteX37" fmla="*/ 920793 w 12191997"/>
              <a:gd name="connsiteY37" fmla="*/ 6522994 h 6857997"/>
              <a:gd name="connsiteX38" fmla="*/ 920667 w 12191997"/>
              <a:gd name="connsiteY38" fmla="*/ 6451543 h 6857997"/>
              <a:gd name="connsiteX39" fmla="*/ 899671 w 12191997"/>
              <a:gd name="connsiteY39" fmla="*/ 6451543 h 6857997"/>
              <a:gd name="connsiteX40" fmla="*/ 899671 w 12191997"/>
              <a:gd name="connsiteY40" fmla="*/ 6508829 h 6857997"/>
              <a:gd name="connsiteX41" fmla="*/ 863068 w 12191997"/>
              <a:gd name="connsiteY41" fmla="*/ 6451543 h 6857997"/>
              <a:gd name="connsiteX42" fmla="*/ 774444 w 12191997"/>
              <a:gd name="connsiteY42" fmla="*/ 6451543 h 6857997"/>
              <a:gd name="connsiteX43" fmla="*/ 742918 w 12191997"/>
              <a:gd name="connsiteY43" fmla="*/ 6542674 h 6857997"/>
              <a:gd name="connsiteX44" fmla="*/ 765168 w 12191997"/>
              <a:gd name="connsiteY44" fmla="*/ 6542674 h 6857997"/>
              <a:gd name="connsiteX45" fmla="*/ 770934 w 12191997"/>
              <a:gd name="connsiteY45" fmla="*/ 6524060 h 6857997"/>
              <a:gd name="connsiteX46" fmla="*/ 805845 w 12191997"/>
              <a:gd name="connsiteY46" fmla="*/ 6524060 h 6857997"/>
              <a:gd name="connsiteX47" fmla="*/ 811799 w 12191997"/>
              <a:gd name="connsiteY47" fmla="*/ 6542674 h 6857997"/>
              <a:gd name="connsiteX48" fmla="*/ 833735 w 12191997"/>
              <a:gd name="connsiteY48" fmla="*/ 6542674 h 6857997"/>
              <a:gd name="connsiteX49" fmla="*/ 801269 w 12191997"/>
              <a:gd name="connsiteY49" fmla="*/ 6451543 h 6857997"/>
              <a:gd name="connsiteX50" fmla="*/ 604404 w 12191997"/>
              <a:gd name="connsiteY50" fmla="*/ 6451543 h 6857997"/>
              <a:gd name="connsiteX51" fmla="*/ 576137 w 12191997"/>
              <a:gd name="connsiteY51" fmla="*/ 6479246 h 6857997"/>
              <a:gd name="connsiteX52" fmla="*/ 604404 w 12191997"/>
              <a:gd name="connsiteY52" fmla="*/ 6505821 h 6857997"/>
              <a:gd name="connsiteX53" fmla="*/ 625964 w 12191997"/>
              <a:gd name="connsiteY53" fmla="*/ 6505821 h 6857997"/>
              <a:gd name="connsiteX54" fmla="*/ 634174 w 12191997"/>
              <a:gd name="connsiteY54" fmla="*/ 6514282 h 6857997"/>
              <a:gd name="connsiteX55" fmla="*/ 625964 w 12191997"/>
              <a:gd name="connsiteY55" fmla="*/ 6522743 h 6857997"/>
              <a:gd name="connsiteX56" fmla="*/ 579772 w 12191997"/>
              <a:gd name="connsiteY56" fmla="*/ 6522743 h 6857997"/>
              <a:gd name="connsiteX57" fmla="*/ 579772 w 12191997"/>
              <a:gd name="connsiteY57" fmla="*/ 6542674 h 6857997"/>
              <a:gd name="connsiteX58" fmla="*/ 625149 w 12191997"/>
              <a:gd name="connsiteY58" fmla="*/ 6542674 h 6857997"/>
              <a:gd name="connsiteX59" fmla="*/ 653792 w 12191997"/>
              <a:gd name="connsiteY59" fmla="*/ 6514282 h 6857997"/>
              <a:gd name="connsiteX60" fmla="*/ 629223 w 12191997"/>
              <a:gd name="connsiteY60" fmla="*/ 6487707 h 6857997"/>
              <a:gd name="connsiteX61" fmla="*/ 604404 w 12191997"/>
              <a:gd name="connsiteY61" fmla="*/ 6487707 h 6857997"/>
              <a:gd name="connsiteX62" fmla="*/ 595817 w 12191997"/>
              <a:gd name="connsiteY62" fmla="*/ 6479246 h 6857997"/>
              <a:gd name="connsiteX63" fmla="*/ 604404 w 12191997"/>
              <a:gd name="connsiteY63" fmla="*/ 6470785 h 6857997"/>
              <a:gd name="connsiteX64" fmla="*/ 647462 w 12191997"/>
              <a:gd name="connsiteY64" fmla="*/ 6470785 h 6857997"/>
              <a:gd name="connsiteX65" fmla="*/ 647462 w 12191997"/>
              <a:gd name="connsiteY65" fmla="*/ 6451543 h 6857997"/>
              <a:gd name="connsiteX66" fmla="*/ 1023956 w 12191997"/>
              <a:gd name="connsiteY66" fmla="*/ 6451480 h 6857997"/>
              <a:gd name="connsiteX67" fmla="*/ 1023956 w 12191997"/>
              <a:gd name="connsiteY67" fmla="*/ 6542674 h 6857997"/>
              <a:gd name="connsiteX68" fmla="*/ 1045016 w 12191997"/>
              <a:gd name="connsiteY68" fmla="*/ 6542674 h 6857997"/>
              <a:gd name="connsiteX69" fmla="*/ 1045016 w 12191997"/>
              <a:gd name="connsiteY69" fmla="*/ 6504191 h 6857997"/>
              <a:gd name="connsiteX70" fmla="*/ 1074975 w 12191997"/>
              <a:gd name="connsiteY70" fmla="*/ 6542674 h 6857997"/>
              <a:gd name="connsiteX71" fmla="*/ 1099481 w 12191997"/>
              <a:gd name="connsiteY71" fmla="*/ 6542674 h 6857997"/>
              <a:gd name="connsiteX72" fmla="*/ 1065009 w 12191997"/>
              <a:gd name="connsiteY72" fmla="*/ 6497109 h 6857997"/>
              <a:gd name="connsiteX73" fmla="*/ 1099481 w 12191997"/>
              <a:gd name="connsiteY73" fmla="*/ 6451480 h 6857997"/>
              <a:gd name="connsiteX74" fmla="*/ 1074975 w 12191997"/>
              <a:gd name="connsiteY74" fmla="*/ 6451480 h 6857997"/>
              <a:gd name="connsiteX75" fmla="*/ 1045016 w 12191997"/>
              <a:gd name="connsiteY75" fmla="*/ 6489963 h 6857997"/>
              <a:gd name="connsiteX76" fmla="*/ 1045016 w 12191997"/>
              <a:gd name="connsiteY76" fmla="*/ 6451480 h 6857997"/>
              <a:gd name="connsiteX77" fmla="*/ 666077 w 12191997"/>
              <a:gd name="connsiteY77" fmla="*/ 6451480 h 6857997"/>
              <a:gd name="connsiteX78" fmla="*/ 666077 w 12191997"/>
              <a:gd name="connsiteY78" fmla="*/ 6542674 h 6857997"/>
              <a:gd name="connsiteX79" fmla="*/ 687073 w 12191997"/>
              <a:gd name="connsiteY79" fmla="*/ 6542674 h 6857997"/>
              <a:gd name="connsiteX80" fmla="*/ 687073 w 12191997"/>
              <a:gd name="connsiteY80" fmla="*/ 6504191 h 6857997"/>
              <a:gd name="connsiteX81" fmla="*/ 717033 w 12191997"/>
              <a:gd name="connsiteY81" fmla="*/ 6542674 h 6857997"/>
              <a:gd name="connsiteX82" fmla="*/ 741602 w 12191997"/>
              <a:gd name="connsiteY82" fmla="*/ 6542674 h 6857997"/>
              <a:gd name="connsiteX83" fmla="*/ 707067 w 12191997"/>
              <a:gd name="connsiteY83" fmla="*/ 6497109 h 6857997"/>
              <a:gd name="connsiteX84" fmla="*/ 741602 w 12191997"/>
              <a:gd name="connsiteY84" fmla="*/ 6451480 h 6857997"/>
              <a:gd name="connsiteX85" fmla="*/ 717033 w 12191997"/>
              <a:gd name="connsiteY85" fmla="*/ 6451480 h 6857997"/>
              <a:gd name="connsiteX86" fmla="*/ 687073 w 12191997"/>
              <a:gd name="connsiteY86" fmla="*/ 6489963 h 6857997"/>
              <a:gd name="connsiteX87" fmla="*/ 687073 w 12191997"/>
              <a:gd name="connsiteY87" fmla="*/ 6451480 h 6857997"/>
              <a:gd name="connsiteX88" fmla="*/ 0 w 12191997"/>
              <a:gd name="connsiteY88" fmla="*/ 0 h 6857997"/>
              <a:gd name="connsiteX89" fmla="*/ 12191997 w 12191997"/>
              <a:gd name="connsiteY89" fmla="*/ 0 h 6857997"/>
              <a:gd name="connsiteX90" fmla="*/ 12191997 w 12191997"/>
              <a:gd name="connsiteY90" fmla="*/ 6857997 h 6857997"/>
              <a:gd name="connsiteX91" fmla="*/ 0 w 12191997"/>
              <a:gd name="connsiteY91" fmla="*/ 6857997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2191997" h="6857997">
                <a:moveTo>
                  <a:pt x="1146049" y="6470534"/>
                </a:moveTo>
                <a:lnTo>
                  <a:pt x="1157832" y="6505507"/>
                </a:lnTo>
                <a:lnTo>
                  <a:pt x="1134642" y="6505507"/>
                </a:lnTo>
                <a:close/>
                <a:moveTo>
                  <a:pt x="788170" y="6470534"/>
                </a:moveTo>
                <a:lnTo>
                  <a:pt x="799953" y="6505507"/>
                </a:lnTo>
                <a:lnTo>
                  <a:pt x="776763" y="6505507"/>
                </a:lnTo>
                <a:close/>
                <a:moveTo>
                  <a:pt x="1132323" y="6451543"/>
                </a:moveTo>
                <a:lnTo>
                  <a:pt x="1100860" y="6542674"/>
                </a:lnTo>
                <a:lnTo>
                  <a:pt x="1123110" y="6542674"/>
                </a:lnTo>
                <a:lnTo>
                  <a:pt x="1128876" y="6524060"/>
                </a:lnTo>
                <a:lnTo>
                  <a:pt x="1163786" y="6524060"/>
                </a:lnTo>
                <a:lnTo>
                  <a:pt x="1169741" y="6542674"/>
                </a:lnTo>
                <a:lnTo>
                  <a:pt x="1191615" y="6542674"/>
                </a:lnTo>
                <a:lnTo>
                  <a:pt x="1159148" y="6451543"/>
                </a:lnTo>
                <a:close/>
                <a:moveTo>
                  <a:pt x="961907" y="6451543"/>
                </a:moveTo>
                <a:cubicBezTo>
                  <a:pt x="944358" y="6451543"/>
                  <a:pt x="933640" y="6461822"/>
                  <a:pt x="933640" y="6479246"/>
                </a:cubicBezTo>
                <a:cubicBezTo>
                  <a:pt x="933640" y="6496670"/>
                  <a:pt x="945987" y="6505821"/>
                  <a:pt x="961907" y="6505821"/>
                </a:cubicBezTo>
                <a:lnTo>
                  <a:pt x="983468" y="6505821"/>
                </a:lnTo>
                <a:cubicBezTo>
                  <a:pt x="988921" y="6505821"/>
                  <a:pt x="991678" y="6509957"/>
                  <a:pt x="991678" y="6514282"/>
                </a:cubicBezTo>
                <a:cubicBezTo>
                  <a:pt x="991678" y="6518732"/>
                  <a:pt x="988921" y="6522743"/>
                  <a:pt x="983468" y="6522743"/>
                </a:cubicBezTo>
                <a:lnTo>
                  <a:pt x="937338" y="6522743"/>
                </a:lnTo>
                <a:lnTo>
                  <a:pt x="937338" y="6542674"/>
                </a:lnTo>
                <a:lnTo>
                  <a:pt x="982716" y="6542674"/>
                </a:lnTo>
                <a:cubicBezTo>
                  <a:pt x="1000704" y="6542674"/>
                  <a:pt x="1011358" y="6532772"/>
                  <a:pt x="1011358" y="6514282"/>
                </a:cubicBezTo>
                <a:cubicBezTo>
                  <a:pt x="1011358" y="6497610"/>
                  <a:pt x="1000641" y="6487707"/>
                  <a:pt x="986727" y="6487707"/>
                </a:cubicBezTo>
                <a:lnTo>
                  <a:pt x="961907" y="6487707"/>
                </a:lnTo>
                <a:cubicBezTo>
                  <a:pt x="956078" y="6487707"/>
                  <a:pt x="953321" y="6483696"/>
                  <a:pt x="953321" y="6479246"/>
                </a:cubicBezTo>
                <a:cubicBezTo>
                  <a:pt x="953321" y="6474796"/>
                  <a:pt x="956078" y="6470785"/>
                  <a:pt x="961907" y="6470785"/>
                </a:cubicBezTo>
                <a:lnTo>
                  <a:pt x="1004965" y="6470785"/>
                </a:lnTo>
                <a:lnTo>
                  <a:pt x="1004965" y="6451543"/>
                </a:lnTo>
                <a:close/>
                <a:moveTo>
                  <a:pt x="841570" y="6451543"/>
                </a:moveTo>
                <a:lnTo>
                  <a:pt x="841570" y="6542674"/>
                </a:lnTo>
                <a:lnTo>
                  <a:pt x="862692" y="6542674"/>
                </a:lnTo>
                <a:lnTo>
                  <a:pt x="862692" y="6486454"/>
                </a:lnTo>
                <a:lnTo>
                  <a:pt x="898981" y="6542486"/>
                </a:lnTo>
                <a:lnTo>
                  <a:pt x="898981" y="6542674"/>
                </a:lnTo>
                <a:lnTo>
                  <a:pt x="920855" y="6542674"/>
                </a:lnTo>
                <a:lnTo>
                  <a:pt x="920793" y="6522994"/>
                </a:lnTo>
                <a:lnTo>
                  <a:pt x="920667" y="6451543"/>
                </a:lnTo>
                <a:lnTo>
                  <a:pt x="899671" y="6451543"/>
                </a:lnTo>
                <a:lnTo>
                  <a:pt x="899671" y="6508829"/>
                </a:lnTo>
                <a:lnTo>
                  <a:pt x="863068" y="6451543"/>
                </a:lnTo>
                <a:close/>
                <a:moveTo>
                  <a:pt x="774444" y="6451543"/>
                </a:moveTo>
                <a:lnTo>
                  <a:pt x="742918" y="6542674"/>
                </a:lnTo>
                <a:lnTo>
                  <a:pt x="765168" y="6542674"/>
                </a:lnTo>
                <a:lnTo>
                  <a:pt x="770934" y="6524060"/>
                </a:lnTo>
                <a:lnTo>
                  <a:pt x="805845" y="6524060"/>
                </a:lnTo>
                <a:lnTo>
                  <a:pt x="811799" y="6542674"/>
                </a:lnTo>
                <a:lnTo>
                  <a:pt x="833735" y="6542674"/>
                </a:lnTo>
                <a:lnTo>
                  <a:pt x="801269" y="6451543"/>
                </a:lnTo>
                <a:close/>
                <a:moveTo>
                  <a:pt x="604404" y="6451543"/>
                </a:moveTo>
                <a:cubicBezTo>
                  <a:pt x="586792" y="6451543"/>
                  <a:pt x="576137" y="6461822"/>
                  <a:pt x="576137" y="6479246"/>
                </a:cubicBezTo>
                <a:cubicBezTo>
                  <a:pt x="576137" y="6496670"/>
                  <a:pt x="588484" y="6505821"/>
                  <a:pt x="604404" y="6505821"/>
                </a:cubicBezTo>
                <a:lnTo>
                  <a:pt x="625964" y="6505821"/>
                </a:lnTo>
                <a:cubicBezTo>
                  <a:pt x="631417" y="6505821"/>
                  <a:pt x="634174" y="6509957"/>
                  <a:pt x="634174" y="6514282"/>
                </a:cubicBezTo>
                <a:cubicBezTo>
                  <a:pt x="634174" y="6518732"/>
                  <a:pt x="631417" y="6522743"/>
                  <a:pt x="625964" y="6522743"/>
                </a:cubicBezTo>
                <a:lnTo>
                  <a:pt x="579772" y="6522743"/>
                </a:lnTo>
                <a:lnTo>
                  <a:pt x="579772" y="6542674"/>
                </a:lnTo>
                <a:lnTo>
                  <a:pt x="625149" y="6542674"/>
                </a:lnTo>
                <a:cubicBezTo>
                  <a:pt x="643137" y="6542674"/>
                  <a:pt x="653792" y="6532772"/>
                  <a:pt x="653792" y="6514282"/>
                </a:cubicBezTo>
                <a:cubicBezTo>
                  <a:pt x="653792" y="6497610"/>
                  <a:pt x="643137" y="6487707"/>
                  <a:pt x="629223" y="6487707"/>
                </a:cubicBezTo>
                <a:lnTo>
                  <a:pt x="604404" y="6487707"/>
                </a:lnTo>
                <a:cubicBezTo>
                  <a:pt x="598575" y="6487707"/>
                  <a:pt x="595817" y="6483696"/>
                  <a:pt x="595817" y="6479246"/>
                </a:cubicBezTo>
                <a:cubicBezTo>
                  <a:pt x="595817" y="6474796"/>
                  <a:pt x="598575" y="6470785"/>
                  <a:pt x="604404" y="6470785"/>
                </a:cubicBezTo>
                <a:lnTo>
                  <a:pt x="647462" y="6470785"/>
                </a:lnTo>
                <a:lnTo>
                  <a:pt x="647462" y="6451543"/>
                </a:lnTo>
                <a:close/>
                <a:moveTo>
                  <a:pt x="1023956" y="6451480"/>
                </a:moveTo>
                <a:lnTo>
                  <a:pt x="1023956" y="6542674"/>
                </a:lnTo>
                <a:lnTo>
                  <a:pt x="1045016" y="6542674"/>
                </a:lnTo>
                <a:lnTo>
                  <a:pt x="1045016" y="6504191"/>
                </a:lnTo>
                <a:lnTo>
                  <a:pt x="1074975" y="6542674"/>
                </a:lnTo>
                <a:lnTo>
                  <a:pt x="1099481" y="6542674"/>
                </a:lnTo>
                <a:lnTo>
                  <a:pt x="1065009" y="6497109"/>
                </a:lnTo>
                <a:lnTo>
                  <a:pt x="1099481" y="6451480"/>
                </a:lnTo>
                <a:lnTo>
                  <a:pt x="1074975" y="6451480"/>
                </a:lnTo>
                <a:lnTo>
                  <a:pt x="1045016" y="6489963"/>
                </a:lnTo>
                <a:lnTo>
                  <a:pt x="1045016" y="6451480"/>
                </a:lnTo>
                <a:close/>
                <a:moveTo>
                  <a:pt x="666077" y="6451480"/>
                </a:moveTo>
                <a:lnTo>
                  <a:pt x="666077" y="6542674"/>
                </a:lnTo>
                <a:lnTo>
                  <a:pt x="687073" y="6542674"/>
                </a:lnTo>
                <a:lnTo>
                  <a:pt x="687073" y="6504191"/>
                </a:lnTo>
                <a:lnTo>
                  <a:pt x="717033" y="6542674"/>
                </a:lnTo>
                <a:lnTo>
                  <a:pt x="741602" y="6542674"/>
                </a:lnTo>
                <a:lnTo>
                  <a:pt x="707067" y="6497109"/>
                </a:lnTo>
                <a:lnTo>
                  <a:pt x="741602" y="6451480"/>
                </a:lnTo>
                <a:lnTo>
                  <a:pt x="717033" y="6451480"/>
                </a:lnTo>
                <a:lnTo>
                  <a:pt x="687073" y="6489963"/>
                </a:lnTo>
                <a:lnTo>
                  <a:pt x="687073" y="6451480"/>
                </a:lnTo>
                <a:close/>
                <a:moveTo>
                  <a:pt x="0" y="0"/>
                </a:moveTo>
                <a:lnTo>
                  <a:pt x="12191997" y="0"/>
                </a:lnTo>
                <a:lnTo>
                  <a:pt x="12191997" y="6857997"/>
                </a:lnTo>
                <a:lnTo>
                  <a:pt x="0" y="6857997"/>
                </a:lnTo>
                <a:close/>
              </a:path>
            </a:pathLst>
          </a:custGeom>
          <a:solidFill>
            <a:srgbClr val="ECECEC"/>
          </a:solidFill>
        </p:spPr>
        <p:txBody>
          <a:bodyPr wrap="square" lIns="36000" tIns="36000" rIns="36000" bIns="36000">
            <a:noAutofit/>
          </a:bodyPr>
          <a:lstStyle>
            <a:lvl1pPr marL="0" indent="0" algn="ctr">
              <a:buNone/>
              <a:defRPr sz="1300">
                <a:solidFill>
                  <a:schemeClr val="accent1"/>
                </a:solidFill>
              </a:defRPr>
            </a:lvl1pPr>
          </a:lstStyle>
          <a:p>
            <a:r>
              <a:rPr lang="en-US" noProof="0"/>
              <a:t>Click on the icon to add an image</a:t>
            </a:r>
          </a:p>
        </p:txBody>
      </p:sp>
      <p:sp>
        <p:nvSpPr>
          <p:cNvPr id="25" name="Text Placeholder 7">
            <a:extLst>
              <a:ext uri="{FF2B5EF4-FFF2-40B4-BE49-F238E27FC236}">
                <a16:creationId xmlns:a16="http://schemas.microsoft.com/office/drawing/2014/main" id="{67488718-642D-1C4A-B768-5243ECAAFF54}"/>
              </a:ext>
            </a:extLst>
          </p:cNvPr>
          <p:cNvSpPr>
            <a:spLocks noGrp="1"/>
          </p:cNvSpPr>
          <p:nvPr>
            <p:ph type="body" sz="quarter" idx="38" hasCustomPrompt="1"/>
          </p:nvPr>
        </p:nvSpPr>
        <p:spPr>
          <a:xfrm>
            <a:off x="583093" y="720724"/>
            <a:ext cx="5370031" cy="2600325"/>
          </a:xfrm>
        </p:spPr>
        <p:txBody>
          <a:bodyPr/>
          <a:lstStyle>
            <a:lvl1pPr marL="0" indent="0" algn="l">
              <a:lnSpc>
                <a:spcPct val="100000"/>
              </a:lnSpc>
              <a:spcBef>
                <a:spcPts val="0"/>
              </a:spcBef>
              <a:spcAft>
                <a:spcPts val="850"/>
              </a:spcAft>
              <a:buNone/>
              <a:defRPr sz="3600" b="0" spc="40" baseline="0">
                <a:solidFill>
                  <a:schemeClr val="accent1"/>
                </a:solidFill>
                <a:latin typeface="+mj-lt"/>
              </a:defRPr>
            </a:lvl1pPr>
            <a:lvl2pPr marL="0" indent="0" algn="l">
              <a:lnSpc>
                <a:spcPct val="100000"/>
              </a:lnSpc>
              <a:spcBef>
                <a:spcPts val="0"/>
              </a:spcBef>
              <a:spcAft>
                <a:spcPts val="600"/>
              </a:spcAft>
              <a:buNone/>
              <a:defRPr sz="1400" spc="40" baseline="0">
                <a:solidFill>
                  <a:schemeClr val="accent1"/>
                </a:solidFill>
              </a:defRPr>
            </a:lvl2pPr>
            <a:lvl3pPr marL="534988" indent="-168275">
              <a:buFont typeface="System Font Regular"/>
              <a:buChar char="–"/>
              <a:defRPr sz="1200" spc="40" baseline="0">
                <a:solidFill>
                  <a:schemeClr val="bg1"/>
                </a:solidFill>
              </a:defRPr>
            </a:lvl3pPr>
            <a:lvl4pPr>
              <a:defRPr sz="1200" spc="40" baseline="0"/>
            </a:lvl4pPr>
            <a:lvl5pPr>
              <a:defRPr sz="1200" spc="40" baseline="0"/>
            </a:lvl5pPr>
          </a:lstStyle>
          <a:p>
            <a:pPr lvl="0"/>
            <a:r>
              <a:rPr lang="en-US" noProof="0"/>
              <a:t>Click to add text</a:t>
            </a:r>
          </a:p>
          <a:p>
            <a:pPr lvl="1"/>
            <a:r>
              <a:rPr lang="en-US" noProof="0"/>
              <a:t>Second level</a:t>
            </a:r>
          </a:p>
        </p:txBody>
      </p:sp>
      <p:sp>
        <p:nvSpPr>
          <p:cNvPr id="8" name="textruta 5">
            <a:extLst>
              <a:ext uri="{FF2B5EF4-FFF2-40B4-BE49-F238E27FC236}">
                <a16:creationId xmlns:a16="http://schemas.microsoft.com/office/drawing/2014/main" id="{9CA758BD-5C55-6540-BFC0-18BA5E290BA3}"/>
              </a:ext>
            </a:extLst>
          </p:cNvPr>
          <p:cNvSpPr txBox="1"/>
          <p:nvPr userDrawn="1"/>
        </p:nvSpPr>
        <p:spPr>
          <a:xfrm>
            <a:off x="12395260" y="1453483"/>
            <a:ext cx="1681523" cy="646331"/>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the textboxes disappears after adding or changing an imag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right click the image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and use – </a:t>
            </a:r>
            <a:r>
              <a:rPr lang="en-US" sz="900" b="1" noProof="0">
                <a:solidFill>
                  <a:schemeClr val="tx1">
                    <a:lumMod val="65000"/>
                    <a:lumOff val="35000"/>
                  </a:schemeClr>
                </a:solidFill>
                <a:latin typeface="Arial" panose="020B0604020202020204" pitchFamily="34" charset="0"/>
                <a:cs typeface="Arial" panose="020B0604020202020204" pitchFamily="34" charset="0"/>
              </a:rPr>
              <a:t>S</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end to back</a:t>
            </a:r>
          </a:p>
        </p:txBody>
      </p:sp>
      <p:sp>
        <p:nvSpPr>
          <p:cNvPr id="9" name="textruta 8">
            <a:extLst>
              <a:ext uri="{FF2B5EF4-FFF2-40B4-BE49-F238E27FC236}">
                <a16:creationId xmlns:a16="http://schemas.microsoft.com/office/drawing/2014/main" id="{D6D03EBC-FF28-B246-9262-70768DB96EB3}"/>
              </a:ext>
            </a:extLst>
          </p:cNvPr>
          <p:cNvSpPr txBox="1"/>
          <p:nvPr userDrawn="1"/>
        </p:nvSpPr>
        <p:spPr>
          <a:xfrm>
            <a:off x="12395260" y="-12189"/>
            <a:ext cx="1681523" cy="1338828"/>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you need to change the color of the logo, right click outside work area,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Format Background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from context menu and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Solid fill</a:t>
            </a:r>
            <a:r>
              <a:rPr lang="en-US" sz="900" baseline="0" noProof="0">
                <a:solidFill>
                  <a:schemeClr val="tx1">
                    <a:lumMod val="65000"/>
                    <a:lumOff val="35000"/>
                  </a:schemeClr>
                </a:solidFill>
                <a:latin typeface="Arial" panose="020B0604020202020204" pitchFamily="34" charset="0"/>
                <a:cs typeface="Arial" panose="020B0604020202020204" pitchFamily="34" charset="0"/>
              </a:rPr>
              <a:t> –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White or Blue</a:t>
            </a: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p:txBody>
      </p:sp>
      <p:sp>
        <p:nvSpPr>
          <p:cNvPr id="10" name="Rektangel 9">
            <a:extLst>
              <a:ext uri="{FF2B5EF4-FFF2-40B4-BE49-F238E27FC236}">
                <a16:creationId xmlns:a16="http://schemas.microsoft.com/office/drawing/2014/main" id="{4C4F2B59-2BF8-804B-B8CA-05F71E9FA5C2}"/>
              </a:ext>
            </a:extLst>
          </p:cNvPr>
          <p:cNvSpPr/>
          <p:nvPr userDrawn="1"/>
        </p:nvSpPr>
        <p:spPr>
          <a:xfrm>
            <a:off x="13255337" y="926211"/>
            <a:ext cx="341194" cy="305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 name="Rektangel 10">
            <a:extLst>
              <a:ext uri="{FF2B5EF4-FFF2-40B4-BE49-F238E27FC236}">
                <a16:creationId xmlns:a16="http://schemas.microsoft.com/office/drawing/2014/main" id="{483A10B1-05B8-D24F-9FD4-3E109436BAAF}"/>
              </a:ext>
            </a:extLst>
          </p:cNvPr>
          <p:cNvSpPr/>
          <p:nvPr userDrawn="1"/>
        </p:nvSpPr>
        <p:spPr>
          <a:xfrm>
            <a:off x="12833410" y="926211"/>
            <a:ext cx="341194" cy="30590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textruta 11">
            <a:extLst>
              <a:ext uri="{FF2B5EF4-FFF2-40B4-BE49-F238E27FC236}">
                <a16:creationId xmlns:a16="http://schemas.microsoft.com/office/drawing/2014/main" id="{567CC080-E0B4-6645-B343-8E58FF0C1643}"/>
              </a:ext>
            </a:extLst>
          </p:cNvPr>
          <p:cNvSpPr txBox="1"/>
          <p:nvPr userDrawn="1"/>
        </p:nvSpPr>
        <p:spPr>
          <a:xfrm>
            <a:off x="12395260" y="4154400"/>
            <a:ext cx="1681523" cy="1754326"/>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mn-lt"/>
                <a:cs typeface="Arial" panose="020B0604020202020204" pitchFamily="34" charset="0"/>
              </a:rPr>
              <a:t>To change from </a:t>
            </a:r>
            <a:r>
              <a:rPr lang="en-US" sz="900" b="1" baseline="0" noProof="0">
                <a:solidFill>
                  <a:schemeClr val="tx1">
                    <a:lumMod val="65000"/>
                    <a:lumOff val="35000"/>
                  </a:schemeClr>
                </a:solidFill>
                <a:latin typeface="+mn-lt"/>
                <a:cs typeface="Arial" panose="020B0604020202020204" pitchFamily="34" charset="0"/>
              </a:rPr>
              <a:t>headline</a:t>
            </a:r>
            <a:r>
              <a:rPr lang="en-US" sz="900" baseline="0" noProof="0">
                <a:solidFill>
                  <a:schemeClr val="tx1">
                    <a:lumMod val="65000"/>
                    <a:lumOff val="35000"/>
                  </a:schemeClr>
                </a:solidFill>
                <a:latin typeface="+mn-lt"/>
                <a:cs typeface="Arial" panose="020B0604020202020204" pitchFamily="34" charset="0"/>
              </a:rPr>
              <a:t> to </a:t>
            </a:r>
            <a:r>
              <a:rPr lang="en-US" sz="900" b="1" baseline="0" noProof="0">
                <a:solidFill>
                  <a:schemeClr val="tx1">
                    <a:lumMod val="65000"/>
                    <a:lumOff val="35000"/>
                  </a:schemeClr>
                </a:solidFill>
                <a:latin typeface="+mn-lt"/>
                <a:cs typeface="Arial" panose="020B0604020202020204" pitchFamily="34" charset="0"/>
              </a:rPr>
              <a:t>body text </a:t>
            </a:r>
            <a:r>
              <a:rPr lang="en-US" sz="900" baseline="0" noProof="0">
                <a:solidFill>
                  <a:schemeClr val="tx1">
                    <a:lumMod val="65000"/>
                    <a:lumOff val="35000"/>
                  </a:schemeClr>
                </a:solidFill>
                <a:latin typeface="+mn-lt"/>
                <a:cs typeface="Arial" panose="020B0604020202020204" pitchFamily="34" charset="0"/>
              </a:rPr>
              <a:t>or to </a:t>
            </a:r>
            <a:r>
              <a:rPr lang="en-US" sz="900" b="1" baseline="0" noProof="0">
                <a:solidFill>
                  <a:schemeClr val="tx1">
                    <a:lumMod val="65000"/>
                    <a:lumOff val="35000"/>
                  </a:schemeClr>
                </a:solidFill>
                <a:latin typeface="+mn-lt"/>
                <a:cs typeface="Arial" panose="020B0604020202020204" pitchFamily="34" charset="0"/>
              </a:rPr>
              <a:t>use bullets</a:t>
            </a:r>
            <a:r>
              <a:rPr lang="en-US" sz="900" baseline="0" noProof="0">
                <a:solidFill>
                  <a:schemeClr val="tx1">
                    <a:lumMod val="65000"/>
                    <a:lumOff val="35000"/>
                  </a:schemeClr>
                </a:solidFill>
                <a:latin typeface="+mn-lt"/>
                <a:cs typeface="Arial" panose="020B0604020202020204" pitchFamily="34" charset="0"/>
              </a:rPr>
              <a:t>, press </a:t>
            </a:r>
            <a:r>
              <a:rPr lang="en-US" sz="900" b="1" baseline="0" noProof="0">
                <a:solidFill>
                  <a:schemeClr val="tx1">
                    <a:lumMod val="65000"/>
                    <a:lumOff val="35000"/>
                  </a:schemeClr>
                </a:solidFill>
                <a:latin typeface="+mn-lt"/>
                <a:cs typeface="Arial" panose="020B0604020202020204" pitchFamily="34" charset="0"/>
              </a:rPr>
              <a:t>enter/return </a:t>
            </a:r>
            <a:r>
              <a:rPr lang="en-US" sz="900" baseline="0" noProof="0">
                <a:solidFill>
                  <a:schemeClr val="tx1">
                    <a:lumMod val="65000"/>
                    <a:lumOff val="35000"/>
                  </a:schemeClr>
                </a:solidFill>
                <a:latin typeface="+mn-lt"/>
                <a:cs typeface="Arial" panose="020B0604020202020204" pitchFamily="34" charset="0"/>
              </a:rPr>
              <a:t>after your headline then use this function toggle to body text.</a:t>
            </a: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p:txBody>
      </p:sp>
      <p:pic>
        <p:nvPicPr>
          <p:cNvPr id="13" name="Picture 9">
            <a:extLst>
              <a:ext uri="{FF2B5EF4-FFF2-40B4-BE49-F238E27FC236}">
                <a16:creationId xmlns:a16="http://schemas.microsoft.com/office/drawing/2014/main" id="{359C9406-E00B-424F-B110-6C1F4D84288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
          <a:stretch/>
        </p:blipFill>
        <p:spPr>
          <a:xfrm>
            <a:off x="12522649" y="5058609"/>
            <a:ext cx="1422121" cy="721417"/>
          </a:xfrm>
          <a:prstGeom prst="rect">
            <a:avLst/>
          </a:prstGeom>
          <a:ln w="9525">
            <a:solidFill>
              <a:schemeClr val="tx2"/>
            </a:solidFill>
          </a:ln>
        </p:spPr>
      </p:pic>
      <p:sp>
        <p:nvSpPr>
          <p:cNvPr id="14" name="Oval 4">
            <a:extLst>
              <a:ext uri="{FF2B5EF4-FFF2-40B4-BE49-F238E27FC236}">
                <a16:creationId xmlns:a16="http://schemas.microsoft.com/office/drawing/2014/main" id="{5C256491-67DF-A248-A90E-627FCDF80B83}"/>
              </a:ext>
            </a:extLst>
          </p:cNvPr>
          <p:cNvSpPr/>
          <p:nvPr userDrawn="1"/>
        </p:nvSpPr>
        <p:spPr>
          <a:xfrm>
            <a:off x="13194299" y="5281906"/>
            <a:ext cx="282818" cy="282818"/>
          </a:xfrm>
          <a:prstGeom prst="ellipse">
            <a:avLst/>
          </a:prstGeom>
          <a:solidFill>
            <a:schemeClr val="bg1">
              <a:lumMod val="95000"/>
              <a:alpha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latin typeface="+mn-lt"/>
            </a:endParaRPr>
          </a:p>
        </p:txBody>
      </p:sp>
      <p:cxnSp>
        <p:nvCxnSpPr>
          <p:cNvPr id="16" name="Connector: Elbow 131">
            <a:extLst>
              <a:ext uri="{FF2B5EF4-FFF2-40B4-BE49-F238E27FC236}">
                <a16:creationId xmlns:a16="http://schemas.microsoft.com/office/drawing/2014/main" id="{5D4FBB2B-EA79-FE42-A088-3353E1F76FB1}"/>
              </a:ext>
            </a:extLst>
          </p:cNvPr>
          <p:cNvCxnSpPr>
            <a:cxnSpLocks/>
            <a:endCxn id="14" idx="0"/>
          </p:cNvCxnSpPr>
          <p:nvPr userDrawn="1"/>
        </p:nvCxnSpPr>
        <p:spPr>
          <a:xfrm rot="5400000">
            <a:off x="13324711" y="5010086"/>
            <a:ext cx="282818" cy="260823"/>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Platshållare för datum 3">
            <a:extLst>
              <a:ext uri="{FF2B5EF4-FFF2-40B4-BE49-F238E27FC236}">
                <a16:creationId xmlns:a16="http://schemas.microsoft.com/office/drawing/2014/main" id="{76ED9D30-AAB7-914D-BF46-71D0253AA983}"/>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tx2"/>
                </a:solidFill>
              </a:defRPr>
            </a:lvl1pPr>
          </a:lstStyle>
          <a:p>
            <a:fld id="{2F9806AD-009B-8D45-82A9-B9E8234B6322}" type="datetime1">
              <a:rPr lang="en-US" noProof="0" smtClean="0"/>
              <a:t>10/17/2023</a:t>
            </a:fld>
            <a:endParaRPr lang="en-US" noProof="0"/>
          </a:p>
        </p:txBody>
      </p:sp>
      <p:sp>
        <p:nvSpPr>
          <p:cNvPr id="18" name="Platshållare för sidfot 4">
            <a:extLst>
              <a:ext uri="{FF2B5EF4-FFF2-40B4-BE49-F238E27FC236}">
                <a16:creationId xmlns:a16="http://schemas.microsoft.com/office/drawing/2014/main" id="{8418F8E0-C9D2-2F42-879F-7EE251517038}"/>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tx2"/>
                </a:solidFill>
              </a:defRPr>
            </a:lvl1pPr>
          </a:lstStyle>
          <a:p>
            <a:r>
              <a:rPr lang="en-US" noProof="0"/>
              <a:t>Go to header/footer to change text </a:t>
            </a:r>
          </a:p>
        </p:txBody>
      </p:sp>
      <p:sp>
        <p:nvSpPr>
          <p:cNvPr id="19" name="Platshållare för bildnummer 5">
            <a:extLst>
              <a:ext uri="{FF2B5EF4-FFF2-40B4-BE49-F238E27FC236}">
                <a16:creationId xmlns:a16="http://schemas.microsoft.com/office/drawing/2014/main" id="{309D3567-1851-1C48-B7BA-4F5DC6819349}"/>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tx2"/>
                </a:solidFill>
              </a:defRPr>
            </a:lvl1pPr>
          </a:lstStyle>
          <a:p>
            <a:fld id="{EF8DBD5B-30F9-4F9C-AE39-E065C1AC514D}" type="slidenum">
              <a:rPr lang="en-US" noProof="0" smtClean="0"/>
              <a:pPr/>
              <a:t>‹#›</a:t>
            </a:fld>
            <a:endParaRPr lang="en-US" noProof="0"/>
          </a:p>
        </p:txBody>
      </p:sp>
      <p:sp>
        <p:nvSpPr>
          <p:cNvPr id="21" name="Text Placeholder 4">
            <a:extLst>
              <a:ext uri="{FF2B5EF4-FFF2-40B4-BE49-F238E27FC236}">
                <a16:creationId xmlns:a16="http://schemas.microsoft.com/office/drawing/2014/main" id="{5CE675EA-9466-B54F-B83A-BE1E916021C6}"/>
              </a:ext>
            </a:extLst>
          </p:cNvPr>
          <p:cNvSpPr>
            <a:spLocks noGrp="1"/>
          </p:cNvSpPr>
          <p:nvPr>
            <p:ph type="body" sz="quarter" idx="14" hasCustomPrompt="1"/>
          </p:nvPr>
        </p:nvSpPr>
        <p:spPr>
          <a:xfrm rot="5400000">
            <a:off x="10901730" y="803644"/>
            <a:ext cx="2093913" cy="486626"/>
          </a:xfrm>
        </p:spPr>
        <p:txBody>
          <a:bodyPr lIns="180000" tIns="180000" rIns="0" bIns="180000" anchor="ctr">
            <a:spAutoFit/>
          </a:bodyPr>
          <a:lstStyle>
            <a:lvl1pPr marL="6350" indent="0" algn="l">
              <a:buNone/>
              <a:defRPr sz="800"/>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Tree>
    <p:extLst>
      <p:ext uri="{BB962C8B-B14F-4D97-AF65-F5344CB8AC3E}">
        <p14:creationId xmlns:p14="http://schemas.microsoft.com/office/powerpoint/2010/main" val="297844897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9 End Slide/Thank You White with image">
    <p:bg>
      <p:bgPr>
        <a:solidFill>
          <a:schemeClr val="bg1"/>
        </a:solidFill>
        <a:effectLst/>
      </p:bgPr>
    </p:bg>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5544DF57-7764-0643-BBD9-8E9A5BB6A5C0}"/>
              </a:ext>
            </a:extLst>
          </p:cNvPr>
          <p:cNvSpPr>
            <a:spLocks noGrp="1"/>
          </p:cNvSpPr>
          <p:nvPr>
            <p:ph type="pic" sz="quarter" idx="13" hasCustomPrompt="1"/>
          </p:nvPr>
        </p:nvSpPr>
        <p:spPr>
          <a:xfrm>
            <a:off x="5" y="5"/>
            <a:ext cx="12191997" cy="6857997"/>
          </a:xfrm>
          <a:custGeom>
            <a:avLst/>
            <a:gdLst>
              <a:gd name="connsiteX0" fmla="*/ 1146049 w 12191997"/>
              <a:gd name="connsiteY0" fmla="*/ 6470534 h 6857997"/>
              <a:gd name="connsiteX1" fmla="*/ 1157832 w 12191997"/>
              <a:gd name="connsiteY1" fmla="*/ 6505507 h 6857997"/>
              <a:gd name="connsiteX2" fmla="*/ 1134642 w 12191997"/>
              <a:gd name="connsiteY2" fmla="*/ 6505507 h 6857997"/>
              <a:gd name="connsiteX3" fmla="*/ 788170 w 12191997"/>
              <a:gd name="connsiteY3" fmla="*/ 6470534 h 6857997"/>
              <a:gd name="connsiteX4" fmla="*/ 799953 w 12191997"/>
              <a:gd name="connsiteY4" fmla="*/ 6505507 h 6857997"/>
              <a:gd name="connsiteX5" fmla="*/ 776763 w 12191997"/>
              <a:gd name="connsiteY5" fmla="*/ 6505507 h 6857997"/>
              <a:gd name="connsiteX6" fmla="*/ 1132323 w 12191997"/>
              <a:gd name="connsiteY6" fmla="*/ 6451543 h 6857997"/>
              <a:gd name="connsiteX7" fmla="*/ 1100860 w 12191997"/>
              <a:gd name="connsiteY7" fmla="*/ 6542674 h 6857997"/>
              <a:gd name="connsiteX8" fmla="*/ 1123110 w 12191997"/>
              <a:gd name="connsiteY8" fmla="*/ 6542674 h 6857997"/>
              <a:gd name="connsiteX9" fmla="*/ 1128876 w 12191997"/>
              <a:gd name="connsiteY9" fmla="*/ 6524060 h 6857997"/>
              <a:gd name="connsiteX10" fmla="*/ 1163786 w 12191997"/>
              <a:gd name="connsiteY10" fmla="*/ 6524060 h 6857997"/>
              <a:gd name="connsiteX11" fmla="*/ 1169741 w 12191997"/>
              <a:gd name="connsiteY11" fmla="*/ 6542674 h 6857997"/>
              <a:gd name="connsiteX12" fmla="*/ 1191615 w 12191997"/>
              <a:gd name="connsiteY12" fmla="*/ 6542674 h 6857997"/>
              <a:gd name="connsiteX13" fmla="*/ 1159148 w 12191997"/>
              <a:gd name="connsiteY13" fmla="*/ 6451543 h 6857997"/>
              <a:gd name="connsiteX14" fmla="*/ 961907 w 12191997"/>
              <a:gd name="connsiteY14" fmla="*/ 6451543 h 6857997"/>
              <a:gd name="connsiteX15" fmla="*/ 933640 w 12191997"/>
              <a:gd name="connsiteY15" fmla="*/ 6479246 h 6857997"/>
              <a:gd name="connsiteX16" fmla="*/ 961907 w 12191997"/>
              <a:gd name="connsiteY16" fmla="*/ 6505821 h 6857997"/>
              <a:gd name="connsiteX17" fmla="*/ 983468 w 12191997"/>
              <a:gd name="connsiteY17" fmla="*/ 6505821 h 6857997"/>
              <a:gd name="connsiteX18" fmla="*/ 991678 w 12191997"/>
              <a:gd name="connsiteY18" fmla="*/ 6514282 h 6857997"/>
              <a:gd name="connsiteX19" fmla="*/ 983468 w 12191997"/>
              <a:gd name="connsiteY19" fmla="*/ 6522743 h 6857997"/>
              <a:gd name="connsiteX20" fmla="*/ 937338 w 12191997"/>
              <a:gd name="connsiteY20" fmla="*/ 6522743 h 6857997"/>
              <a:gd name="connsiteX21" fmla="*/ 937338 w 12191997"/>
              <a:gd name="connsiteY21" fmla="*/ 6542674 h 6857997"/>
              <a:gd name="connsiteX22" fmla="*/ 982716 w 12191997"/>
              <a:gd name="connsiteY22" fmla="*/ 6542674 h 6857997"/>
              <a:gd name="connsiteX23" fmla="*/ 1011358 w 12191997"/>
              <a:gd name="connsiteY23" fmla="*/ 6514282 h 6857997"/>
              <a:gd name="connsiteX24" fmla="*/ 986727 w 12191997"/>
              <a:gd name="connsiteY24" fmla="*/ 6487707 h 6857997"/>
              <a:gd name="connsiteX25" fmla="*/ 961907 w 12191997"/>
              <a:gd name="connsiteY25" fmla="*/ 6487707 h 6857997"/>
              <a:gd name="connsiteX26" fmla="*/ 953321 w 12191997"/>
              <a:gd name="connsiteY26" fmla="*/ 6479246 h 6857997"/>
              <a:gd name="connsiteX27" fmla="*/ 961907 w 12191997"/>
              <a:gd name="connsiteY27" fmla="*/ 6470785 h 6857997"/>
              <a:gd name="connsiteX28" fmla="*/ 1004965 w 12191997"/>
              <a:gd name="connsiteY28" fmla="*/ 6470785 h 6857997"/>
              <a:gd name="connsiteX29" fmla="*/ 1004965 w 12191997"/>
              <a:gd name="connsiteY29" fmla="*/ 6451543 h 6857997"/>
              <a:gd name="connsiteX30" fmla="*/ 841570 w 12191997"/>
              <a:gd name="connsiteY30" fmla="*/ 6451543 h 6857997"/>
              <a:gd name="connsiteX31" fmla="*/ 841570 w 12191997"/>
              <a:gd name="connsiteY31" fmla="*/ 6542674 h 6857997"/>
              <a:gd name="connsiteX32" fmla="*/ 862692 w 12191997"/>
              <a:gd name="connsiteY32" fmla="*/ 6542674 h 6857997"/>
              <a:gd name="connsiteX33" fmla="*/ 862692 w 12191997"/>
              <a:gd name="connsiteY33" fmla="*/ 6486454 h 6857997"/>
              <a:gd name="connsiteX34" fmla="*/ 898981 w 12191997"/>
              <a:gd name="connsiteY34" fmla="*/ 6542486 h 6857997"/>
              <a:gd name="connsiteX35" fmla="*/ 898981 w 12191997"/>
              <a:gd name="connsiteY35" fmla="*/ 6542674 h 6857997"/>
              <a:gd name="connsiteX36" fmla="*/ 920855 w 12191997"/>
              <a:gd name="connsiteY36" fmla="*/ 6542674 h 6857997"/>
              <a:gd name="connsiteX37" fmla="*/ 920793 w 12191997"/>
              <a:gd name="connsiteY37" fmla="*/ 6522994 h 6857997"/>
              <a:gd name="connsiteX38" fmla="*/ 920667 w 12191997"/>
              <a:gd name="connsiteY38" fmla="*/ 6451543 h 6857997"/>
              <a:gd name="connsiteX39" fmla="*/ 899671 w 12191997"/>
              <a:gd name="connsiteY39" fmla="*/ 6451543 h 6857997"/>
              <a:gd name="connsiteX40" fmla="*/ 899671 w 12191997"/>
              <a:gd name="connsiteY40" fmla="*/ 6508829 h 6857997"/>
              <a:gd name="connsiteX41" fmla="*/ 863068 w 12191997"/>
              <a:gd name="connsiteY41" fmla="*/ 6451543 h 6857997"/>
              <a:gd name="connsiteX42" fmla="*/ 774444 w 12191997"/>
              <a:gd name="connsiteY42" fmla="*/ 6451543 h 6857997"/>
              <a:gd name="connsiteX43" fmla="*/ 742918 w 12191997"/>
              <a:gd name="connsiteY43" fmla="*/ 6542674 h 6857997"/>
              <a:gd name="connsiteX44" fmla="*/ 765168 w 12191997"/>
              <a:gd name="connsiteY44" fmla="*/ 6542674 h 6857997"/>
              <a:gd name="connsiteX45" fmla="*/ 770934 w 12191997"/>
              <a:gd name="connsiteY45" fmla="*/ 6524060 h 6857997"/>
              <a:gd name="connsiteX46" fmla="*/ 805845 w 12191997"/>
              <a:gd name="connsiteY46" fmla="*/ 6524060 h 6857997"/>
              <a:gd name="connsiteX47" fmla="*/ 811799 w 12191997"/>
              <a:gd name="connsiteY47" fmla="*/ 6542674 h 6857997"/>
              <a:gd name="connsiteX48" fmla="*/ 833735 w 12191997"/>
              <a:gd name="connsiteY48" fmla="*/ 6542674 h 6857997"/>
              <a:gd name="connsiteX49" fmla="*/ 801269 w 12191997"/>
              <a:gd name="connsiteY49" fmla="*/ 6451543 h 6857997"/>
              <a:gd name="connsiteX50" fmla="*/ 604404 w 12191997"/>
              <a:gd name="connsiteY50" fmla="*/ 6451543 h 6857997"/>
              <a:gd name="connsiteX51" fmla="*/ 576137 w 12191997"/>
              <a:gd name="connsiteY51" fmla="*/ 6479246 h 6857997"/>
              <a:gd name="connsiteX52" fmla="*/ 604404 w 12191997"/>
              <a:gd name="connsiteY52" fmla="*/ 6505821 h 6857997"/>
              <a:gd name="connsiteX53" fmla="*/ 625964 w 12191997"/>
              <a:gd name="connsiteY53" fmla="*/ 6505821 h 6857997"/>
              <a:gd name="connsiteX54" fmla="*/ 634174 w 12191997"/>
              <a:gd name="connsiteY54" fmla="*/ 6514282 h 6857997"/>
              <a:gd name="connsiteX55" fmla="*/ 625964 w 12191997"/>
              <a:gd name="connsiteY55" fmla="*/ 6522743 h 6857997"/>
              <a:gd name="connsiteX56" fmla="*/ 579772 w 12191997"/>
              <a:gd name="connsiteY56" fmla="*/ 6522743 h 6857997"/>
              <a:gd name="connsiteX57" fmla="*/ 579772 w 12191997"/>
              <a:gd name="connsiteY57" fmla="*/ 6542674 h 6857997"/>
              <a:gd name="connsiteX58" fmla="*/ 625149 w 12191997"/>
              <a:gd name="connsiteY58" fmla="*/ 6542674 h 6857997"/>
              <a:gd name="connsiteX59" fmla="*/ 653792 w 12191997"/>
              <a:gd name="connsiteY59" fmla="*/ 6514282 h 6857997"/>
              <a:gd name="connsiteX60" fmla="*/ 629223 w 12191997"/>
              <a:gd name="connsiteY60" fmla="*/ 6487707 h 6857997"/>
              <a:gd name="connsiteX61" fmla="*/ 604404 w 12191997"/>
              <a:gd name="connsiteY61" fmla="*/ 6487707 h 6857997"/>
              <a:gd name="connsiteX62" fmla="*/ 595817 w 12191997"/>
              <a:gd name="connsiteY62" fmla="*/ 6479246 h 6857997"/>
              <a:gd name="connsiteX63" fmla="*/ 604404 w 12191997"/>
              <a:gd name="connsiteY63" fmla="*/ 6470785 h 6857997"/>
              <a:gd name="connsiteX64" fmla="*/ 647462 w 12191997"/>
              <a:gd name="connsiteY64" fmla="*/ 6470785 h 6857997"/>
              <a:gd name="connsiteX65" fmla="*/ 647462 w 12191997"/>
              <a:gd name="connsiteY65" fmla="*/ 6451543 h 6857997"/>
              <a:gd name="connsiteX66" fmla="*/ 1023956 w 12191997"/>
              <a:gd name="connsiteY66" fmla="*/ 6451480 h 6857997"/>
              <a:gd name="connsiteX67" fmla="*/ 1023956 w 12191997"/>
              <a:gd name="connsiteY67" fmla="*/ 6542674 h 6857997"/>
              <a:gd name="connsiteX68" fmla="*/ 1045016 w 12191997"/>
              <a:gd name="connsiteY68" fmla="*/ 6542674 h 6857997"/>
              <a:gd name="connsiteX69" fmla="*/ 1045016 w 12191997"/>
              <a:gd name="connsiteY69" fmla="*/ 6504191 h 6857997"/>
              <a:gd name="connsiteX70" fmla="*/ 1074975 w 12191997"/>
              <a:gd name="connsiteY70" fmla="*/ 6542674 h 6857997"/>
              <a:gd name="connsiteX71" fmla="*/ 1099481 w 12191997"/>
              <a:gd name="connsiteY71" fmla="*/ 6542674 h 6857997"/>
              <a:gd name="connsiteX72" fmla="*/ 1065009 w 12191997"/>
              <a:gd name="connsiteY72" fmla="*/ 6497109 h 6857997"/>
              <a:gd name="connsiteX73" fmla="*/ 1099481 w 12191997"/>
              <a:gd name="connsiteY73" fmla="*/ 6451480 h 6857997"/>
              <a:gd name="connsiteX74" fmla="*/ 1074975 w 12191997"/>
              <a:gd name="connsiteY74" fmla="*/ 6451480 h 6857997"/>
              <a:gd name="connsiteX75" fmla="*/ 1045016 w 12191997"/>
              <a:gd name="connsiteY75" fmla="*/ 6489963 h 6857997"/>
              <a:gd name="connsiteX76" fmla="*/ 1045016 w 12191997"/>
              <a:gd name="connsiteY76" fmla="*/ 6451480 h 6857997"/>
              <a:gd name="connsiteX77" fmla="*/ 666077 w 12191997"/>
              <a:gd name="connsiteY77" fmla="*/ 6451480 h 6857997"/>
              <a:gd name="connsiteX78" fmla="*/ 666077 w 12191997"/>
              <a:gd name="connsiteY78" fmla="*/ 6542674 h 6857997"/>
              <a:gd name="connsiteX79" fmla="*/ 687073 w 12191997"/>
              <a:gd name="connsiteY79" fmla="*/ 6542674 h 6857997"/>
              <a:gd name="connsiteX80" fmla="*/ 687073 w 12191997"/>
              <a:gd name="connsiteY80" fmla="*/ 6504191 h 6857997"/>
              <a:gd name="connsiteX81" fmla="*/ 717033 w 12191997"/>
              <a:gd name="connsiteY81" fmla="*/ 6542674 h 6857997"/>
              <a:gd name="connsiteX82" fmla="*/ 741602 w 12191997"/>
              <a:gd name="connsiteY82" fmla="*/ 6542674 h 6857997"/>
              <a:gd name="connsiteX83" fmla="*/ 707067 w 12191997"/>
              <a:gd name="connsiteY83" fmla="*/ 6497109 h 6857997"/>
              <a:gd name="connsiteX84" fmla="*/ 741602 w 12191997"/>
              <a:gd name="connsiteY84" fmla="*/ 6451480 h 6857997"/>
              <a:gd name="connsiteX85" fmla="*/ 717033 w 12191997"/>
              <a:gd name="connsiteY85" fmla="*/ 6451480 h 6857997"/>
              <a:gd name="connsiteX86" fmla="*/ 687073 w 12191997"/>
              <a:gd name="connsiteY86" fmla="*/ 6489963 h 6857997"/>
              <a:gd name="connsiteX87" fmla="*/ 687073 w 12191997"/>
              <a:gd name="connsiteY87" fmla="*/ 6451480 h 6857997"/>
              <a:gd name="connsiteX88" fmla="*/ 0 w 12191997"/>
              <a:gd name="connsiteY88" fmla="*/ 0 h 6857997"/>
              <a:gd name="connsiteX89" fmla="*/ 12191997 w 12191997"/>
              <a:gd name="connsiteY89" fmla="*/ 0 h 6857997"/>
              <a:gd name="connsiteX90" fmla="*/ 12191997 w 12191997"/>
              <a:gd name="connsiteY90" fmla="*/ 6857997 h 6857997"/>
              <a:gd name="connsiteX91" fmla="*/ 0 w 12191997"/>
              <a:gd name="connsiteY91" fmla="*/ 6857997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2191997" h="6857997">
                <a:moveTo>
                  <a:pt x="1146049" y="6470534"/>
                </a:moveTo>
                <a:lnTo>
                  <a:pt x="1157832" y="6505507"/>
                </a:lnTo>
                <a:lnTo>
                  <a:pt x="1134642" y="6505507"/>
                </a:lnTo>
                <a:close/>
                <a:moveTo>
                  <a:pt x="788170" y="6470534"/>
                </a:moveTo>
                <a:lnTo>
                  <a:pt x="799953" y="6505507"/>
                </a:lnTo>
                <a:lnTo>
                  <a:pt x="776763" y="6505507"/>
                </a:lnTo>
                <a:close/>
                <a:moveTo>
                  <a:pt x="1132323" y="6451543"/>
                </a:moveTo>
                <a:lnTo>
                  <a:pt x="1100860" y="6542674"/>
                </a:lnTo>
                <a:lnTo>
                  <a:pt x="1123110" y="6542674"/>
                </a:lnTo>
                <a:lnTo>
                  <a:pt x="1128876" y="6524060"/>
                </a:lnTo>
                <a:lnTo>
                  <a:pt x="1163786" y="6524060"/>
                </a:lnTo>
                <a:lnTo>
                  <a:pt x="1169741" y="6542674"/>
                </a:lnTo>
                <a:lnTo>
                  <a:pt x="1191615" y="6542674"/>
                </a:lnTo>
                <a:lnTo>
                  <a:pt x="1159148" y="6451543"/>
                </a:lnTo>
                <a:close/>
                <a:moveTo>
                  <a:pt x="961907" y="6451543"/>
                </a:moveTo>
                <a:cubicBezTo>
                  <a:pt x="944358" y="6451543"/>
                  <a:pt x="933640" y="6461822"/>
                  <a:pt x="933640" y="6479246"/>
                </a:cubicBezTo>
                <a:cubicBezTo>
                  <a:pt x="933640" y="6496670"/>
                  <a:pt x="945987" y="6505821"/>
                  <a:pt x="961907" y="6505821"/>
                </a:cubicBezTo>
                <a:lnTo>
                  <a:pt x="983468" y="6505821"/>
                </a:lnTo>
                <a:cubicBezTo>
                  <a:pt x="988921" y="6505821"/>
                  <a:pt x="991678" y="6509957"/>
                  <a:pt x="991678" y="6514282"/>
                </a:cubicBezTo>
                <a:cubicBezTo>
                  <a:pt x="991678" y="6518732"/>
                  <a:pt x="988921" y="6522743"/>
                  <a:pt x="983468" y="6522743"/>
                </a:cubicBezTo>
                <a:lnTo>
                  <a:pt x="937338" y="6522743"/>
                </a:lnTo>
                <a:lnTo>
                  <a:pt x="937338" y="6542674"/>
                </a:lnTo>
                <a:lnTo>
                  <a:pt x="982716" y="6542674"/>
                </a:lnTo>
                <a:cubicBezTo>
                  <a:pt x="1000704" y="6542674"/>
                  <a:pt x="1011358" y="6532772"/>
                  <a:pt x="1011358" y="6514282"/>
                </a:cubicBezTo>
                <a:cubicBezTo>
                  <a:pt x="1011358" y="6497610"/>
                  <a:pt x="1000641" y="6487707"/>
                  <a:pt x="986727" y="6487707"/>
                </a:cubicBezTo>
                <a:lnTo>
                  <a:pt x="961907" y="6487707"/>
                </a:lnTo>
                <a:cubicBezTo>
                  <a:pt x="956078" y="6487707"/>
                  <a:pt x="953321" y="6483696"/>
                  <a:pt x="953321" y="6479246"/>
                </a:cubicBezTo>
                <a:cubicBezTo>
                  <a:pt x="953321" y="6474796"/>
                  <a:pt x="956078" y="6470785"/>
                  <a:pt x="961907" y="6470785"/>
                </a:cubicBezTo>
                <a:lnTo>
                  <a:pt x="1004965" y="6470785"/>
                </a:lnTo>
                <a:lnTo>
                  <a:pt x="1004965" y="6451543"/>
                </a:lnTo>
                <a:close/>
                <a:moveTo>
                  <a:pt x="841570" y="6451543"/>
                </a:moveTo>
                <a:lnTo>
                  <a:pt x="841570" y="6542674"/>
                </a:lnTo>
                <a:lnTo>
                  <a:pt x="862692" y="6542674"/>
                </a:lnTo>
                <a:lnTo>
                  <a:pt x="862692" y="6486454"/>
                </a:lnTo>
                <a:lnTo>
                  <a:pt x="898981" y="6542486"/>
                </a:lnTo>
                <a:lnTo>
                  <a:pt x="898981" y="6542674"/>
                </a:lnTo>
                <a:lnTo>
                  <a:pt x="920855" y="6542674"/>
                </a:lnTo>
                <a:lnTo>
                  <a:pt x="920793" y="6522994"/>
                </a:lnTo>
                <a:lnTo>
                  <a:pt x="920667" y="6451543"/>
                </a:lnTo>
                <a:lnTo>
                  <a:pt x="899671" y="6451543"/>
                </a:lnTo>
                <a:lnTo>
                  <a:pt x="899671" y="6508829"/>
                </a:lnTo>
                <a:lnTo>
                  <a:pt x="863068" y="6451543"/>
                </a:lnTo>
                <a:close/>
                <a:moveTo>
                  <a:pt x="774444" y="6451543"/>
                </a:moveTo>
                <a:lnTo>
                  <a:pt x="742918" y="6542674"/>
                </a:lnTo>
                <a:lnTo>
                  <a:pt x="765168" y="6542674"/>
                </a:lnTo>
                <a:lnTo>
                  <a:pt x="770934" y="6524060"/>
                </a:lnTo>
                <a:lnTo>
                  <a:pt x="805845" y="6524060"/>
                </a:lnTo>
                <a:lnTo>
                  <a:pt x="811799" y="6542674"/>
                </a:lnTo>
                <a:lnTo>
                  <a:pt x="833735" y="6542674"/>
                </a:lnTo>
                <a:lnTo>
                  <a:pt x="801269" y="6451543"/>
                </a:lnTo>
                <a:close/>
                <a:moveTo>
                  <a:pt x="604404" y="6451543"/>
                </a:moveTo>
                <a:cubicBezTo>
                  <a:pt x="586792" y="6451543"/>
                  <a:pt x="576137" y="6461822"/>
                  <a:pt x="576137" y="6479246"/>
                </a:cubicBezTo>
                <a:cubicBezTo>
                  <a:pt x="576137" y="6496670"/>
                  <a:pt x="588484" y="6505821"/>
                  <a:pt x="604404" y="6505821"/>
                </a:cubicBezTo>
                <a:lnTo>
                  <a:pt x="625964" y="6505821"/>
                </a:lnTo>
                <a:cubicBezTo>
                  <a:pt x="631417" y="6505821"/>
                  <a:pt x="634174" y="6509957"/>
                  <a:pt x="634174" y="6514282"/>
                </a:cubicBezTo>
                <a:cubicBezTo>
                  <a:pt x="634174" y="6518732"/>
                  <a:pt x="631417" y="6522743"/>
                  <a:pt x="625964" y="6522743"/>
                </a:cubicBezTo>
                <a:lnTo>
                  <a:pt x="579772" y="6522743"/>
                </a:lnTo>
                <a:lnTo>
                  <a:pt x="579772" y="6542674"/>
                </a:lnTo>
                <a:lnTo>
                  <a:pt x="625149" y="6542674"/>
                </a:lnTo>
                <a:cubicBezTo>
                  <a:pt x="643137" y="6542674"/>
                  <a:pt x="653792" y="6532772"/>
                  <a:pt x="653792" y="6514282"/>
                </a:cubicBezTo>
                <a:cubicBezTo>
                  <a:pt x="653792" y="6497610"/>
                  <a:pt x="643137" y="6487707"/>
                  <a:pt x="629223" y="6487707"/>
                </a:cubicBezTo>
                <a:lnTo>
                  <a:pt x="604404" y="6487707"/>
                </a:lnTo>
                <a:cubicBezTo>
                  <a:pt x="598575" y="6487707"/>
                  <a:pt x="595817" y="6483696"/>
                  <a:pt x="595817" y="6479246"/>
                </a:cubicBezTo>
                <a:cubicBezTo>
                  <a:pt x="595817" y="6474796"/>
                  <a:pt x="598575" y="6470785"/>
                  <a:pt x="604404" y="6470785"/>
                </a:cubicBezTo>
                <a:lnTo>
                  <a:pt x="647462" y="6470785"/>
                </a:lnTo>
                <a:lnTo>
                  <a:pt x="647462" y="6451543"/>
                </a:lnTo>
                <a:close/>
                <a:moveTo>
                  <a:pt x="1023956" y="6451480"/>
                </a:moveTo>
                <a:lnTo>
                  <a:pt x="1023956" y="6542674"/>
                </a:lnTo>
                <a:lnTo>
                  <a:pt x="1045016" y="6542674"/>
                </a:lnTo>
                <a:lnTo>
                  <a:pt x="1045016" y="6504191"/>
                </a:lnTo>
                <a:lnTo>
                  <a:pt x="1074975" y="6542674"/>
                </a:lnTo>
                <a:lnTo>
                  <a:pt x="1099481" y="6542674"/>
                </a:lnTo>
                <a:lnTo>
                  <a:pt x="1065009" y="6497109"/>
                </a:lnTo>
                <a:lnTo>
                  <a:pt x="1099481" y="6451480"/>
                </a:lnTo>
                <a:lnTo>
                  <a:pt x="1074975" y="6451480"/>
                </a:lnTo>
                <a:lnTo>
                  <a:pt x="1045016" y="6489963"/>
                </a:lnTo>
                <a:lnTo>
                  <a:pt x="1045016" y="6451480"/>
                </a:lnTo>
                <a:close/>
                <a:moveTo>
                  <a:pt x="666077" y="6451480"/>
                </a:moveTo>
                <a:lnTo>
                  <a:pt x="666077" y="6542674"/>
                </a:lnTo>
                <a:lnTo>
                  <a:pt x="687073" y="6542674"/>
                </a:lnTo>
                <a:lnTo>
                  <a:pt x="687073" y="6504191"/>
                </a:lnTo>
                <a:lnTo>
                  <a:pt x="717033" y="6542674"/>
                </a:lnTo>
                <a:lnTo>
                  <a:pt x="741602" y="6542674"/>
                </a:lnTo>
                <a:lnTo>
                  <a:pt x="707067" y="6497109"/>
                </a:lnTo>
                <a:lnTo>
                  <a:pt x="741602" y="6451480"/>
                </a:lnTo>
                <a:lnTo>
                  <a:pt x="717033" y="6451480"/>
                </a:lnTo>
                <a:lnTo>
                  <a:pt x="687073" y="6489963"/>
                </a:lnTo>
                <a:lnTo>
                  <a:pt x="687073" y="6451480"/>
                </a:lnTo>
                <a:close/>
                <a:moveTo>
                  <a:pt x="0" y="0"/>
                </a:moveTo>
                <a:lnTo>
                  <a:pt x="12191997" y="0"/>
                </a:lnTo>
                <a:lnTo>
                  <a:pt x="12191997" y="6857997"/>
                </a:lnTo>
                <a:lnTo>
                  <a:pt x="0" y="6857997"/>
                </a:lnTo>
                <a:close/>
              </a:path>
            </a:pathLst>
          </a:custGeom>
          <a:solidFill>
            <a:srgbClr val="ECECEC"/>
          </a:solidFill>
        </p:spPr>
        <p:txBody>
          <a:bodyPr wrap="square" lIns="36000" tIns="36000" rIns="36000" bIns="36000">
            <a:noAutofit/>
          </a:bodyPr>
          <a:lstStyle>
            <a:lvl1pPr marL="0" indent="0" algn="ctr">
              <a:buNone/>
              <a:defRPr sz="1300">
                <a:solidFill>
                  <a:schemeClr val="tx2"/>
                </a:solidFill>
              </a:defRPr>
            </a:lvl1pPr>
          </a:lstStyle>
          <a:p>
            <a:r>
              <a:rPr lang="en-US" noProof="0"/>
              <a:t>Click on the icon to add an image</a:t>
            </a:r>
          </a:p>
        </p:txBody>
      </p:sp>
      <p:sp>
        <p:nvSpPr>
          <p:cNvPr id="29" name="Text Placeholder 7">
            <a:extLst>
              <a:ext uri="{FF2B5EF4-FFF2-40B4-BE49-F238E27FC236}">
                <a16:creationId xmlns:a16="http://schemas.microsoft.com/office/drawing/2014/main" id="{0372CC69-D63F-AF4E-915B-F7E58ADA3E2E}"/>
              </a:ext>
            </a:extLst>
          </p:cNvPr>
          <p:cNvSpPr>
            <a:spLocks noGrp="1"/>
          </p:cNvSpPr>
          <p:nvPr>
            <p:ph type="body" sz="quarter" idx="39" hasCustomPrompt="1"/>
          </p:nvPr>
        </p:nvSpPr>
        <p:spPr>
          <a:xfrm>
            <a:off x="583093" y="4183201"/>
            <a:ext cx="5370031" cy="1946137"/>
          </a:xfrm>
        </p:spPr>
        <p:txBody>
          <a:bodyPr/>
          <a:lstStyle>
            <a:lvl1pPr marL="0" indent="0" algn="l">
              <a:lnSpc>
                <a:spcPct val="100000"/>
              </a:lnSpc>
              <a:spcBef>
                <a:spcPts val="0"/>
              </a:spcBef>
              <a:spcAft>
                <a:spcPts val="850"/>
              </a:spcAft>
              <a:buNone/>
              <a:defRPr sz="3600" b="0" spc="40" baseline="0">
                <a:solidFill>
                  <a:schemeClr val="bg1"/>
                </a:solidFill>
                <a:latin typeface="+mj-lt"/>
              </a:defRPr>
            </a:lvl1pPr>
            <a:lvl2pPr marL="0" indent="0" algn="l">
              <a:lnSpc>
                <a:spcPct val="100000"/>
              </a:lnSpc>
              <a:spcBef>
                <a:spcPts val="0"/>
              </a:spcBef>
              <a:spcAft>
                <a:spcPts val="600"/>
              </a:spcAft>
              <a:buNone/>
              <a:defRPr sz="1400" spc="40" baseline="0">
                <a:solidFill>
                  <a:schemeClr val="bg1"/>
                </a:solidFill>
              </a:defRPr>
            </a:lvl2pPr>
            <a:lvl3pPr marL="534988" indent="-168275">
              <a:buFont typeface="System Font Regular"/>
              <a:buChar char="–"/>
              <a:defRPr sz="1200" spc="40" baseline="0">
                <a:solidFill>
                  <a:schemeClr val="bg1"/>
                </a:solidFill>
              </a:defRPr>
            </a:lvl3pPr>
            <a:lvl4pPr>
              <a:defRPr sz="1200" spc="40" baseline="0"/>
            </a:lvl4pPr>
            <a:lvl5pPr>
              <a:defRPr sz="1200" spc="40" baseline="0"/>
            </a:lvl5pPr>
          </a:lstStyle>
          <a:p>
            <a:pPr lvl="0"/>
            <a:r>
              <a:rPr lang="en-US" noProof="0"/>
              <a:t>Click to add text</a:t>
            </a:r>
          </a:p>
          <a:p>
            <a:pPr lvl="1"/>
            <a:r>
              <a:rPr lang="en-US" noProof="0"/>
              <a:t>Second level</a:t>
            </a:r>
          </a:p>
        </p:txBody>
      </p:sp>
      <p:sp>
        <p:nvSpPr>
          <p:cNvPr id="8" name="textruta 5">
            <a:extLst>
              <a:ext uri="{FF2B5EF4-FFF2-40B4-BE49-F238E27FC236}">
                <a16:creationId xmlns:a16="http://schemas.microsoft.com/office/drawing/2014/main" id="{07728FC5-8FAF-D948-82AA-B9F786AAEBB7}"/>
              </a:ext>
            </a:extLst>
          </p:cNvPr>
          <p:cNvSpPr txBox="1"/>
          <p:nvPr userDrawn="1"/>
        </p:nvSpPr>
        <p:spPr>
          <a:xfrm>
            <a:off x="12395260" y="1453483"/>
            <a:ext cx="1681523" cy="646331"/>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the textboxes disappears after adding or changing an imag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right click the image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and use – </a:t>
            </a:r>
            <a:r>
              <a:rPr lang="en-US" sz="900" b="1" noProof="0">
                <a:solidFill>
                  <a:schemeClr val="tx1">
                    <a:lumMod val="65000"/>
                    <a:lumOff val="35000"/>
                  </a:schemeClr>
                </a:solidFill>
                <a:latin typeface="Arial" panose="020B0604020202020204" pitchFamily="34" charset="0"/>
                <a:cs typeface="Arial" panose="020B0604020202020204" pitchFamily="34" charset="0"/>
              </a:rPr>
              <a:t>S</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end to back</a:t>
            </a:r>
          </a:p>
        </p:txBody>
      </p:sp>
      <p:sp>
        <p:nvSpPr>
          <p:cNvPr id="9" name="textruta 8">
            <a:extLst>
              <a:ext uri="{FF2B5EF4-FFF2-40B4-BE49-F238E27FC236}">
                <a16:creationId xmlns:a16="http://schemas.microsoft.com/office/drawing/2014/main" id="{D18F62CC-60C1-DB42-9742-4AF366303413}"/>
              </a:ext>
            </a:extLst>
          </p:cNvPr>
          <p:cNvSpPr txBox="1"/>
          <p:nvPr userDrawn="1"/>
        </p:nvSpPr>
        <p:spPr>
          <a:xfrm>
            <a:off x="12395260" y="-12189"/>
            <a:ext cx="1681523" cy="1338828"/>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you need to change the color of the logo, right click outside work area,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Format Background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from context menu and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Solid fill</a:t>
            </a:r>
            <a:r>
              <a:rPr lang="en-US" sz="900" baseline="0" noProof="0">
                <a:solidFill>
                  <a:schemeClr val="tx1">
                    <a:lumMod val="65000"/>
                    <a:lumOff val="35000"/>
                  </a:schemeClr>
                </a:solidFill>
                <a:latin typeface="Arial" panose="020B0604020202020204" pitchFamily="34" charset="0"/>
                <a:cs typeface="Arial" panose="020B0604020202020204" pitchFamily="34" charset="0"/>
              </a:rPr>
              <a:t> –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White or Blue</a:t>
            </a: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p:txBody>
      </p:sp>
      <p:sp>
        <p:nvSpPr>
          <p:cNvPr id="10" name="Rektangel 9">
            <a:extLst>
              <a:ext uri="{FF2B5EF4-FFF2-40B4-BE49-F238E27FC236}">
                <a16:creationId xmlns:a16="http://schemas.microsoft.com/office/drawing/2014/main" id="{73C348B4-C0EC-824B-814E-D42C562CBFA8}"/>
              </a:ext>
            </a:extLst>
          </p:cNvPr>
          <p:cNvSpPr/>
          <p:nvPr userDrawn="1"/>
        </p:nvSpPr>
        <p:spPr>
          <a:xfrm>
            <a:off x="13255337" y="926211"/>
            <a:ext cx="341194" cy="305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 name="Rektangel 10">
            <a:extLst>
              <a:ext uri="{FF2B5EF4-FFF2-40B4-BE49-F238E27FC236}">
                <a16:creationId xmlns:a16="http://schemas.microsoft.com/office/drawing/2014/main" id="{1C4A7DAB-0DBB-E649-8262-BE0207487BE8}"/>
              </a:ext>
            </a:extLst>
          </p:cNvPr>
          <p:cNvSpPr/>
          <p:nvPr userDrawn="1"/>
        </p:nvSpPr>
        <p:spPr>
          <a:xfrm>
            <a:off x="12833410" y="926211"/>
            <a:ext cx="341194" cy="30590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textruta 11">
            <a:extLst>
              <a:ext uri="{FF2B5EF4-FFF2-40B4-BE49-F238E27FC236}">
                <a16:creationId xmlns:a16="http://schemas.microsoft.com/office/drawing/2014/main" id="{21862494-F897-CA4F-BE27-9C206870AF17}"/>
              </a:ext>
            </a:extLst>
          </p:cNvPr>
          <p:cNvSpPr txBox="1"/>
          <p:nvPr userDrawn="1"/>
        </p:nvSpPr>
        <p:spPr>
          <a:xfrm>
            <a:off x="12395260" y="4154400"/>
            <a:ext cx="1681523" cy="1754326"/>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mn-lt"/>
                <a:cs typeface="Arial" panose="020B0604020202020204" pitchFamily="34" charset="0"/>
              </a:rPr>
              <a:t>To change from </a:t>
            </a:r>
            <a:r>
              <a:rPr lang="en-US" sz="900" b="1" baseline="0" noProof="0">
                <a:solidFill>
                  <a:schemeClr val="tx1">
                    <a:lumMod val="65000"/>
                    <a:lumOff val="35000"/>
                  </a:schemeClr>
                </a:solidFill>
                <a:latin typeface="+mn-lt"/>
                <a:cs typeface="Arial" panose="020B0604020202020204" pitchFamily="34" charset="0"/>
              </a:rPr>
              <a:t>headline</a:t>
            </a:r>
            <a:r>
              <a:rPr lang="en-US" sz="900" baseline="0" noProof="0">
                <a:solidFill>
                  <a:schemeClr val="tx1">
                    <a:lumMod val="65000"/>
                    <a:lumOff val="35000"/>
                  </a:schemeClr>
                </a:solidFill>
                <a:latin typeface="+mn-lt"/>
                <a:cs typeface="Arial" panose="020B0604020202020204" pitchFamily="34" charset="0"/>
              </a:rPr>
              <a:t> to </a:t>
            </a:r>
            <a:r>
              <a:rPr lang="en-US" sz="900" b="1" baseline="0" noProof="0">
                <a:solidFill>
                  <a:schemeClr val="tx1">
                    <a:lumMod val="65000"/>
                    <a:lumOff val="35000"/>
                  </a:schemeClr>
                </a:solidFill>
                <a:latin typeface="+mn-lt"/>
                <a:cs typeface="Arial" panose="020B0604020202020204" pitchFamily="34" charset="0"/>
              </a:rPr>
              <a:t>body text </a:t>
            </a:r>
            <a:r>
              <a:rPr lang="en-US" sz="900" baseline="0" noProof="0">
                <a:solidFill>
                  <a:schemeClr val="tx1">
                    <a:lumMod val="65000"/>
                    <a:lumOff val="35000"/>
                  </a:schemeClr>
                </a:solidFill>
                <a:latin typeface="+mn-lt"/>
                <a:cs typeface="Arial" panose="020B0604020202020204" pitchFamily="34" charset="0"/>
              </a:rPr>
              <a:t>or to </a:t>
            </a:r>
            <a:r>
              <a:rPr lang="en-US" sz="900" b="1" baseline="0" noProof="0">
                <a:solidFill>
                  <a:schemeClr val="tx1">
                    <a:lumMod val="65000"/>
                    <a:lumOff val="35000"/>
                  </a:schemeClr>
                </a:solidFill>
                <a:latin typeface="+mn-lt"/>
                <a:cs typeface="Arial" panose="020B0604020202020204" pitchFamily="34" charset="0"/>
              </a:rPr>
              <a:t>use bullets</a:t>
            </a:r>
            <a:r>
              <a:rPr lang="en-US" sz="900" baseline="0" noProof="0">
                <a:solidFill>
                  <a:schemeClr val="tx1">
                    <a:lumMod val="65000"/>
                    <a:lumOff val="35000"/>
                  </a:schemeClr>
                </a:solidFill>
                <a:latin typeface="+mn-lt"/>
                <a:cs typeface="Arial" panose="020B0604020202020204" pitchFamily="34" charset="0"/>
              </a:rPr>
              <a:t>, press </a:t>
            </a:r>
            <a:r>
              <a:rPr lang="en-US" sz="900" b="1" baseline="0" noProof="0">
                <a:solidFill>
                  <a:schemeClr val="tx1">
                    <a:lumMod val="65000"/>
                    <a:lumOff val="35000"/>
                  </a:schemeClr>
                </a:solidFill>
                <a:latin typeface="+mn-lt"/>
                <a:cs typeface="Arial" panose="020B0604020202020204" pitchFamily="34" charset="0"/>
              </a:rPr>
              <a:t>enter/return </a:t>
            </a:r>
            <a:r>
              <a:rPr lang="en-US" sz="900" baseline="0" noProof="0">
                <a:solidFill>
                  <a:schemeClr val="tx1">
                    <a:lumMod val="65000"/>
                    <a:lumOff val="35000"/>
                  </a:schemeClr>
                </a:solidFill>
                <a:latin typeface="+mn-lt"/>
                <a:cs typeface="Arial" panose="020B0604020202020204" pitchFamily="34" charset="0"/>
              </a:rPr>
              <a:t>after your headline then use this function toggle to body text.</a:t>
            </a: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p:txBody>
      </p:sp>
      <p:pic>
        <p:nvPicPr>
          <p:cNvPr id="13" name="Picture 9">
            <a:extLst>
              <a:ext uri="{FF2B5EF4-FFF2-40B4-BE49-F238E27FC236}">
                <a16:creationId xmlns:a16="http://schemas.microsoft.com/office/drawing/2014/main" id="{81C34785-F336-8949-9792-85C82E9BAEE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
          <a:stretch/>
        </p:blipFill>
        <p:spPr>
          <a:xfrm>
            <a:off x="12522649" y="5058609"/>
            <a:ext cx="1422121" cy="721417"/>
          </a:xfrm>
          <a:prstGeom prst="rect">
            <a:avLst/>
          </a:prstGeom>
          <a:ln w="9525">
            <a:solidFill>
              <a:schemeClr val="tx2"/>
            </a:solidFill>
          </a:ln>
        </p:spPr>
      </p:pic>
      <p:sp>
        <p:nvSpPr>
          <p:cNvPr id="14" name="Oval 4">
            <a:extLst>
              <a:ext uri="{FF2B5EF4-FFF2-40B4-BE49-F238E27FC236}">
                <a16:creationId xmlns:a16="http://schemas.microsoft.com/office/drawing/2014/main" id="{0DE5D575-685D-4949-9BD1-08C9CCBB6765}"/>
              </a:ext>
            </a:extLst>
          </p:cNvPr>
          <p:cNvSpPr/>
          <p:nvPr userDrawn="1"/>
        </p:nvSpPr>
        <p:spPr>
          <a:xfrm>
            <a:off x="13194299" y="5281906"/>
            <a:ext cx="282818" cy="282818"/>
          </a:xfrm>
          <a:prstGeom prst="ellipse">
            <a:avLst/>
          </a:prstGeom>
          <a:solidFill>
            <a:schemeClr val="bg1">
              <a:lumMod val="95000"/>
              <a:alpha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latin typeface="+mn-lt"/>
            </a:endParaRPr>
          </a:p>
        </p:txBody>
      </p:sp>
      <p:cxnSp>
        <p:nvCxnSpPr>
          <p:cNvPr id="16" name="Connector: Elbow 131">
            <a:extLst>
              <a:ext uri="{FF2B5EF4-FFF2-40B4-BE49-F238E27FC236}">
                <a16:creationId xmlns:a16="http://schemas.microsoft.com/office/drawing/2014/main" id="{BEF77753-BA66-494E-BCE3-D85708BA6103}"/>
              </a:ext>
            </a:extLst>
          </p:cNvPr>
          <p:cNvCxnSpPr>
            <a:cxnSpLocks/>
            <a:endCxn id="14" idx="0"/>
          </p:cNvCxnSpPr>
          <p:nvPr userDrawn="1"/>
        </p:nvCxnSpPr>
        <p:spPr>
          <a:xfrm rot="5400000">
            <a:off x="13324711" y="5010086"/>
            <a:ext cx="282818" cy="260823"/>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Platshållare för datum 3">
            <a:extLst>
              <a:ext uri="{FF2B5EF4-FFF2-40B4-BE49-F238E27FC236}">
                <a16:creationId xmlns:a16="http://schemas.microsoft.com/office/drawing/2014/main" id="{DB686218-5BA2-074C-8852-556179CA2F32}"/>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bg1"/>
                </a:solidFill>
              </a:defRPr>
            </a:lvl1pPr>
          </a:lstStyle>
          <a:p>
            <a:fld id="{2F9806AD-009B-8D45-82A9-B9E8234B6322}" type="datetime1">
              <a:rPr lang="en-US" smtClean="0"/>
              <a:pPr/>
              <a:t>10/17/2023</a:t>
            </a:fld>
            <a:endParaRPr lang="en-US"/>
          </a:p>
        </p:txBody>
      </p:sp>
      <p:sp>
        <p:nvSpPr>
          <p:cNvPr id="18" name="Platshållare för sidfot 4">
            <a:extLst>
              <a:ext uri="{FF2B5EF4-FFF2-40B4-BE49-F238E27FC236}">
                <a16:creationId xmlns:a16="http://schemas.microsoft.com/office/drawing/2014/main" id="{F485D0B6-C708-9447-968B-34EBBA598FB8}"/>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bg1"/>
                </a:solidFill>
              </a:defRPr>
            </a:lvl1pPr>
          </a:lstStyle>
          <a:p>
            <a:r>
              <a:rPr lang="en-US"/>
              <a:t>Go to header/footer to change text </a:t>
            </a:r>
          </a:p>
        </p:txBody>
      </p:sp>
      <p:sp>
        <p:nvSpPr>
          <p:cNvPr id="19" name="Platshållare för bildnummer 5">
            <a:extLst>
              <a:ext uri="{FF2B5EF4-FFF2-40B4-BE49-F238E27FC236}">
                <a16:creationId xmlns:a16="http://schemas.microsoft.com/office/drawing/2014/main" id="{A18FEC4E-44A5-4B4E-BF3B-9186328914D6}"/>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bg1"/>
                </a:solidFill>
              </a:defRPr>
            </a:lvl1pPr>
          </a:lstStyle>
          <a:p>
            <a:fld id="{EF8DBD5B-30F9-4F9C-AE39-E065C1AC514D}" type="slidenum">
              <a:rPr lang="en-US" smtClean="0"/>
              <a:pPr/>
              <a:t>‹#›</a:t>
            </a:fld>
            <a:endParaRPr lang="en-US"/>
          </a:p>
        </p:txBody>
      </p:sp>
      <p:sp>
        <p:nvSpPr>
          <p:cNvPr id="21" name="Text Placeholder 4">
            <a:extLst>
              <a:ext uri="{FF2B5EF4-FFF2-40B4-BE49-F238E27FC236}">
                <a16:creationId xmlns:a16="http://schemas.microsoft.com/office/drawing/2014/main" id="{D6DA0946-B5AD-DD46-98ED-3ADBD06FF55C}"/>
              </a:ext>
            </a:extLst>
          </p:cNvPr>
          <p:cNvSpPr>
            <a:spLocks noGrp="1"/>
          </p:cNvSpPr>
          <p:nvPr>
            <p:ph type="body" sz="quarter" idx="14" hasCustomPrompt="1"/>
          </p:nvPr>
        </p:nvSpPr>
        <p:spPr>
          <a:xfrm rot="5400000">
            <a:off x="10901730" y="803644"/>
            <a:ext cx="2093913" cy="486626"/>
          </a:xfrm>
        </p:spPr>
        <p:txBody>
          <a:bodyPr lIns="180000" tIns="180000" rIns="0" bIns="180000" anchor="ctr">
            <a:spAutoFit/>
          </a:bodyPr>
          <a:lstStyle>
            <a:lvl1pPr marL="6350" indent="0" algn="l">
              <a:buNone/>
              <a:defRPr sz="800">
                <a:solidFill>
                  <a:schemeClr val="bg1"/>
                </a:solidFill>
              </a:defRPr>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Tree>
    <p:extLst>
      <p:ext uri="{BB962C8B-B14F-4D97-AF65-F5344CB8AC3E}">
        <p14:creationId xmlns:p14="http://schemas.microsoft.com/office/powerpoint/2010/main" val="385114265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9 End Slide/Thank You Blue">
    <p:bg>
      <p:bgRef idx="1001">
        <a:schemeClr val="bg2"/>
      </p:bgRef>
    </p:bg>
    <p:spTree>
      <p:nvGrpSpPr>
        <p:cNvPr id="1" name=""/>
        <p:cNvGrpSpPr/>
        <p:nvPr/>
      </p:nvGrpSpPr>
      <p:grpSpPr>
        <a:xfrm>
          <a:off x="0" y="0"/>
          <a:ext cx="0" cy="0"/>
          <a:chOff x="0" y="0"/>
          <a:chExt cx="0" cy="0"/>
        </a:xfrm>
      </p:grpSpPr>
      <p:sp>
        <p:nvSpPr>
          <p:cNvPr id="29" name="Text Placeholder 7">
            <a:extLst>
              <a:ext uri="{FF2B5EF4-FFF2-40B4-BE49-F238E27FC236}">
                <a16:creationId xmlns:a16="http://schemas.microsoft.com/office/drawing/2014/main" id="{0372CC69-D63F-AF4E-915B-F7E58ADA3E2E}"/>
              </a:ext>
            </a:extLst>
          </p:cNvPr>
          <p:cNvSpPr>
            <a:spLocks noGrp="1"/>
          </p:cNvSpPr>
          <p:nvPr>
            <p:ph type="body" sz="quarter" idx="39" hasCustomPrompt="1"/>
          </p:nvPr>
        </p:nvSpPr>
        <p:spPr>
          <a:xfrm>
            <a:off x="583093" y="4183201"/>
            <a:ext cx="5370031" cy="1946137"/>
          </a:xfrm>
        </p:spPr>
        <p:txBody>
          <a:bodyPr/>
          <a:lstStyle>
            <a:lvl1pPr marL="0" indent="0" algn="l">
              <a:lnSpc>
                <a:spcPct val="100000"/>
              </a:lnSpc>
              <a:spcBef>
                <a:spcPts val="0"/>
              </a:spcBef>
              <a:spcAft>
                <a:spcPts val="850"/>
              </a:spcAft>
              <a:buNone/>
              <a:defRPr sz="3600" b="0" spc="40" baseline="0">
                <a:solidFill>
                  <a:schemeClr val="tx2"/>
                </a:solidFill>
                <a:latin typeface="+mj-lt"/>
              </a:defRPr>
            </a:lvl1pPr>
            <a:lvl2pPr marL="0" indent="0" algn="l">
              <a:lnSpc>
                <a:spcPct val="100000"/>
              </a:lnSpc>
              <a:spcBef>
                <a:spcPts val="0"/>
              </a:spcBef>
              <a:spcAft>
                <a:spcPts val="600"/>
              </a:spcAft>
              <a:buNone/>
              <a:defRPr sz="1400" spc="40" baseline="0">
                <a:solidFill>
                  <a:schemeClr val="tx2"/>
                </a:solidFill>
              </a:defRPr>
            </a:lvl2pPr>
            <a:lvl3pPr marL="534988" indent="-168275">
              <a:buFont typeface="System Font Regular"/>
              <a:buChar char="–"/>
              <a:defRPr sz="1200" spc="40" baseline="0">
                <a:solidFill>
                  <a:schemeClr val="bg1"/>
                </a:solidFill>
              </a:defRPr>
            </a:lvl3pPr>
            <a:lvl4pPr>
              <a:defRPr sz="1200" spc="40" baseline="0"/>
            </a:lvl4pPr>
            <a:lvl5pPr>
              <a:defRPr sz="1200" spc="40" baseline="0"/>
            </a:lvl5pPr>
          </a:lstStyle>
          <a:p>
            <a:pPr lvl="0"/>
            <a:r>
              <a:rPr lang="en-US" noProof="0"/>
              <a:t>Click to add text</a:t>
            </a:r>
          </a:p>
          <a:p>
            <a:pPr lvl="1"/>
            <a:r>
              <a:rPr lang="en-US" noProof="0"/>
              <a:t>Second level</a:t>
            </a:r>
          </a:p>
        </p:txBody>
      </p:sp>
      <p:sp>
        <p:nvSpPr>
          <p:cNvPr id="8" name="textruta 5">
            <a:extLst>
              <a:ext uri="{FF2B5EF4-FFF2-40B4-BE49-F238E27FC236}">
                <a16:creationId xmlns:a16="http://schemas.microsoft.com/office/drawing/2014/main" id="{07728FC5-8FAF-D948-82AA-B9F786AAEBB7}"/>
              </a:ext>
            </a:extLst>
          </p:cNvPr>
          <p:cNvSpPr txBox="1"/>
          <p:nvPr userDrawn="1"/>
        </p:nvSpPr>
        <p:spPr>
          <a:xfrm>
            <a:off x="12395260" y="1453483"/>
            <a:ext cx="1681523" cy="646331"/>
          </a:xfrm>
          <a:prstGeom prst="rect">
            <a:avLst/>
          </a:prstGeom>
          <a:solidFill>
            <a:schemeClr val="tx1"/>
          </a:solidFill>
          <a:effectLst/>
        </p:spPr>
        <p:txBody>
          <a:bodyPr wrap="square" rtlCol="0" anchor="ctr" anchorCtr="0">
            <a:spAutoFit/>
          </a:bodyPr>
          <a:lstStyle/>
          <a:p>
            <a:pPr algn="ctr"/>
            <a:r>
              <a:rPr lang="en-US" sz="900" baseline="0" noProof="0">
                <a:solidFill>
                  <a:schemeClr val="bg1">
                    <a:lumMod val="65000"/>
                    <a:lumOff val="35000"/>
                  </a:schemeClr>
                </a:solidFill>
                <a:latin typeface="Arial" panose="020B0604020202020204" pitchFamily="34" charset="0"/>
                <a:cs typeface="Arial" panose="020B0604020202020204" pitchFamily="34" charset="0"/>
              </a:rPr>
              <a:t>If the textboxes disappears after adding or changing an image, </a:t>
            </a:r>
            <a:r>
              <a:rPr lang="en-US" sz="900" b="1" baseline="0" noProof="0">
                <a:solidFill>
                  <a:schemeClr val="bg1">
                    <a:lumMod val="65000"/>
                    <a:lumOff val="35000"/>
                  </a:schemeClr>
                </a:solidFill>
                <a:latin typeface="Arial" panose="020B0604020202020204" pitchFamily="34" charset="0"/>
                <a:cs typeface="Arial" panose="020B0604020202020204" pitchFamily="34" charset="0"/>
              </a:rPr>
              <a:t>right click the image </a:t>
            </a:r>
            <a:r>
              <a:rPr lang="en-US" sz="900" baseline="0" noProof="0">
                <a:solidFill>
                  <a:schemeClr val="bg1">
                    <a:lumMod val="65000"/>
                    <a:lumOff val="35000"/>
                  </a:schemeClr>
                </a:solidFill>
                <a:latin typeface="Arial" panose="020B0604020202020204" pitchFamily="34" charset="0"/>
                <a:cs typeface="Arial" panose="020B0604020202020204" pitchFamily="34" charset="0"/>
              </a:rPr>
              <a:t>and use – </a:t>
            </a:r>
            <a:r>
              <a:rPr lang="en-US" sz="900" b="1" noProof="0">
                <a:solidFill>
                  <a:schemeClr val="bg1">
                    <a:lumMod val="65000"/>
                    <a:lumOff val="35000"/>
                  </a:schemeClr>
                </a:solidFill>
                <a:latin typeface="Arial" panose="020B0604020202020204" pitchFamily="34" charset="0"/>
                <a:cs typeface="Arial" panose="020B0604020202020204" pitchFamily="34" charset="0"/>
              </a:rPr>
              <a:t>S</a:t>
            </a:r>
            <a:r>
              <a:rPr lang="en-US" sz="900" b="1" baseline="0" noProof="0">
                <a:solidFill>
                  <a:schemeClr val="bg1">
                    <a:lumMod val="65000"/>
                    <a:lumOff val="35000"/>
                  </a:schemeClr>
                </a:solidFill>
                <a:latin typeface="Arial" panose="020B0604020202020204" pitchFamily="34" charset="0"/>
                <a:cs typeface="Arial" panose="020B0604020202020204" pitchFamily="34" charset="0"/>
              </a:rPr>
              <a:t>end to back</a:t>
            </a:r>
          </a:p>
        </p:txBody>
      </p:sp>
      <p:sp>
        <p:nvSpPr>
          <p:cNvPr id="12" name="textruta 11">
            <a:extLst>
              <a:ext uri="{FF2B5EF4-FFF2-40B4-BE49-F238E27FC236}">
                <a16:creationId xmlns:a16="http://schemas.microsoft.com/office/drawing/2014/main" id="{21862494-F897-CA4F-BE27-9C206870AF17}"/>
              </a:ext>
            </a:extLst>
          </p:cNvPr>
          <p:cNvSpPr txBox="1"/>
          <p:nvPr userDrawn="1"/>
        </p:nvSpPr>
        <p:spPr>
          <a:xfrm>
            <a:off x="12395260" y="4154400"/>
            <a:ext cx="1681523" cy="1754326"/>
          </a:xfrm>
          <a:prstGeom prst="rect">
            <a:avLst/>
          </a:prstGeom>
          <a:solidFill>
            <a:schemeClr val="tx1"/>
          </a:solidFill>
          <a:effectLst/>
        </p:spPr>
        <p:txBody>
          <a:bodyPr wrap="square" rtlCol="0" anchor="ctr" anchorCtr="0">
            <a:spAutoFit/>
          </a:bodyPr>
          <a:lstStyle/>
          <a:p>
            <a:pPr algn="ctr"/>
            <a:r>
              <a:rPr lang="en-US" sz="900" baseline="0" noProof="0">
                <a:solidFill>
                  <a:schemeClr val="bg1">
                    <a:lumMod val="65000"/>
                    <a:lumOff val="35000"/>
                  </a:schemeClr>
                </a:solidFill>
                <a:latin typeface="+mn-lt"/>
                <a:cs typeface="Arial" panose="020B0604020202020204" pitchFamily="34" charset="0"/>
              </a:rPr>
              <a:t>To change from </a:t>
            </a:r>
            <a:r>
              <a:rPr lang="en-US" sz="900" b="1" baseline="0" noProof="0">
                <a:solidFill>
                  <a:schemeClr val="bg1">
                    <a:lumMod val="65000"/>
                    <a:lumOff val="35000"/>
                  </a:schemeClr>
                </a:solidFill>
                <a:latin typeface="+mn-lt"/>
                <a:cs typeface="Arial" panose="020B0604020202020204" pitchFamily="34" charset="0"/>
              </a:rPr>
              <a:t>headline</a:t>
            </a:r>
            <a:r>
              <a:rPr lang="en-US" sz="900" baseline="0" noProof="0">
                <a:solidFill>
                  <a:schemeClr val="bg1">
                    <a:lumMod val="65000"/>
                    <a:lumOff val="35000"/>
                  </a:schemeClr>
                </a:solidFill>
                <a:latin typeface="+mn-lt"/>
                <a:cs typeface="Arial" panose="020B0604020202020204" pitchFamily="34" charset="0"/>
              </a:rPr>
              <a:t> to </a:t>
            </a:r>
            <a:r>
              <a:rPr lang="en-US" sz="900" b="1" baseline="0" noProof="0">
                <a:solidFill>
                  <a:schemeClr val="bg1">
                    <a:lumMod val="65000"/>
                    <a:lumOff val="35000"/>
                  </a:schemeClr>
                </a:solidFill>
                <a:latin typeface="+mn-lt"/>
                <a:cs typeface="Arial" panose="020B0604020202020204" pitchFamily="34" charset="0"/>
              </a:rPr>
              <a:t>body text </a:t>
            </a:r>
            <a:r>
              <a:rPr lang="en-US" sz="900" baseline="0" noProof="0">
                <a:solidFill>
                  <a:schemeClr val="bg1">
                    <a:lumMod val="65000"/>
                    <a:lumOff val="35000"/>
                  </a:schemeClr>
                </a:solidFill>
                <a:latin typeface="+mn-lt"/>
                <a:cs typeface="Arial" panose="020B0604020202020204" pitchFamily="34" charset="0"/>
              </a:rPr>
              <a:t>or to </a:t>
            </a:r>
            <a:r>
              <a:rPr lang="en-US" sz="900" b="1" baseline="0" noProof="0">
                <a:solidFill>
                  <a:schemeClr val="bg1">
                    <a:lumMod val="65000"/>
                    <a:lumOff val="35000"/>
                  </a:schemeClr>
                </a:solidFill>
                <a:latin typeface="+mn-lt"/>
                <a:cs typeface="Arial" panose="020B0604020202020204" pitchFamily="34" charset="0"/>
              </a:rPr>
              <a:t>use bullets</a:t>
            </a:r>
            <a:r>
              <a:rPr lang="en-US" sz="900" baseline="0" noProof="0">
                <a:solidFill>
                  <a:schemeClr val="bg1">
                    <a:lumMod val="65000"/>
                    <a:lumOff val="35000"/>
                  </a:schemeClr>
                </a:solidFill>
                <a:latin typeface="+mn-lt"/>
                <a:cs typeface="Arial" panose="020B0604020202020204" pitchFamily="34" charset="0"/>
              </a:rPr>
              <a:t>, press </a:t>
            </a:r>
            <a:r>
              <a:rPr lang="en-US" sz="900" b="1" baseline="0" noProof="0">
                <a:solidFill>
                  <a:schemeClr val="bg1">
                    <a:lumMod val="65000"/>
                    <a:lumOff val="35000"/>
                  </a:schemeClr>
                </a:solidFill>
                <a:latin typeface="+mn-lt"/>
                <a:cs typeface="Arial" panose="020B0604020202020204" pitchFamily="34" charset="0"/>
              </a:rPr>
              <a:t>enter/return </a:t>
            </a:r>
            <a:r>
              <a:rPr lang="en-US" sz="900" baseline="0" noProof="0">
                <a:solidFill>
                  <a:schemeClr val="bg1">
                    <a:lumMod val="65000"/>
                    <a:lumOff val="35000"/>
                  </a:schemeClr>
                </a:solidFill>
                <a:latin typeface="+mn-lt"/>
                <a:cs typeface="Arial" panose="020B0604020202020204" pitchFamily="34" charset="0"/>
              </a:rPr>
              <a:t>after your headline then use this function toggle to body text.</a:t>
            </a:r>
          </a:p>
          <a:p>
            <a:pPr algn="ctr"/>
            <a:endParaRPr lang="en-US" sz="900" baseline="0" noProof="0">
              <a:solidFill>
                <a:schemeClr val="bg1">
                  <a:lumMod val="65000"/>
                  <a:lumOff val="35000"/>
                </a:schemeClr>
              </a:solidFill>
              <a:latin typeface="+mn-lt"/>
              <a:cs typeface="Arial" panose="020B0604020202020204" pitchFamily="34" charset="0"/>
            </a:endParaRPr>
          </a:p>
          <a:p>
            <a:pPr algn="ctr"/>
            <a:endParaRPr lang="en-US" sz="900" baseline="0" noProof="0">
              <a:solidFill>
                <a:schemeClr val="bg1">
                  <a:lumMod val="65000"/>
                  <a:lumOff val="35000"/>
                </a:schemeClr>
              </a:solidFill>
              <a:latin typeface="+mn-lt"/>
              <a:cs typeface="Arial" panose="020B0604020202020204" pitchFamily="34" charset="0"/>
            </a:endParaRPr>
          </a:p>
          <a:p>
            <a:pPr algn="ctr"/>
            <a:endParaRPr lang="en-US" sz="900" baseline="0" noProof="0">
              <a:solidFill>
                <a:schemeClr val="bg1">
                  <a:lumMod val="65000"/>
                  <a:lumOff val="35000"/>
                </a:schemeClr>
              </a:solidFill>
              <a:latin typeface="+mn-lt"/>
              <a:cs typeface="Arial" panose="020B0604020202020204" pitchFamily="34" charset="0"/>
            </a:endParaRPr>
          </a:p>
          <a:p>
            <a:pPr algn="ctr"/>
            <a:endParaRPr lang="en-US" sz="900" baseline="0" noProof="0">
              <a:solidFill>
                <a:schemeClr val="bg1">
                  <a:lumMod val="65000"/>
                  <a:lumOff val="35000"/>
                </a:schemeClr>
              </a:solidFill>
              <a:latin typeface="+mn-lt"/>
              <a:cs typeface="Arial" panose="020B0604020202020204" pitchFamily="34" charset="0"/>
            </a:endParaRPr>
          </a:p>
          <a:p>
            <a:pPr algn="ctr"/>
            <a:endParaRPr lang="en-US" sz="900" baseline="0" noProof="0">
              <a:solidFill>
                <a:schemeClr val="bg1">
                  <a:lumMod val="65000"/>
                  <a:lumOff val="35000"/>
                </a:schemeClr>
              </a:solidFill>
              <a:latin typeface="+mn-lt"/>
              <a:cs typeface="Arial" panose="020B0604020202020204" pitchFamily="34" charset="0"/>
            </a:endParaRPr>
          </a:p>
          <a:p>
            <a:pPr algn="ctr"/>
            <a:endParaRPr lang="en-US" sz="900" baseline="0" noProof="0">
              <a:solidFill>
                <a:schemeClr val="bg1">
                  <a:lumMod val="65000"/>
                  <a:lumOff val="35000"/>
                </a:schemeClr>
              </a:solidFill>
              <a:latin typeface="+mn-lt"/>
              <a:cs typeface="Arial" panose="020B0604020202020204" pitchFamily="34" charset="0"/>
            </a:endParaRPr>
          </a:p>
          <a:p>
            <a:pPr algn="ctr"/>
            <a:endParaRPr lang="en-US" sz="900" baseline="0" noProof="0">
              <a:solidFill>
                <a:schemeClr val="bg1">
                  <a:lumMod val="65000"/>
                  <a:lumOff val="35000"/>
                </a:schemeClr>
              </a:solidFill>
              <a:latin typeface="+mn-lt"/>
              <a:cs typeface="Arial" panose="020B0604020202020204" pitchFamily="34" charset="0"/>
            </a:endParaRPr>
          </a:p>
        </p:txBody>
      </p:sp>
      <p:pic>
        <p:nvPicPr>
          <p:cNvPr id="13" name="Picture 9">
            <a:extLst>
              <a:ext uri="{FF2B5EF4-FFF2-40B4-BE49-F238E27FC236}">
                <a16:creationId xmlns:a16="http://schemas.microsoft.com/office/drawing/2014/main" id="{81C34785-F336-8949-9792-85C82E9BAEE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
          <a:stretch/>
        </p:blipFill>
        <p:spPr>
          <a:xfrm>
            <a:off x="12522649" y="5058609"/>
            <a:ext cx="1422121" cy="721417"/>
          </a:xfrm>
          <a:prstGeom prst="rect">
            <a:avLst/>
          </a:prstGeom>
          <a:ln w="9525">
            <a:solidFill>
              <a:schemeClr val="tx2"/>
            </a:solidFill>
          </a:ln>
        </p:spPr>
      </p:pic>
      <p:sp>
        <p:nvSpPr>
          <p:cNvPr id="14" name="Oval 4">
            <a:extLst>
              <a:ext uri="{FF2B5EF4-FFF2-40B4-BE49-F238E27FC236}">
                <a16:creationId xmlns:a16="http://schemas.microsoft.com/office/drawing/2014/main" id="{0DE5D575-685D-4949-9BD1-08C9CCBB6765}"/>
              </a:ext>
            </a:extLst>
          </p:cNvPr>
          <p:cNvSpPr/>
          <p:nvPr userDrawn="1"/>
        </p:nvSpPr>
        <p:spPr>
          <a:xfrm>
            <a:off x="13194299" y="5281906"/>
            <a:ext cx="282818" cy="282818"/>
          </a:xfrm>
          <a:prstGeom prst="ellipse">
            <a:avLst/>
          </a:prstGeom>
          <a:solidFill>
            <a:schemeClr val="tx1">
              <a:alpha val="4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solidFill>
                <a:schemeClr val="bg1"/>
              </a:solidFill>
              <a:latin typeface="+mn-lt"/>
            </a:endParaRPr>
          </a:p>
        </p:txBody>
      </p:sp>
      <p:cxnSp>
        <p:nvCxnSpPr>
          <p:cNvPr id="16" name="Connector: Elbow 131">
            <a:extLst>
              <a:ext uri="{FF2B5EF4-FFF2-40B4-BE49-F238E27FC236}">
                <a16:creationId xmlns:a16="http://schemas.microsoft.com/office/drawing/2014/main" id="{BEF77753-BA66-494E-BCE3-D85708BA6103}"/>
              </a:ext>
            </a:extLst>
          </p:cNvPr>
          <p:cNvCxnSpPr>
            <a:cxnSpLocks/>
            <a:endCxn id="14" idx="0"/>
          </p:cNvCxnSpPr>
          <p:nvPr userDrawn="1"/>
        </p:nvCxnSpPr>
        <p:spPr>
          <a:xfrm rot="5400000">
            <a:off x="13324711" y="5010086"/>
            <a:ext cx="282818" cy="260823"/>
          </a:xfrm>
          <a:prstGeom prst="bentConnector3">
            <a:avLst>
              <a:gd name="adj1" fmla="val 50000"/>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Platshållare för datum 3">
            <a:extLst>
              <a:ext uri="{FF2B5EF4-FFF2-40B4-BE49-F238E27FC236}">
                <a16:creationId xmlns:a16="http://schemas.microsoft.com/office/drawing/2014/main" id="{DB686218-5BA2-074C-8852-556179CA2F32}"/>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tx2"/>
                </a:solidFill>
              </a:defRPr>
            </a:lvl1pPr>
          </a:lstStyle>
          <a:p>
            <a:fld id="{2F9806AD-009B-8D45-82A9-B9E8234B6322}" type="datetime1">
              <a:rPr lang="en-US" smtClean="0"/>
              <a:pPr/>
              <a:t>10/17/2023</a:t>
            </a:fld>
            <a:endParaRPr lang="en-US"/>
          </a:p>
        </p:txBody>
      </p:sp>
      <p:sp>
        <p:nvSpPr>
          <p:cNvPr id="18" name="Platshållare för sidfot 4">
            <a:extLst>
              <a:ext uri="{FF2B5EF4-FFF2-40B4-BE49-F238E27FC236}">
                <a16:creationId xmlns:a16="http://schemas.microsoft.com/office/drawing/2014/main" id="{F485D0B6-C708-9447-968B-34EBBA598FB8}"/>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tx2"/>
                </a:solidFill>
              </a:defRPr>
            </a:lvl1pPr>
          </a:lstStyle>
          <a:p>
            <a:r>
              <a:rPr lang="en-US"/>
              <a:t>Go to header/footer to change text </a:t>
            </a:r>
          </a:p>
        </p:txBody>
      </p:sp>
      <p:sp>
        <p:nvSpPr>
          <p:cNvPr id="19" name="Platshållare för bildnummer 5">
            <a:extLst>
              <a:ext uri="{FF2B5EF4-FFF2-40B4-BE49-F238E27FC236}">
                <a16:creationId xmlns:a16="http://schemas.microsoft.com/office/drawing/2014/main" id="{A18FEC4E-44A5-4B4E-BF3B-9186328914D6}"/>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tx2"/>
                </a:solidFill>
              </a:defRPr>
            </a:lvl1pPr>
          </a:lstStyle>
          <a:p>
            <a:fld id="{EF8DBD5B-30F9-4F9C-AE39-E065C1AC514D}" type="slidenum">
              <a:rPr lang="en-US" smtClean="0"/>
              <a:pPr/>
              <a:t>‹#›</a:t>
            </a:fld>
            <a:endParaRPr lang="en-US"/>
          </a:p>
        </p:txBody>
      </p:sp>
      <p:grpSp>
        <p:nvGrpSpPr>
          <p:cNvPr id="20" name="Grupp 32">
            <a:extLst>
              <a:ext uri="{FF2B5EF4-FFF2-40B4-BE49-F238E27FC236}">
                <a16:creationId xmlns:a16="http://schemas.microsoft.com/office/drawing/2014/main" id="{CFC8A43B-484E-A94E-9544-5A96E2FEB4A4}"/>
              </a:ext>
            </a:extLst>
          </p:cNvPr>
          <p:cNvGrpSpPr/>
          <p:nvPr userDrawn="1"/>
        </p:nvGrpSpPr>
        <p:grpSpPr>
          <a:xfrm>
            <a:off x="576140" y="6451484"/>
            <a:ext cx="615478" cy="91194"/>
            <a:chOff x="576140" y="6451484"/>
            <a:chExt cx="615478" cy="91194"/>
          </a:xfrm>
          <a:solidFill>
            <a:schemeClr val="tx2"/>
          </a:solidFill>
        </p:grpSpPr>
        <p:sp>
          <p:nvSpPr>
            <p:cNvPr id="21" name="Bild 2">
              <a:extLst>
                <a:ext uri="{FF2B5EF4-FFF2-40B4-BE49-F238E27FC236}">
                  <a16:creationId xmlns:a16="http://schemas.microsoft.com/office/drawing/2014/main" id="{0AAD7857-21BA-694B-B84E-7D080B22FC74}"/>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noProof="0">
                <a:solidFill>
                  <a:schemeClr val="tx2"/>
                </a:solidFill>
              </a:endParaRPr>
            </a:p>
          </p:txBody>
        </p:sp>
        <p:sp>
          <p:nvSpPr>
            <p:cNvPr id="22" name="Bild 2">
              <a:extLst>
                <a:ext uri="{FF2B5EF4-FFF2-40B4-BE49-F238E27FC236}">
                  <a16:creationId xmlns:a16="http://schemas.microsoft.com/office/drawing/2014/main" id="{73B93E14-2F87-7D42-8BB1-B9DD59BBD500}"/>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3" name="Bild 2">
              <a:extLst>
                <a:ext uri="{FF2B5EF4-FFF2-40B4-BE49-F238E27FC236}">
                  <a16:creationId xmlns:a16="http://schemas.microsoft.com/office/drawing/2014/main" id="{600A5E65-99E7-BD4F-8FD1-B0EFD7452D61}"/>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24" name="Bild 2">
              <a:extLst>
                <a:ext uri="{FF2B5EF4-FFF2-40B4-BE49-F238E27FC236}">
                  <a16:creationId xmlns:a16="http://schemas.microsoft.com/office/drawing/2014/main" id="{D03BC607-5564-3C4E-AC15-742D3ACD7C9E}"/>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5" name="Bild 2">
              <a:extLst>
                <a:ext uri="{FF2B5EF4-FFF2-40B4-BE49-F238E27FC236}">
                  <a16:creationId xmlns:a16="http://schemas.microsoft.com/office/drawing/2014/main" id="{633F7CBD-CC18-6A47-B3B0-598CDBC284B2}"/>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noProof="0">
                <a:solidFill>
                  <a:schemeClr val="tx2"/>
                </a:solidFill>
              </a:endParaRPr>
            </a:p>
          </p:txBody>
        </p:sp>
        <p:sp>
          <p:nvSpPr>
            <p:cNvPr id="26" name="Bild 2">
              <a:extLst>
                <a:ext uri="{FF2B5EF4-FFF2-40B4-BE49-F238E27FC236}">
                  <a16:creationId xmlns:a16="http://schemas.microsoft.com/office/drawing/2014/main" id="{BCA836F9-B72E-2745-9780-17AA47E3005F}"/>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27" name="Bild 2">
              <a:extLst>
                <a:ext uri="{FF2B5EF4-FFF2-40B4-BE49-F238E27FC236}">
                  <a16:creationId xmlns:a16="http://schemas.microsoft.com/office/drawing/2014/main" id="{7938F737-3045-BF42-89CB-6017E871B957}"/>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grpSp>
      <p:sp>
        <p:nvSpPr>
          <p:cNvPr id="28" name="textruta 8">
            <a:extLst>
              <a:ext uri="{FF2B5EF4-FFF2-40B4-BE49-F238E27FC236}">
                <a16:creationId xmlns:a16="http://schemas.microsoft.com/office/drawing/2014/main" id="{0338DCA8-C782-6D42-9BF4-CBF52D1BCEE7}"/>
              </a:ext>
            </a:extLst>
          </p:cNvPr>
          <p:cNvSpPr txBox="1"/>
          <p:nvPr userDrawn="1"/>
        </p:nvSpPr>
        <p:spPr>
          <a:xfrm>
            <a:off x="12395260" y="-12189"/>
            <a:ext cx="1681523" cy="1338828"/>
          </a:xfrm>
          <a:prstGeom prst="rect">
            <a:avLst/>
          </a:prstGeom>
          <a:solidFill>
            <a:schemeClr val="tx1"/>
          </a:solidFill>
          <a:effectLst/>
        </p:spPr>
        <p:txBody>
          <a:bodyPr wrap="square" rtlCol="0" anchor="ctr" anchorCtr="0">
            <a:spAutoFit/>
          </a:bodyPr>
          <a:lstStyle/>
          <a:p>
            <a:pPr algn="ctr"/>
            <a:r>
              <a:rPr lang="en-US" sz="900" baseline="0" noProof="0">
                <a:solidFill>
                  <a:schemeClr val="bg1">
                    <a:lumMod val="65000"/>
                    <a:lumOff val="35000"/>
                  </a:schemeClr>
                </a:solidFill>
                <a:latin typeface="Arial" panose="020B0604020202020204" pitchFamily="34" charset="0"/>
                <a:cs typeface="Arial" panose="020B0604020202020204" pitchFamily="34" charset="0"/>
              </a:rPr>
              <a:t>If you need to change the color of the logo, right click outside work area, choose </a:t>
            </a:r>
            <a:r>
              <a:rPr lang="en-US" sz="900" b="1" baseline="0" noProof="0">
                <a:solidFill>
                  <a:schemeClr val="bg1">
                    <a:lumMod val="65000"/>
                    <a:lumOff val="35000"/>
                  </a:schemeClr>
                </a:solidFill>
                <a:latin typeface="Arial" panose="020B0604020202020204" pitchFamily="34" charset="0"/>
                <a:cs typeface="Arial" panose="020B0604020202020204" pitchFamily="34" charset="0"/>
              </a:rPr>
              <a:t>Format Background </a:t>
            </a:r>
            <a:r>
              <a:rPr lang="en-US" sz="900" baseline="0" noProof="0">
                <a:solidFill>
                  <a:schemeClr val="bg1">
                    <a:lumMod val="65000"/>
                    <a:lumOff val="35000"/>
                  </a:schemeClr>
                </a:solidFill>
                <a:latin typeface="Arial" panose="020B0604020202020204" pitchFamily="34" charset="0"/>
                <a:cs typeface="Arial" panose="020B0604020202020204" pitchFamily="34" charset="0"/>
              </a:rPr>
              <a:t>from context menu and choose </a:t>
            </a:r>
            <a:r>
              <a:rPr lang="en-US" sz="900" b="1" baseline="0" noProof="0">
                <a:solidFill>
                  <a:schemeClr val="bg1">
                    <a:lumMod val="65000"/>
                    <a:lumOff val="35000"/>
                  </a:schemeClr>
                </a:solidFill>
                <a:latin typeface="Arial" panose="020B0604020202020204" pitchFamily="34" charset="0"/>
                <a:cs typeface="Arial" panose="020B0604020202020204" pitchFamily="34" charset="0"/>
              </a:rPr>
              <a:t>Solid fill</a:t>
            </a:r>
            <a:r>
              <a:rPr lang="en-US" sz="900" baseline="0" noProof="0">
                <a:solidFill>
                  <a:schemeClr val="bg1">
                    <a:lumMod val="65000"/>
                    <a:lumOff val="35000"/>
                  </a:schemeClr>
                </a:solidFill>
                <a:latin typeface="Arial" panose="020B0604020202020204" pitchFamily="34" charset="0"/>
                <a:cs typeface="Arial" panose="020B0604020202020204" pitchFamily="34" charset="0"/>
              </a:rPr>
              <a:t> – </a:t>
            </a:r>
            <a:r>
              <a:rPr lang="en-US" sz="900" b="1" baseline="0" noProof="0">
                <a:solidFill>
                  <a:schemeClr val="bg1">
                    <a:lumMod val="65000"/>
                    <a:lumOff val="35000"/>
                  </a:schemeClr>
                </a:solidFill>
                <a:latin typeface="Arial" panose="020B0604020202020204" pitchFamily="34" charset="0"/>
                <a:cs typeface="Arial" panose="020B0604020202020204" pitchFamily="34" charset="0"/>
              </a:rPr>
              <a:t>White or Blue</a:t>
            </a:r>
          </a:p>
          <a:p>
            <a:pPr algn="ctr"/>
            <a:endParaRPr lang="en-US" sz="900" baseline="0" noProof="0">
              <a:solidFill>
                <a:schemeClr val="bg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bg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bg1">
                  <a:lumMod val="65000"/>
                  <a:lumOff val="35000"/>
                </a:schemeClr>
              </a:solidFill>
              <a:latin typeface="Arial" panose="020B0604020202020204" pitchFamily="34" charset="0"/>
              <a:cs typeface="Arial" panose="020B0604020202020204" pitchFamily="34" charset="0"/>
            </a:endParaRPr>
          </a:p>
        </p:txBody>
      </p:sp>
      <p:sp>
        <p:nvSpPr>
          <p:cNvPr id="30" name="Rektangel 9">
            <a:extLst>
              <a:ext uri="{FF2B5EF4-FFF2-40B4-BE49-F238E27FC236}">
                <a16:creationId xmlns:a16="http://schemas.microsoft.com/office/drawing/2014/main" id="{2A15AE09-029B-ED44-BCEC-8A8EFAF4CC2B}"/>
              </a:ext>
            </a:extLst>
          </p:cNvPr>
          <p:cNvSpPr/>
          <p:nvPr userDrawn="1"/>
        </p:nvSpPr>
        <p:spPr>
          <a:xfrm>
            <a:off x="13255337" y="926211"/>
            <a:ext cx="341194" cy="30590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1" name="Rektangel 10">
            <a:extLst>
              <a:ext uri="{FF2B5EF4-FFF2-40B4-BE49-F238E27FC236}">
                <a16:creationId xmlns:a16="http://schemas.microsoft.com/office/drawing/2014/main" id="{2C397BC2-B2B9-4545-95E8-9BBBF581099C}"/>
              </a:ext>
            </a:extLst>
          </p:cNvPr>
          <p:cNvSpPr/>
          <p:nvPr userDrawn="1"/>
        </p:nvSpPr>
        <p:spPr>
          <a:xfrm>
            <a:off x="12833410" y="926211"/>
            <a:ext cx="341194" cy="305904"/>
          </a:xfrm>
          <a:prstGeom prst="rect">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Tree>
    <p:extLst>
      <p:ext uri="{BB962C8B-B14F-4D97-AF65-F5344CB8AC3E}">
        <p14:creationId xmlns:p14="http://schemas.microsoft.com/office/powerpoint/2010/main" val="3189908786"/>
      </p:ext>
    </p:extLst>
  </p:cSld>
  <p:clrMapOvr>
    <a:overrideClrMapping bg1="dk1" tx1="lt1" bg2="dk2" tx2="lt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9 End Slide/Thank You Gray">
    <p:bg>
      <p:bgRef idx="1001">
        <a:schemeClr val="bg2"/>
      </p:bgRef>
    </p:bg>
    <p:spTree>
      <p:nvGrpSpPr>
        <p:cNvPr id="1" name=""/>
        <p:cNvGrpSpPr/>
        <p:nvPr/>
      </p:nvGrpSpPr>
      <p:grpSpPr>
        <a:xfrm>
          <a:off x="0" y="0"/>
          <a:ext cx="0" cy="0"/>
          <a:chOff x="0" y="0"/>
          <a:chExt cx="0" cy="0"/>
        </a:xfrm>
      </p:grpSpPr>
      <p:sp>
        <p:nvSpPr>
          <p:cNvPr id="29" name="Text Placeholder 7">
            <a:extLst>
              <a:ext uri="{FF2B5EF4-FFF2-40B4-BE49-F238E27FC236}">
                <a16:creationId xmlns:a16="http://schemas.microsoft.com/office/drawing/2014/main" id="{0372CC69-D63F-AF4E-915B-F7E58ADA3E2E}"/>
              </a:ext>
            </a:extLst>
          </p:cNvPr>
          <p:cNvSpPr>
            <a:spLocks noGrp="1"/>
          </p:cNvSpPr>
          <p:nvPr>
            <p:ph type="body" sz="quarter" idx="39" hasCustomPrompt="1"/>
          </p:nvPr>
        </p:nvSpPr>
        <p:spPr>
          <a:xfrm>
            <a:off x="583093" y="4183201"/>
            <a:ext cx="5370031" cy="1946137"/>
          </a:xfrm>
        </p:spPr>
        <p:txBody>
          <a:bodyPr/>
          <a:lstStyle>
            <a:lvl1pPr marL="0" indent="0" algn="l">
              <a:lnSpc>
                <a:spcPct val="100000"/>
              </a:lnSpc>
              <a:spcBef>
                <a:spcPts val="0"/>
              </a:spcBef>
              <a:spcAft>
                <a:spcPts val="850"/>
              </a:spcAft>
              <a:buNone/>
              <a:defRPr sz="3600" b="0" spc="40" baseline="0">
                <a:solidFill>
                  <a:schemeClr val="tx2"/>
                </a:solidFill>
                <a:latin typeface="+mj-lt"/>
              </a:defRPr>
            </a:lvl1pPr>
            <a:lvl2pPr marL="0" indent="0" algn="l">
              <a:lnSpc>
                <a:spcPct val="100000"/>
              </a:lnSpc>
              <a:spcBef>
                <a:spcPts val="0"/>
              </a:spcBef>
              <a:spcAft>
                <a:spcPts val="600"/>
              </a:spcAft>
              <a:buNone/>
              <a:defRPr sz="1400" spc="40" baseline="0">
                <a:solidFill>
                  <a:schemeClr val="tx2"/>
                </a:solidFill>
              </a:defRPr>
            </a:lvl2pPr>
            <a:lvl3pPr marL="534988" indent="-168275">
              <a:buFont typeface="System Font Regular"/>
              <a:buChar char="–"/>
              <a:defRPr sz="1200" spc="40" baseline="0">
                <a:solidFill>
                  <a:schemeClr val="bg1"/>
                </a:solidFill>
              </a:defRPr>
            </a:lvl3pPr>
            <a:lvl4pPr>
              <a:defRPr sz="1200" spc="40" baseline="0"/>
            </a:lvl4pPr>
            <a:lvl5pPr>
              <a:defRPr sz="1200" spc="40" baseline="0"/>
            </a:lvl5pPr>
          </a:lstStyle>
          <a:p>
            <a:pPr lvl="0"/>
            <a:r>
              <a:rPr lang="en-US" noProof="0"/>
              <a:t>Click to add text</a:t>
            </a:r>
          </a:p>
          <a:p>
            <a:pPr lvl="1"/>
            <a:r>
              <a:rPr lang="en-US" noProof="0"/>
              <a:t>Second level</a:t>
            </a:r>
          </a:p>
        </p:txBody>
      </p:sp>
      <p:sp>
        <p:nvSpPr>
          <p:cNvPr id="8" name="textruta 5">
            <a:extLst>
              <a:ext uri="{FF2B5EF4-FFF2-40B4-BE49-F238E27FC236}">
                <a16:creationId xmlns:a16="http://schemas.microsoft.com/office/drawing/2014/main" id="{07728FC5-8FAF-D948-82AA-B9F786AAEBB7}"/>
              </a:ext>
            </a:extLst>
          </p:cNvPr>
          <p:cNvSpPr txBox="1"/>
          <p:nvPr userDrawn="1"/>
        </p:nvSpPr>
        <p:spPr>
          <a:xfrm>
            <a:off x="12395260" y="1453483"/>
            <a:ext cx="1681523" cy="646331"/>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the textboxes disappears after adding or changing an imag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right click the image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and use – </a:t>
            </a:r>
            <a:r>
              <a:rPr lang="en-US" sz="900" b="1" noProof="0">
                <a:solidFill>
                  <a:schemeClr val="tx1">
                    <a:lumMod val="65000"/>
                    <a:lumOff val="35000"/>
                  </a:schemeClr>
                </a:solidFill>
                <a:latin typeface="Arial" panose="020B0604020202020204" pitchFamily="34" charset="0"/>
                <a:cs typeface="Arial" panose="020B0604020202020204" pitchFamily="34" charset="0"/>
              </a:rPr>
              <a:t>S</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end to back</a:t>
            </a:r>
          </a:p>
        </p:txBody>
      </p:sp>
      <p:sp>
        <p:nvSpPr>
          <p:cNvPr id="9" name="textruta 8">
            <a:extLst>
              <a:ext uri="{FF2B5EF4-FFF2-40B4-BE49-F238E27FC236}">
                <a16:creationId xmlns:a16="http://schemas.microsoft.com/office/drawing/2014/main" id="{D18F62CC-60C1-DB42-9742-4AF366303413}"/>
              </a:ext>
            </a:extLst>
          </p:cNvPr>
          <p:cNvSpPr txBox="1"/>
          <p:nvPr userDrawn="1"/>
        </p:nvSpPr>
        <p:spPr>
          <a:xfrm>
            <a:off x="12395260" y="-12189"/>
            <a:ext cx="1681523" cy="1338828"/>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you need to change the color of the logo, right click outside work area,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Format Background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from context menu and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Solid fill</a:t>
            </a:r>
            <a:r>
              <a:rPr lang="en-US" sz="900" baseline="0" noProof="0">
                <a:solidFill>
                  <a:schemeClr val="tx1">
                    <a:lumMod val="65000"/>
                    <a:lumOff val="35000"/>
                  </a:schemeClr>
                </a:solidFill>
                <a:latin typeface="Arial" panose="020B0604020202020204" pitchFamily="34" charset="0"/>
                <a:cs typeface="Arial" panose="020B0604020202020204" pitchFamily="34" charset="0"/>
              </a:rPr>
              <a:t> –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White or Blue</a:t>
            </a: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p:txBody>
      </p:sp>
      <p:sp>
        <p:nvSpPr>
          <p:cNvPr id="10" name="Rektangel 9">
            <a:extLst>
              <a:ext uri="{FF2B5EF4-FFF2-40B4-BE49-F238E27FC236}">
                <a16:creationId xmlns:a16="http://schemas.microsoft.com/office/drawing/2014/main" id="{73C348B4-C0EC-824B-814E-D42C562CBFA8}"/>
              </a:ext>
            </a:extLst>
          </p:cNvPr>
          <p:cNvSpPr/>
          <p:nvPr userDrawn="1"/>
        </p:nvSpPr>
        <p:spPr>
          <a:xfrm>
            <a:off x="13255337" y="926211"/>
            <a:ext cx="341194" cy="305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 name="Rektangel 10">
            <a:extLst>
              <a:ext uri="{FF2B5EF4-FFF2-40B4-BE49-F238E27FC236}">
                <a16:creationId xmlns:a16="http://schemas.microsoft.com/office/drawing/2014/main" id="{1C4A7DAB-0DBB-E649-8262-BE0207487BE8}"/>
              </a:ext>
            </a:extLst>
          </p:cNvPr>
          <p:cNvSpPr/>
          <p:nvPr userDrawn="1"/>
        </p:nvSpPr>
        <p:spPr>
          <a:xfrm>
            <a:off x="12833410" y="926211"/>
            <a:ext cx="341194" cy="30590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textruta 11">
            <a:extLst>
              <a:ext uri="{FF2B5EF4-FFF2-40B4-BE49-F238E27FC236}">
                <a16:creationId xmlns:a16="http://schemas.microsoft.com/office/drawing/2014/main" id="{21862494-F897-CA4F-BE27-9C206870AF17}"/>
              </a:ext>
            </a:extLst>
          </p:cNvPr>
          <p:cNvSpPr txBox="1"/>
          <p:nvPr userDrawn="1"/>
        </p:nvSpPr>
        <p:spPr>
          <a:xfrm>
            <a:off x="12395260" y="4154400"/>
            <a:ext cx="1681523" cy="1754326"/>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mn-lt"/>
                <a:cs typeface="Arial" panose="020B0604020202020204" pitchFamily="34" charset="0"/>
              </a:rPr>
              <a:t>To change from </a:t>
            </a:r>
            <a:r>
              <a:rPr lang="en-US" sz="900" b="1" baseline="0" noProof="0">
                <a:solidFill>
                  <a:schemeClr val="tx1">
                    <a:lumMod val="65000"/>
                    <a:lumOff val="35000"/>
                  </a:schemeClr>
                </a:solidFill>
                <a:latin typeface="+mn-lt"/>
                <a:cs typeface="Arial" panose="020B0604020202020204" pitchFamily="34" charset="0"/>
              </a:rPr>
              <a:t>headline</a:t>
            </a:r>
            <a:r>
              <a:rPr lang="en-US" sz="900" baseline="0" noProof="0">
                <a:solidFill>
                  <a:schemeClr val="tx1">
                    <a:lumMod val="65000"/>
                    <a:lumOff val="35000"/>
                  </a:schemeClr>
                </a:solidFill>
                <a:latin typeface="+mn-lt"/>
                <a:cs typeface="Arial" panose="020B0604020202020204" pitchFamily="34" charset="0"/>
              </a:rPr>
              <a:t> to </a:t>
            </a:r>
            <a:r>
              <a:rPr lang="en-US" sz="900" b="1" baseline="0" noProof="0">
                <a:solidFill>
                  <a:schemeClr val="tx1">
                    <a:lumMod val="65000"/>
                    <a:lumOff val="35000"/>
                  </a:schemeClr>
                </a:solidFill>
                <a:latin typeface="+mn-lt"/>
                <a:cs typeface="Arial" panose="020B0604020202020204" pitchFamily="34" charset="0"/>
              </a:rPr>
              <a:t>body text </a:t>
            </a:r>
            <a:r>
              <a:rPr lang="en-US" sz="900" baseline="0" noProof="0">
                <a:solidFill>
                  <a:schemeClr val="tx1">
                    <a:lumMod val="65000"/>
                    <a:lumOff val="35000"/>
                  </a:schemeClr>
                </a:solidFill>
                <a:latin typeface="+mn-lt"/>
                <a:cs typeface="Arial" panose="020B0604020202020204" pitchFamily="34" charset="0"/>
              </a:rPr>
              <a:t>or to </a:t>
            </a:r>
            <a:r>
              <a:rPr lang="en-US" sz="900" b="1" baseline="0" noProof="0">
                <a:solidFill>
                  <a:schemeClr val="tx1">
                    <a:lumMod val="65000"/>
                    <a:lumOff val="35000"/>
                  </a:schemeClr>
                </a:solidFill>
                <a:latin typeface="+mn-lt"/>
                <a:cs typeface="Arial" panose="020B0604020202020204" pitchFamily="34" charset="0"/>
              </a:rPr>
              <a:t>use bullets</a:t>
            </a:r>
            <a:r>
              <a:rPr lang="en-US" sz="900" baseline="0" noProof="0">
                <a:solidFill>
                  <a:schemeClr val="tx1">
                    <a:lumMod val="65000"/>
                    <a:lumOff val="35000"/>
                  </a:schemeClr>
                </a:solidFill>
                <a:latin typeface="+mn-lt"/>
                <a:cs typeface="Arial" panose="020B0604020202020204" pitchFamily="34" charset="0"/>
              </a:rPr>
              <a:t>, press </a:t>
            </a:r>
            <a:r>
              <a:rPr lang="en-US" sz="900" b="1" baseline="0" noProof="0">
                <a:solidFill>
                  <a:schemeClr val="tx1">
                    <a:lumMod val="65000"/>
                    <a:lumOff val="35000"/>
                  </a:schemeClr>
                </a:solidFill>
                <a:latin typeface="+mn-lt"/>
                <a:cs typeface="Arial" panose="020B0604020202020204" pitchFamily="34" charset="0"/>
              </a:rPr>
              <a:t>enter/return </a:t>
            </a:r>
            <a:r>
              <a:rPr lang="en-US" sz="900" baseline="0" noProof="0">
                <a:solidFill>
                  <a:schemeClr val="tx1">
                    <a:lumMod val="65000"/>
                    <a:lumOff val="35000"/>
                  </a:schemeClr>
                </a:solidFill>
                <a:latin typeface="+mn-lt"/>
                <a:cs typeface="Arial" panose="020B0604020202020204" pitchFamily="34" charset="0"/>
              </a:rPr>
              <a:t>after your headline then use this function toggle to body text.</a:t>
            </a: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a:p>
            <a:pPr algn="ctr"/>
            <a:endParaRPr lang="en-US" sz="900" baseline="0" noProof="0">
              <a:solidFill>
                <a:schemeClr val="tx1">
                  <a:lumMod val="65000"/>
                  <a:lumOff val="35000"/>
                </a:schemeClr>
              </a:solidFill>
              <a:latin typeface="+mn-lt"/>
              <a:cs typeface="Arial" panose="020B0604020202020204" pitchFamily="34" charset="0"/>
            </a:endParaRPr>
          </a:p>
        </p:txBody>
      </p:sp>
      <p:pic>
        <p:nvPicPr>
          <p:cNvPr id="13" name="Picture 9">
            <a:extLst>
              <a:ext uri="{FF2B5EF4-FFF2-40B4-BE49-F238E27FC236}">
                <a16:creationId xmlns:a16="http://schemas.microsoft.com/office/drawing/2014/main" id="{81C34785-F336-8949-9792-85C82E9BAEE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
          <a:stretch/>
        </p:blipFill>
        <p:spPr>
          <a:xfrm>
            <a:off x="12522649" y="5058609"/>
            <a:ext cx="1422121" cy="721417"/>
          </a:xfrm>
          <a:prstGeom prst="rect">
            <a:avLst/>
          </a:prstGeom>
          <a:ln w="9525">
            <a:solidFill>
              <a:schemeClr val="tx2"/>
            </a:solidFill>
          </a:ln>
        </p:spPr>
      </p:pic>
      <p:sp>
        <p:nvSpPr>
          <p:cNvPr id="14" name="Oval 4">
            <a:extLst>
              <a:ext uri="{FF2B5EF4-FFF2-40B4-BE49-F238E27FC236}">
                <a16:creationId xmlns:a16="http://schemas.microsoft.com/office/drawing/2014/main" id="{0DE5D575-685D-4949-9BD1-08C9CCBB6765}"/>
              </a:ext>
            </a:extLst>
          </p:cNvPr>
          <p:cNvSpPr/>
          <p:nvPr userDrawn="1"/>
        </p:nvSpPr>
        <p:spPr>
          <a:xfrm>
            <a:off x="13194299" y="5281906"/>
            <a:ext cx="282818" cy="282818"/>
          </a:xfrm>
          <a:prstGeom prst="ellipse">
            <a:avLst/>
          </a:prstGeom>
          <a:solidFill>
            <a:schemeClr val="bg1">
              <a:lumMod val="95000"/>
              <a:alpha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latin typeface="+mn-lt"/>
            </a:endParaRPr>
          </a:p>
        </p:txBody>
      </p:sp>
      <p:cxnSp>
        <p:nvCxnSpPr>
          <p:cNvPr id="16" name="Connector: Elbow 131">
            <a:extLst>
              <a:ext uri="{FF2B5EF4-FFF2-40B4-BE49-F238E27FC236}">
                <a16:creationId xmlns:a16="http://schemas.microsoft.com/office/drawing/2014/main" id="{BEF77753-BA66-494E-BCE3-D85708BA6103}"/>
              </a:ext>
            </a:extLst>
          </p:cNvPr>
          <p:cNvCxnSpPr>
            <a:cxnSpLocks/>
            <a:endCxn id="14" idx="0"/>
          </p:cNvCxnSpPr>
          <p:nvPr userDrawn="1"/>
        </p:nvCxnSpPr>
        <p:spPr>
          <a:xfrm rot="5400000">
            <a:off x="13324711" y="5010086"/>
            <a:ext cx="282818" cy="260823"/>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Platshållare för datum 3">
            <a:extLst>
              <a:ext uri="{FF2B5EF4-FFF2-40B4-BE49-F238E27FC236}">
                <a16:creationId xmlns:a16="http://schemas.microsoft.com/office/drawing/2014/main" id="{DB686218-5BA2-074C-8852-556179CA2F32}"/>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tx2"/>
                </a:solidFill>
              </a:defRPr>
            </a:lvl1pPr>
          </a:lstStyle>
          <a:p>
            <a:fld id="{2F9806AD-009B-8D45-82A9-B9E8234B6322}" type="datetime1">
              <a:rPr lang="en-US" smtClean="0"/>
              <a:pPr/>
              <a:t>10/17/2023</a:t>
            </a:fld>
            <a:endParaRPr lang="en-US"/>
          </a:p>
        </p:txBody>
      </p:sp>
      <p:sp>
        <p:nvSpPr>
          <p:cNvPr id="18" name="Platshållare för sidfot 4">
            <a:extLst>
              <a:ext uri="{FF2B5EF4-FFF2-40B4-BE49-F238E27FC236}">
                <a16:creationId xmlns:a16="http://schemas.microsoft.com/office/drawing/2014/main" id="{F485D0B6-C708-9447-968B-34EBBA598FB8}"/>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tx2"/>
                </a:solidFill>
              </a:defRPr>
            </a:lvl1pPr>
          </a:lstStyle>
          <a:p>
            <a:r>
              <a:rPr lang="en-US"/>
              <a:t>Go to header/footer to change text </a:t>
            </a:r>
          </a:p>
        </p:txBody>
      </p:sp>
      <p:sp>
        <p:nvSpPr>
          <p:cNvPr id="19" name="Platshållare för bildnummer 5">
            <a:extLst>
              <a:ext uri="{FF2B5EF4-FFF2-40B4-BE49-F238E27FC236}">
                <a16:creationId xmlns:a16="http://schemas.microsoft.com/office/drawing/2014/main" id="{A18FEC4E-44A5-4B4E-BF3B-9186328914D6}"/>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tx2"/>
                </a:solidFill>
              </a:defRPr>
            </a:lvl1pPr>
          </a:lstStyle>
          <a:p>
            <a:fld id="{EF8DBD5B-30F9-4F9C-AE39-E065C1AC514D}" type="slidenum">
              <a:rPr lang="en-US" smtClean="0"/>
              <a:pPr/>
              <a:t>‹#›</a:t>
            </a:fld>
            <a:endParaRPr lang="en-US"/>
          </a:p>
        </p:txBody>
      </p:sp>
      <p:grpSp>
        <p:nvGrpSpPr>
          <p:cNvPr id="20" name="Grupp 32">
            <a:extLst>
              <a:ext uri="{FF2B5EF4-FFF2-40B4-BE49-F238E27FC236}">
                <a16:creationId xmlns:a16="http://schemas.microsoft.com/office/drawing/2014/main" id="{CFC8A43B-484E-A94E-9544-5A96E2FEB4A4}"/>
              </a:ext>
            </a:extLst>
          </p:cNvPr>
          <p:cNvGrpSpPr/>
          <p:nvPr userDrawn="1"/>
        </p:nvGrpSpPr>
        <p:grpSpPr>
          <a:xfrm>
            <a:off x="576140" y="6451484"/>
            <a:ext cx="615478" cy="91194"/>
            <a:chOff x="576140" y="6451484"/>
            <a:chExt cx="615478" cy="91194"/>
          </a:xfrm>
          <a:solidFill>
            <a:schemeClr val="tx2"/>
          </a:solidFill>
        </p:grpSpPr>
        <p:sp>
          <p:nvSpPr>
            <p:cNvPr id="21" name="Bild 2">
              <a:extLst>
                <a:ext uri="{FF2B5EF4-FFF2-40B4-BE49-F238E27FC236}">
                  <a16:creationId xmlns:a16="http://schemas.microsoft.com/office/drawing/2014/main" id="{0AAD7857-21BA-694B-B84E-7D080B22FC74}"/>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noProof="0">
                <a:solidFill>
                  <a:schemeClr val="tx2"/>
                </a:solidFill>
              </a:endParaRPr>
            </a:p>
          </p:txBody>
        </p:sp>
        <p:sp>
          <p:nvSpPr>
            <p:cNvPr id="22" name="Bild 2">
              <a:extLst>
                <a:ext uri="{FF2B5EF4-FFF2-40B4-BE49-F238E27FC236}">
                  <a16:creationId xmlns:a16="http://schemas.microsoft.com/office/drawing/2014/main" id="{73B93E14-2F87-7D42-8BB1-B9DD59BBD500}"/>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3" name="Bild 2">
              <a:extLst>
                <a:ext uri="{FF2B5EF4-FFF2-40B4-BE49-F238E27FC236}">
                  <a16:creationId xmlns:a16="http://schemas.microsoft.com/office/drawing/2014/main" id="{600A5E65-99E7-BD4F-8FD1-B0EFD7452D61}"/>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24" name="Bild 2">
              <a:extLst>
                <a:ext uri="{FF2B5EF4-FFF2-40B4-BE49-F238E27FC236}">
                  <a16:creationId xmlns:a16="http://schemas.microsoft.com/office/drawing/2014/main" id="{D03BC607-5564-3C4E-AC15-742D3ACD7C9E}"/>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5" name="Bild 2">
              <a:extLst>
                <a:ext uri="{FF2B5EF4-FFF2-40B4-BE49-F238E27FC236}">
                  <a16:creationId xmlns:a16="http://schemas.microsoft.com/office/drawing/2014/main" id="{633F7CBD-CC18-6A47-B3B0-598CDBC284B2}"/>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noProof="0">
                <a:solidFill>
                  <a:schemeClr val="tx2"/>
                </a:solidFill>
              </a:endParaRPr>
            </a:p>
          </p:txBody>
        </p:sp>
        <p:sp>
          <p:nvSpPr>
            <p:cNvPr id="26" name="Bild 2">
              <a:extLst>
                <a:ext uri="{FF2B5EF4-FFF2-40B4-BE49-F238E27FC236}">
                  <a16:creationId xmlns:a16="http://schemas.microsoft.com/office/drawing/2014/main" id="{BCA836F9-B72E-2745-9780-17AA47E3005F}"/>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27" name="Bild 2">
              <a:extLst>
                <a:ext uri="{FF2B5EF4-FFF2-40B4-BE49-F238E27FC236}">
                  <a16:creationId xmlns:a16="http://schemas.microsoft.com/office/drawing/2014/main" id="{7938F737-3045-BF42-89CB-6017E871B957}"/>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grpSp>
    </p:spTree>
    <p:extLst>
      <p:ext uri="{BB962C8B-B14F-4D97-AF65-F5344CB8AC3E}">
        <p14:creationId xmlns:p14="http://schemas.microsoft.com/office/powerpoint/2010/main" val="583358333"/>
      </p:ext>
    </p:extLst>
  </p:cSld>
  <p:clrMapOvr>
    <a:overrideClrMapping bg1="lt1" tx1="dk1" bg2="lt2" tx2="dk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5" name="Platshållare för datum 3">
            <a:extLst>
              <a:ext uri="{FF2B5EF4-FFF2-40B4-BE49-F238E27FC236}">
                <a16:creationId xmlns:a16="http://schemas.microsoft.com/office/drawing/2014/main" id="{A74D829F-278E-A349-A2D6-131DE97D2A1D}"/>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tx2"/>
                </a:solidFill>
              </a:defRPr>
            </a:lvl1pPr>
          </a:lstStyle>
          <a:p>
            <a:fld id="{2F9806AD-009B-8D45-82A9-B9E8234B6322}" type="datetime1">
              <a:rPr lang="en-US" noProof="0" smtClean="0"/>
              <a:t>10/17/2023</a:t>
            </a:fld>
            <a:endParaRPr lang="en-US" noProof="0"/>
          </a:p>
        </p:txBody>
      </p:sp>
      <p:sp>
        <p:nvSpPr>
          <p:cNvPr id="6" name="Platshållare för sidfot 4">
            <a:extLst>
              <a:ext uri="{FF2B5EF4-FFF2-40B4-BE49-F238E27FC236}">
                <a16:creationId xmlns:a16="http://schemas.microsoft.com/office/drawing/2014/main" id="{1EDE4D0B-651F-4744-92FD-605540347A24}"/>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tx2"/>
                </a:solidFill>
              </a:defRPr>
            </a:lvl1pPr>
          </a:lstStyle>
          <a:p>
            <a:r>
              <a:rPr lang="en-US" noProof="0"/>
              <a:t>Go to header/footer to change text </a:t>
            </a:r>
          </a:p>
        </p:txBody>
      </p:sp>
      <p:sp>
        <p:nvSpPr>
          <p:cNvPr id="7" name="Platshållare för bildnummer 5">
            <a:extLst>
              <a:ext uri="{FF2B5EF4-FFF2-40B4-BE49-F238E27FC236}">
                <a16:creationId xmlns:a16="http://schemas.microsoft.com/office/drawing/2014/main" id="{0B0AB5DF-9F17-C94E-BC61-612FF8602156}"/>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tx2"/>
                </a:solidFill>
              </a:defRPr>
            </a:lvl1pPr>
          </a:lstStyle>
          <a:p>
            <a:fld id="{EF8DBD5B-30F9-4F9C-AE39-E065C1AC514D}" type="slidenum">
              <a:rPr lang="en-US" noProof="0" smtClean="0"/>
              <a:pPr/>
              <a:t>‹#›</a:t>
            </a:fld>
            <a:endParaRPr lang="en-US" noProof="0"/>
          </a:p>
        </p:txBody>
      </p:sp>
    </p:spTree>
    <p:extLst>
      <p:ext uri="{BB962C8B-B14F-4D97-AF65-F5344CB8AC3E}">
        <p14:creationId xmlns:p14="http://schemas.microsoft.com/office/powerpoint/2010/main" val="69832915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5 Heldekkende bilde">
    <p:bg>
      <p:bgPr>
        <a:solidFill>
          <a:schemeClr val="bg1"/>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3CBA7EE4-EB8C-8F45-95DB-49CBDE2D978D}"/>
              </a:ext>
            </a:extLst>
          </p:cNvPr>
          <p:cNvSpPr>
            <a:spLocks noGrp="1"/>
          </p:cNvSpPr>
          <p:nvPr>
            <p:ph type="pic" sz="quarter" idx="13" hasCustomPrompt="1"/>
          </p:nvPr>
        </p:nvSpPr>
        <p:spPr>
          <a:xfrm>
            <a:off x="5" y="5"/>
            <a:ext cx="12191997" cy="6857997"/>
          </a:xfrm>
          <a:custGeom>
            <a:avLst/>
            <a:gdLst>
              <a:gd name="connsiteX0" fmla="*/ 1146049 w 12191997"/>
              <a:gd name="connsiteY0" fmla="*/ 6470534 h 6857997"/>
              <a:gd name="connsiteX1" fmla="*/ 1157832 w 12191997"/>
              <a:gd name="connsiteY1" fmla="*/ 6505507 h 6857997"/>
              <a:gd name="connsiteX2" fmla="*/ 1134642 w 12191997"/>
              <a:gd name="connsiteY2" fmla="*/ 6505507 h 6857997"/>
              <a:gd name="connsiteX3" fmla="*/ 788170 w 12191997"/>
              <a:gd name="connsiteY3" fmla="*/ 6470534 h 6857997"/>
              <a:gd name="connsiteX4" fmla="*/ 799953 w 12191997"/>
              <a:gd name="connsiteY4" fmla="*/ 6505507 h 6857997"/>
              <a:gd name="connsiteX5" fmla="*/ 776763 w 12191997"/>
              <a:gd name="connsiteY5" fmla="*/ 6505507 h 6857997"/>
              <a:gd name="connsiteX6" fmla="*/ 1132323 w 12191997"/>
              <a:gd name="connsiteY6" fmla="*/ 6451543 h 6857997"/>
              <a:gd name="connsiteX7" fmla="*/ 1100860 w 12191997"/>
              <a:gd name="connsiteY7" fmla="*/ 6542674 h 6857997"/>
              <a:gd name="connsiteX8" fmla="*/ 1123110 w 12191997"/>
              <a:gd name="connsiteY8" fmla="*/ 6542674 h 6857997"/>
              <a:gd name="connsiteX9" fmla="*/ 1128876 w 12191997"/>
              <a:gd name="connsiteY9" fmla="*/ 6524060 h 6857997"/>
              <a:gd name="connsiteX10" fmla="*/ 1163786 w 12191997"/>
              <a:gd name="connsiteY10" fmla="*/ 6524060 h 6857997"/>
              <a:gd name="connsiteX11" fmla="*/ 1169741 w 12191997"/>
              <a:gd name="connsiteY11" fmla="*/ 6542674 h 6857997"/>
              <a:gd name="connsiteX12" fmla="*/ 1191615 w 12191997"/>
              <a:gd name="connsiteY12" fmla="*/ 6542674 h 6857997"/>
              <a:gd name="connsiteX13" fmla="*/ 1159148 w 12191997"/>
              <a:gd name="connsiteY13" fmla="*/ 6451543 h 6857997"/>
              <a:gd name="connsiteX14" fmla="*/ 961907 w 12191997"/>
              <a:gd name="connsiteY14" fmla="*/ 6451543 h 6857997"/>
              <a:gd name="connsiteX15" fmla="*/ 933640 w 12191997"/>
              <a:gd name="connsiteY15" fmla="*/ 6479246 h 6857997"/>
              <a:gd name="connsiteX16" fmla="*/ 961907 w 12191997"/>
              <a:gd name="connsiteY16" fmla="*/ 6505821 h 6857997"/>
              <a:gd name="connsiteX17" fmla="*/ 983468 w 12191997"/>
              <a:gd name="connsiteY17" fmla="*/ 6505821 h 6857997"/>
              <a:gd name="connsiteX18" fmla="*/ 991678 w 12191997"/>
              <a:gd name="connsiteY18" fmla="*/ 6514282 h 6857997"/>
              <a:gd name="connsiteX19" fmla="*/ 983468 w 12191997"/>
              <a:gd name="connsiteY19" fmla="*/ 6522743 h 6857997"/>
              <a:gd name="connsiteX20" fmla="*/ 937338 w 12191997"/>
              <a:gd name="connsiteY20" fmla="*/ 6522743 h 6857997"/>
              <a:gd name="connsiteX21" fmla="*/ 937338 w 12191997"/>
              <a:gd name="connsiteY21" fmla="*/ 6542674 h 6857997"/>
              <a:gd name="connsiteX22" fmla="*/ 982716 w 12191997"/>
              <a:gd name="connsiteY22" fmla="*/ 6542674 h 6857997"/>
              <a:gd name="connsiteX23" fmla="*/ 1011358 w 12191997"/>
              <a:gd name="connsiteY23" fmla="*/ 6514282 h 6857997"/>
              <a:gd name="connsiteX24" fmla="*/ 986727 w 12191997"/>
              <a:gd name="connsiteY24" fmla="*/ 6487707 h 6857997"/>
              <a:gd name="connsiteX25" fmla="*/ 961907 w 12191997"/>
              <a:gd name="connsiteY25" fmla="*/ 6487707 h 6857997"/>
              <a:gd name="connsiteX26" fmla="*/ 953321 w 12191997"/>
              <a:gd name="connsiteY26" fmla="*/ 6479246 h 6857997"/>
              <a:gd name="connsiteX27" fmla="*/ 961907 w 12191997"/>
              <a:gd name="connsiteY27" fmla="*/ 6470785 h 6857997"/>
              <a:gd name="connsiteX28" fmla="*/ 1004965 w 12191997"/>
              <a:gd name="connsiteY28" fmla="*/ 6470785 h 6857997"/>
              <a:gd name="connsiteX29" fmla="*/ 1004965 w 12191997"/>
              <a:gd name="connsiteY29" fmla="*/ 6451543 h 6857997"/>
              <a:gd name="connsiteX30" fmla="*/ 841570 w 12191997"/>
              <a:gd name="connsiteY30" fmla="*/ 6451543 h 6857997"/>
              <a:gd name="connsiteX31" fmla="*/ 841570 w 12191997"/>
              <a:gd name="connsiteY31" fmla="*/ 6542674 h 6857997"/>
              <a:gd name="connsiteX32" fmla="*/ 862692 w 12191997"/>
              <a:gd name="connsiteY32" fmla="*/ 6542674 h 6857997"/>
              <a:gd name="connsiteX33" fmla="*/ 862692 w 12191997"/>
              <a:gd name="connsiteY33" fmla="*/ 6486454 h 6857997"/>
              <a:gd name="connsiteX34" fmla="*/ 898981 w 12191997"/>
              <a:gd name="connsiteY34" fmla="*/ 6542486 h 6857997"/>
              <a:gd name="connsiteX35" fmla="*/ 898981 w 12191997"/>
              <a:gd name="connsiteY35" fmla="*/ 6542674 h 6857997"/>
              <a:gd name="connsiteX36" fmla="*/ 920855 w 12191997"/>
              <a:gd name="connsiteY36" fmla="*/ 6542674 h 6857997"/>
              <a:gd name="connsiteX37" fmla="*/ 920793 w 12191997"/>
              <a:gd name="connsiteY37" fmla="*/ 6522994 h 6857997"/>
              <a:gd name="connsiteX38" fmla="*/ 920667 w 12191997"/>
              <a:gd name="connsiteY38" fmla="*/ 6451543 h 6857997"/>
              <a:gd name="connsiteX39" fmla="*/ 899671 w 12191997"/>
              <a:gd name="connsiteY39" fmla="*/ 6451543 h 6857997"/>
              <a:gd name="connsiteX40" fmla="*/ 899671 w 12191997"/>
              <a:gd name="connsiteY40" fmla="*/ 6508829 h 6857997"/>
              <a:gd name="connsiteX41" fmla="*/ 863068 w 12191997"/>
              <a:gd name="connsiteY41" fmla="*/ 6451543 h 6857997"/>
              <a:gd name="connsiteX42" fmla="*/ 774444 w 12191997"/>
              <a:gd name="connsiteY42" fmla="*/ 6451543 h 6857997"/>
              <a:gd name="connsiteX43" fmla="*/ 742918 w 12191997"/>
              <a:gd name="connsiteY43" fmla="*/ 6542674 h 6857997"/>
              <a:gd name="connsiteX44" fmla="*/ 765168 w 12191997"/>
              <a:gd name="connsiteY44" fmla="*/ 6542674 h 6857997"/>
              <a:gd name="connsiteX45" fmla="*/ 770934 w 12191997"/>
              <a:gd name="connsiteY45" fmla="*/ 6524060 h 6857997"/>
              <a:gd name="connsiteX46" fmla="*/ 805845 w 12191997"/>
              <a:gd name="connsiteY46" fmla="*/ 6524060 h 6857997"/>
              <a:gd name="connsiteX47" fmla="*/ 811799 w 12191997"/>
              <a:gd name="connsiteY47" fmla="*/ 6542674 h 6857997"/>
              <a:gd name="connsiteX48" fmla="*/ 833735 w 12191997"/>
              <a:gd name="connsiteY48" fmla="*/ 6542674 h 6857997"/>
              <a:gd name="connsiteX49" fmla="*/ 801269 w 12191997"/>
              <a:gd name="connsiteY49" fmla="*/ 6451543 h 6857997"/>
              <a:gd name="connsiteX50" fmla="*/ 604404 w 12191997"/>
              <a:gd name="connsiteY50" fmla="*/ 6451543 h 6857997"/>
              <a:gd name="connsiteX51" fmla="*/ 576137 w 12191997"/>
              <a:gd name="connsiteY51" fmla="*/ 6479246 h 6857997"/>
              <a:gd name="connsiteX52" fmla="*/ 604404 w 12191997"/>
              <a:gd name="connsiteY52" fmla="*/ 6505821 h 6857997"/>
              <a:gd name="connsiteX53" fmla="*/ 625964 w 12191997"/>
              <a:gd name="connsiteY53" fmla="*/ 6505821 h 6857997"/>
              <a:gd name="connsiteX54" fmla="*/ 634174 w 12191997"/>
              <a:gd name="connsiteY54" fmla="*/ 6514282 h 6857997"/>
              <a:gd name="connsiteX55" fmla="*/ 625964 w 12191997"/>
              <a:gd name="connsiteY55" fmla="*/ 6522743 h 6857997"/>
              <a:gd name="connsiteX56" fmla="*/ 579772 w 12191997"/>
              <a:gd name="connsiteY56" fmla="*/ 6522743 h 6857997"/>
              <a:gd name="connsiteX57" fmla="*/ 579772 w 12191997"/>
              <a:gd name="connsiteY57" fmla="*/ 6542674 h 6857997"/>
              <a:gd name="connsiteX58" fmla="*/ 625149 w 12191997"/>
              <a:gd name="connsiteY58" fmla="*/ 6542674 h 6857997"/>
              <a:gd name="connsiteX59" fmla="*/ 653792 w 12191997"/>
              <a:gd name="connsiteY59" fmla="*/ 6514282 h 6857997"/>
              <a:gd name="connsiteX60" fmla="*/ 629223 w 12191997"/>
              <a:gd name="connsiteY60" fmla="*/ 6487707 h 6857997"/>
              <a:gd name="connsiteX61" fmla="*/ 604404 w 12191997"/>
              <a:gd name="connsiteY61" fmla="*/ 6487707 h 6857997"/>
              <a:gd name="connsiteX62" fmla="*/ 595817 w 12191997"/>
              <a:gd name="connsiteY62" fmla="*/ 6479246 h 6857997"/>
              <a:gd name="connsiteX63" fmla="*/ 604404 w 12191997"/>
              <a:gd name="connsiteY63" fmla="*/ 6470785 h 6857997"/>
              <a:gd name="connsiteX64" fmla="*/ 647462 w 12191997"/>
              <a:gd name="connsiteY64" fmla="*/ 6470785 h 6857997"/>
              <a:gd name="connsiteX65" fmla="*/ 647462 w 12191997"/>
              <a:gd name="connsiteY65" fmla="*/ 6451543 h 6857997"/>
              <a:gd name="connsiteX66" fmla="*/ 1023956 w 12191997"/>
              <a:gd name="connsiteY66" fmla="*/ 6451480 h 6857997"/>
              <a:gd name="connsiteX67" fmla="*/ 1023956 w 12191997"/>
              <a:gd name="connsiteY67" fmla="*/ 6542674 h 6857997"/>
              <a:gd name="connsiteX68" fmla="*/ 1045016 w 12191997"/>
              <a:gd name="connsiteY68" fmla="*/ 6542674 h 6857997"/>
              <a:gd name="connsiteX69" fmla="*/ 1045016 w 12191997"/>
              <a:gd name="connsiteY69" fmla="*/ 6504191 h 6857997"/>
              <a:gd name="connsiteX70" fmla="*/ 1074975 w 12191997"/>
              <a:gd name="connsiteY70" fmla="*/ 6542674 h 6857997"/>
              <a:gd name="connsiteX71" fmla="*/ 1099481 w 12191997"/>
              <a:gd name="connsiteY71" fmla="*/ 6542674 h 6857997"/>
              <a:gd name="connsiteX72" fmla="*/ 1065009 w 12191997"/>
              <a:gd name="connsiteY72" fmla="*/ 6497109 h 6857997"/>
              <a:gd name="connsiteX73" fmla="*/ 1099481 w 12191997"/>
              <a:gd name="connsiteY73" fmla="*/ 6451480 h 6857997"/>
              <a:gd name="connsiteX74" fmla="*/ 1074975 w 12191997"/>
              <a:gd name="connsiteY74" fmla="*/ 6451480 h 6857997"/>
              <a:gd name="connsiteX75" fmla="*/ 1045016 w 12191997"/>
              <a:gd name="connsiteY75" fmla="*/ 6489963 h 6857997"/>
              <a:gd name="connsiteX76" fmla="*/ 1045016 w 12191997"/>
              <a:gd name="connsiteY76" fmla="*/ 6451480 h 6857997"/>
              <a:gd name="connsiteX77" fmla="*/ 666077 w 12191997"/>
              <a:gd name="connsiteY77" fmla="*/ 6451480 h 6857997"/>
              <a:gd name="connsiteX78" fmla="*/ 666077 w 12191997"/>
              <a:gd name="connsiteY78" fmla="*/ 6542674 h 6857997"/>
              <a:gd name="connsiteX79" fmla="*/ 687073 w 12191997"/>
              <a:gd name="connsiteY79" fmla="*/ 6542674 h 6857997"/>
              <a:gd name="connsiteX80" fmla="*/ 687073 w 12191997"/>
              <a:gd name="connsiteY80" fmla="*/ 6504191 h 6857997"/>
              <a:gd name="connsiteX81" fmla="*/ 717033 w 12191997"/>
              <a:gd name="connsiteY81" fmla="*/ 6542674 h 6857997"/>
              <a:gd name="connsiteX82" fmla="*/ 741602 w 12191997"/>
              <a:gd name="connsiteY82" fmla="*/ 6542674 h 6857997"/>
              <a:gd name="connsiteX83" fmla="*/ 707067 w 12191997"/>
              <a:gd name="connsiteY83" fmla="*/ 6497109 h 6857997"/>
              <a:gd name="connsiteX84" fmla="*/ 741602 w 12191997"/>
              <a:gd name="connsiteY84" fmla="*/ 6451480 h 6857997"/>
              <a:gd name="connsiteX85" fmla="*/ 717033 w 12191997"/>
              <a:gd name="connsiteY85" fmla="*/ 6451480 h 6857997"/>
              <a:gd name="connsiteX86" fmla="*/ 687073 w 12191997"/>
              <a:gd name="connsiteY86" fmla="*/ 6489963 h 6857997"/>
              <a:gd name="connsiteX87" fmla="*/ 687073 w 12191997"/>
              <a:gd name="connsiteY87" fmla="*/ 6451480 h 6857997"/>
              <a:gd name="connsiteX88" fmla="*/ 0 w 12191997"/>
              <a:gd name="connsiteY88" fmla="*/ 0 h 6857997"/>
              <a:gd name="connsiteX89" fmla="*/ 12191997 w 12191997"/>
              <a:gd name="connsiteY89" fmla="*/ 0 h 6857997"/>
              <a:gd name="connsiteX90" fmla="*/ 12191997 w 12191997"/>
              <a:gd name="connsiteY90" fmla="*/ 6857997 h 6857997"/>
              <a:gd name="connsiteX91" fmla="*/ 0 w 12191997"/>
              <a:gd name="connsiteY91" fmla="*/ 6857997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2191997" h="6857997">
                <a:moveTo>
                  <a:pt x="1146049" y="6470534"/>
                </a:moveTo>
                <a:lnTo>
                  <a:pt x="1157832" y="6505507"/>
                </a:lnTo>
                <a:lnTo>
                  <a:pt x="1134642" y="6505507"/>
                </a:lnTo>
                <a:close/>
                <a:moveTo>
                  <a:pt x="788170" y="6470534"/>
                </a:moveTo>
                <a:lnTo>
                  <a:pt x="799953" y="6505507"/>
                </a:lnTo>
                <a:lnTo>
                  <a:pt x="776763" y="6505507"/>
                </a:lnTo>
                <a:close/>
                <a:moveTo>
                  <a:pt x="1132323" y="6451543"/>
                </a:moveTo>
                <a:lnTo>
                  <a:pt x="1100860" y="6542674"/>
                </a:lnTo>
                <a:lnTo>
                  <a:pt x="1123110" y="6542674"/>
                </a:lnTo>
                <a:lnTo>
                  <a:pt x="1128876" y="6524060"/>
                </a:lnTo>
                <a:lnTo>
                  <a:pt x="1163786" y="6524060"/>
                </a:lnTo>
                <a:lnTo>
                  <a:pt x="1169741" y="6542674"/>
                </a:lnTo>
                <a:lnTo>
                  <a:pt x="1191615" y="6542674"/>
                </a:lnTo>
                <a:lnTo>
                  <a:pt x="1159148" y="6451543"/>
                </a:lnTo>
                <a:close/>
                <a:moveTo>
                  <a:pt x="961907" y="6451543"/>
                </a:moveTo>
                <a:cubicBezTo>
                  <a:pt x="944358" y="6451543"/>
                  <a:pt x="933640" y="6461822"/>
                  <a:pt x="933640" y="6479246"/>
                </a:cubicBezTo>
                <a:cubicBezTo>
                  <a:pt x="933640" y="6496670"/>
                  <a:pt x="945987" y="6505821"/>
                  <a:pt x="961907" y="6505821"/>
                </a:cubicBezTo>
                <a:lnTo>
                  <a:pt x="983468" y="6505821"/>
                </a:lnTo>
                <a:cubicBezTo>
                  <a:pt x="988921" y="6505821"/>
                  <a:pt x="991678" y="6509957"/>
                  <a:pt x="991678" y="6514282"/>
                </a:cubicBezTo>
                <a:cubicBezTo>
                  <a:pt x="991678" y="6518732"/>
                  <a:pt x="988921" y="6522743"/>
                  <a:pt x="983468" y="6522743"/>
                </a:cubicBezTo>
                <a:lnTo>
                  <a:pt x="937338" y="6522743"/>
                </a:lnTo>
                <a:lnTo>
                  <a:pt x="937338" y="6542674"/>
                </a:lnTo>
                <a:lnTo>
                  <a:pt x="982716" y="6542674"/>
                </a:lnTo>
                <a:cubicBezTo>
                  <a:pt x="1000704" y="6542674"/>
                  <a:pt x="1011358" y="6532772"/>
                  <a:pt x="1011358" y="6514282"/>
                </a:cubicBezTo>
                <a:cubicBezTo>
                  <a:pt x="1011358" y="6497610"/>
                  <a:pt x="1000641" y="6487707"/>
                  <a:pt x="986727" y="6487707"/>
                </a:cubicBezTo>
                <a:lnTo>
                  <a:pt x="961907" y="6487707"/>
                </a:lnTo>
                <a:cubicBezTo>
                  <a:pt x="956078" y="6487707"/>
                  <a:pt x="953321" y="6483696"/>
                  <a:pt x="953321" y="6479246"/>
                </a:cubicBezTo>
                <a:cubicBezTo>
                  <a:pt x="953321" y="6474796"/>
                  <a:pt x="956078" y="6470785"/>
                  <a:pt x="961907" y="6470785"/>
                </a:cubicBezTo>
                <a:lnTo>
                  <a:pt x="1004965" y="6470785"/>
                </a:lnTo>
                <a:lnTo>
                  <a:pt x="1004965" y="6451543"/>
                </a:lnTo>
                <a:close/>
                <a:moveTo>
                  <a:pt x="841570" y="6451543"/>
                </a:moveTo>
                <a:lnTo>
                  <a:pt x="841570" y="6542674"/>
                </a:lnTo>
                <a:lnTo>
                  <a:pt x="862692" y="6542674"/>
                </a:lnTo>
                <a:lnTo>
                  <a:pt x="862692" y="6486454"/>
                </a:lnTo>
                <a:lnTo>
                  <a:pt x="898981" y="6542486"/>
                </a:lnTo>
                <a:lnTo>
                  <a:pt x="898981" y="6542674"/>
                </a:lnTo>
                <a:lnTo>
                  <a:pt x="920855" y="6542674"/>
                </a:lnTo>
                <a:lnTo>
                  <a:pt x="920793" y="6522994"/>
                </a:lnTo>
                <a:lnTo>
                  <a:pt x="920667" y="6451543"/>
                </a:lnTo>
                <a:lnTo>
                  <a:pt x="899671" y="6451543"/>
                </a:lnTo>
                <a:lnTo>
                  <a:pt x="899671" y="6508829"/>
                </a:lnTo>
                <a:lnTo>
                  <a:pt x="863068" y="6451543"/>
                </a:lnTo>
                <a:close/>
                <a:moveTo>
                  <a:pt x="774444" y="6451543"/>
                </a:moveTo>
                <a:lnTo>
                  <a:pt x="742918" y="6542674"/>
                </a:lnTo>
                <a:lnTo>
                  <a:pt x="765168" y="6542674"/>
                </a:lnTo>
                <a:lnTo>
                  <a:pt x="770934" y="6524060"/>
                </a:lnTo>
                <a:lnTo>
                  <a:pt x="805845" y="6524060"/>
                </a:lnTo>
                <a:lnTo>
                  <a:pt x="811799" y="6542674"/>
                </a:lnTo>
                <a:lnTo>
                  <a:pt x="833735" y="6542674"/>
                </a:lnTo>
                <a:lnTo>
                  <a:pt x="801269" y="6451543"/>
                </a:lnTo>
                <a:close/>
                <a:moveTo>
                  <a:pt x="604404" y="6451543"/>
                </a:moveTo>
                <a:cubicBezTo>
                  <a:pt x="586792" y="6451543"/>
                  <a:pt x="576137" y="6461822"/>
                  <a:pt x="576137" y="6479246"/>
                </a:cubicBezTo>
                <a:cubicBezTo>
                  <a:pt x="576137" y="6496670"/>
                  <a:pt x="588484" y="6505821"/>
                  <a:pt x="604404" y="6505821"/>
                </a:cubicBezTo>
                <a:lnTo>
                  <a:pt x="625964" y="6505821"/>
                </a:lnTo>
                <a:cubicBezTo>
                  <a:pt x="631417" y="6505821"/>
                  <a:pt x="634174" y="6509957"/>
                  <a:pt x="634174" y="6514282"/>
                </a:cubicBezTo>
                <a:cubicBezTo>
                  <a:pt x="634174" y="6518732"/>
                  <a:pt x="631417" y="6522743"/>
                  <a:pt x="625964" y="6522743"/>
                </a:cubicBezTo>
                <a:lnTo>
                  <a:pt x="579772" y="6522743"/>
                </a:lnTo>
                <a:lnTo>
                  <a:pt x="579772" y="6542674"/>
                </a:lnTo>
                <a:lnTo>
                  <a:pt x="625149" y="6542674"/>
                </a:lnTo>
                <a:cubicBezTo>
                  <a:pt x="643137" y="6542674"/>
                  <a:pt x="653792" y="6532772"/>
                  <a:pt x="653792" y="6514282"/>
                </a:cubicBezTo>
                <a:cubicBezTo>
                  <a:pt x="653792" y="6497610"/>
                  <a:pt x="643137" y="6487707"/>
                  <a:pt x="629223" y="6487707"/>
                </a:cubicBezTo>
                <a:lnTo>
                  <a:pt x="604404" y="6487707"/>
                </a:lnTo>
                <a:cubicBezTo>
                  <a:pt x="598575" y="6487707"/>
                  <a:pt x="595817" y="6483696"/>
                  <a:pt x="595817" y="6479246"/>
                </a:cubicBezTo>
                <a:cubicBezTo>
                  <a:pt x="595817" y="6474796"/>
                  <a:pt x="598575" y="6470785"/>
                  <a:pt x="604404" y="6470785"/>
                </a:cubicBezTo>
                <a:lnTo>
                  <a:pt x="647462" y="6470785"/>
                </a:lnTo>
                <a:lnTo>
                  <a:pt x="647462" y="6451543"/>
                </a:lnTo>
                <a:close/>
                <a:moveTo>
                  <a:pt x="1023956" y="6451480"/>
                </a:moveTo>
                <a:lnTo>
                  <a:pt x="1023956" y="6542674"/>
                </a:lnTo>
                <a:lnTo>
                  <a:pt x="1045016" y="6542674"/>
                </a:lnTo>
                <a:lnTo>
                  <a:pt x="1045016" y="6504191"/>
                </a:lnTo>
                <a:lnTo>
                  <a:pt x="1074975" y="6542674"/>
                </a:lnTo>
                <a:lnTo>
                  <a:pt x="1099481" y="6542674"/>
                </a:lnTo>
                <a:lnTo>
                  <a:pt x="1065009" y="6497109"/>
                </a:lnTo>
                <a:lnTo>
                  <a:pt x="1099481" y="6451480"/>
                </a:lnTo>
                <a:lnTo>
                  <a:pt x="1074975" y="6451480"/>
                </a:lnTo>
                <a:lnTo>
                  <a:pt x="1045016" y="6489963"/>
                </a:lnTo>
                <a:lnTo>
                  <a:pt x="1045016" y="6451480"/>
                </a:lnTo>
                <a:close/>
                <a:moveTo>
                  <a:pt x="666077" y="6451480"/>
                </a:moveTo>
                <a:lnTo>
                  <a:pt x="666077" y="6542674"/>
                </a:lnTo>
                <a:lnTo>
                  <a:pt x="687073" y="6542674"/>
                </a:lnTo>
                <a:lnTo>
                  <a:pt x="687073" y="6504191"/>
                </a:lnTo>
                <a:lnTo>
                  <a:pt x="717033" y="6542674"/>
                </a:lnTo>
                <a:lnTo>
                  <a:pt x="741602" y="6542674"/>
                </a:lnTo>
                <a:lnTo>
                  <a:pt x="707067" y="6497109"/>
                </a:lnTo>
                <a:lnTo>
                  <a:pt x="741602" y="6451480"/>
                </a:lnTo>
                <a:lnTo>
                  <a:pt x="717033" y="6451480"/>
                </a:lnTo>
                <a:lnTo>
                  <a:pt x="687073" y="6489963"/>
                </a:lnTo>
                <a:lnTo>
                  <a:pt x="687073" y="6451480"/>
                </a:lnTo>
                <a:close/>
                <a:moveTo>
                  <a:pt x="0" y="0"/>
                </a:moveTo>
                <a:lnTo>
                  <a:pt x="12191997" y="0"/>
                </a:lnTo>
                <a:lnTo>
                  <a:pt x="12191997" y="6857997"/>
                </a:lnTo>
                <a:lnTo>
                  <a:pt x="0" y="6857997"/>
                </a:lnTo>
                <a:close/>
              </a:path>
            </a:pathLst>
          </a:custGeom>
          <a:solidFill>
            <a:srgbClr val="ECECEC"/>
          </a:solidFill>
        </p:spPr>
        <p:txBody>
          <a:bodyPr wrap="square" lIns="36000" tIns="36000" rIns="36000" bIns="36000">
            <a:noAutofit/>
          </a:bodyPr>
          <a:lstStyle>
            <a:lvl1pPr marL="0" indent="0" algn="ctr">
              <a:buNone/>
              <a:defRPr sz="1300">
                <a:solidFill>
                  <a:schemeClr val="tx2"/>
                </a:solidFill>
              </a:defRPr>
            </a:lvl1pPr>
          </a:lstStyle>
          <a:p>
            <a:r>
              <a:rPr lang="nb-NO" noProof="0"/>
              <a:t>Klikk på ikonet for å legge til et bilde
</a:t>
            </a:r>
            <a:endParaRPr lang="en-US" noProof="0"/>
          </a:p>
        </p:txBody>
      </p:sp>
      <p:sp>
        <p:nvSpPr>
          <p:cNvPr id="12" name="Platshållare för datum 3">
            <a:extLst>
              <a:ext uri="{FF2B5EF4-FFF2-40B4-BE49-F238E27FC236}">
                <a16:creationId xmlns:a16="http://schemas.microsoft.com/office/drawing/2014/main" id="{83C01208-01E2-5D44-8A25-EF6024C0723F}"/>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bg1"/>
                </a:solidFill>
              </a:defRPr>
            </a:lvl1pPr>
          </a:lstStyle>
          <a:p>
            <a:fld id="{A901CE93-4722-4DC5-8A42-C5D13C599FDC}" type="datetime1">
              <a:rPr lang="en-US" smtClean="0"/>
              <a:t>10/17/2023</a:t>
            </a:fld>
            <a:endParaRPr lang="en-US"/>
          </a:p>
        </p:txBody>
      </p:sp>
      <p:sp>
        <p:nvSpPr>
          <p:cNvPr id="13" name="Platshållare för sidfot 4">
            <a:extLst>
              <a:ext uri="{FF2B5EF4-FFF2-40B4-BE49-F238E27FC236}">
                <a16:creationId xmlns:a16="http://schemas.microsoft.com/office/drawing/2014/main" id="{68DCE312-A27F-814F-BDDD-00D27A24DD8C}"/>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bg1"/>
                </a:solidFill>
              </a:defRPr>
            </a:lvl1pPr>
          </a:lstStyle>
          <a:p>
            <a:r>
              <a:rPr lang="en-US" noProof="0"/>
              <a:t>Go to header/footer to change text </a:t>
            </a:r>
          </a:p>
        </p:txBody>
      </p:sp>
      <p:sp>
        <p:nvSpPr>
          <p:cNvPr id="14" name="Platshållare för bildnummer 5">
            <a:extLst>
              <a:ext uri="{FF2B5EF4-FFF2-40B4-BE49-F238E27FC236}">
                <a16:creationId xmlns:a16="http://schemas.microsoft.com/office/drawing/2014/main" id="{BF3C2BA5-B91C-7142-BA3D-478DF85F221B}"/>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bg1"/>
                </a:solidFill>
              </a:defRPr>
            </a:lvl1pPr>
          </a:lstStyle>
          <a:p>
            <a:fld id="{EF8DBD5B-30F9-4F9C-AE39-E065C1AC514D}" type="slidenum">
              <a:rPr lang="en-US" smtClean="0"/>
              <a:pPr/>
              <a:t>‹#›</a:t>
            </a:fld>
            <a:endParaRPr lang="en-US"/>
          </a:p>
        </p:txBody>
      </p:sp>
      <p:sp>
        <p:nvSpPr>
          <p:cNvPr id="16" name="Text Placeholder 4">
            <a:extLst>
              <a:ext uri="{FF2B5EF4-FFF2-40B4-BE49-F238E27FC236}">
                <a16:creationId xmlns:a16="http://schemas.microsoft.com/office/drawing/2014/main" id="{E37CECB8-B1B6-D144-BD70-CFF979706847}"/>
              </a:ext>
            </a:extLst>
          </p:cNvPr>
          <p:cNvSpPr>
            <a:spLocks noGrp="1"/>
          </p:cNvSpPr>
          <p:nvPr>
            <p:ph type="body" sz="quarter" idx="14" hasCustomPrompt="1"/>
          </p:nvPr>
        </p:nvSpPr>
        <p:spPr>
          <a:xfrm rot="5400000">
            <a:off x="10901730" y="803644"/>
            <a:ext cx="2093913" cy="486626"/>
          </a:xfrm>
        </p:spPr>
        <p:txBody>
          <a:bodyPr lIns="180000" tIns="180000" rIns="0" bIns="180000" anchor="ctr">
            <a:spAutoFit/>
          </a:bodyPr>
          <a:lstStyle>
            <a:lvl1pPr marL="6350" indent="0" algn="l">
              <a:buNone/>
              <a:defRPr sz="800"/>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err="1"/>
              <a:t>Prosjekt</a:t>
            </a:r>
            <a:r>
              <a:rPr lang="en-US"/>
              <a:t>, By, Land</a:t>
            </a:r>
          </a:p>
        </p:txBody>
      </p:sp>
      <p:sp>
        <p:nvSpPr>
          <p:cNvPr id="15" name="textruta 5">
            <a:extLst>
              <a:ext uri="{FF2B5EF4-FFF2-40B4-BE49-F238E27FC236}">
                <a16:creationId xmlns:a16="http://schemas.microsoft.com/office/drawing/2014/main" id="{C26C9A74-E5DE-4C07-A288-0DF1E18462FC}"/>
              </a:ext>
            </a:extLst>
          </p:cNvPr>
          <p:cNvSpPr txBox="1"/>
          <p:nvPr userDrawn="1"/>
        </p:nvSpPr>
        <p:spPr>
          <a:xfrm>
            <a:off x="12395258" y="1750517"/>
            <a:ext cx="1681523" cy="923330"/>
          </a:xfrm>
          <a:prstGeom prst="rect">
            <a:avLst/>
          </a:prstGeom>
          <a:solidFill>
            <a:schemeClr val="bg1"/>
          </a:solidFill>
          <a:effectLst/>
        </p:spPr>
        <p:txBody>
          <a:bodyPr wrap="square" rtlCol="0" anchor="ctr" anchorCtr="0">
            <a:spAutoFit/>
          </a:bodyPr>
          <a:lstStyle/>
          <a:p>
            <a:pPr algn="ctr"/>
            <a:r>
              <a:rPr lang="nb-NO" sz="900" baseline="0" noProof="0">
                <a:solidFill>
                  <a:schemeClr val="tx1">
                    <a:lumMod val="65000"/>
                    <a:lumOff val="35000"/>
                  </a:schemeClr>
                </a:solidFill>
                <a:latin typeface="Arial" panose="020B0604020202020204" pitchFamily="34" charset="0"/>
                <a:cs typeface="Arial" panose="020B0604020202020204" pitchFamily="34" charset="0"/>
              </a:rPr>
              <a:t>Hvis tekstboksene forsvinner etter at du har lagt til eller endret et bilde, høyreklikker du på bildet og bruker – Plasser lengst bak
</a:t>
            </a:r>
            <a:endParaRPr lang="en-US" sz="900" b="1" baseline="0" noProof="0">
              <a:solidFill>
                <a:schemeClr val="tx1">
                  <a:lumMod val="65000"/>
                  <a:lumOff val="35000"/>
                </a:schemeClr>
              </a:solidFill>
              <a:latin typeface="Arial" panose="020B0604020202020204" pitchFamily="34" charset="0"/>
              <a:cs typeface="Arial" panose="020B0604020202020204" pitchFamily="34" charset="0"/>
            </a:endParaRPr>
          </a:p>
        </p:txBody>
      </p:sp>
      <p:sp>
        <p:nvSpPr>
          <p:cNvPr id="17" name="textruta 8">
            <a:extLst>
              <a:ext uri="{FF2B5EF4-FFF2-40B4-BE49-F238E27FC236}">
                <a16:creationId xmlns:a16="http://schemas.microsoft.com/office/drawing/2014/main" id="{0A4DCF92-0FFC-4F26-849A-078993D2C799}"/>
              </a:ext>
            </a:extLst>
          </p:cNvPr>
          <p:cNvSpPr txBox="1"/>
          <p:nvPr userDrawn="1"/>
        </p:nvSpPr>
        <p:spPr>
          <a:xfrm>
            <a:off x="12395258" y="102173"/>
            <a:ext cx="1681523" cy="1200329"/>
          </a:xfrm>
          <a:prstGeom prst="rect">
            <a:avLst/>
          </a:prstGeom>
          <a:solidFill>
            <a:schemeClr val="bg1"/>
          </a:solidFill>
          <a:effectLst/>
        </p:spPr>
        <p:txBody>
          <a:bodyPr wrap="square" rtlCol="0" anchor="ctr" anchorCtr="0">
            <a:spAutoFit/>
          </a:bodyPr>
          <a:lstStyle/>
          <a:p>
            <a:pPr algn="ctr"/>
            <a:r>
              <a:rPr lang="nb-NO" sz="900" baseline="0" noProof="0">
                <a:solidFill>
                  <a:schemeClr val="tx1">
                    <a:lumMod val="65000"/>
                    <a:lumOff val="35000"/>
                  </a:schemeClr>
                </a:solidFill>
                <a:latin typeface="Arial" panose="020B0604020202020204" pitchFamily="34" charset="0"/>
                <a:cs typeface="Arial" panose="020B0604020202020204" pitchFamily="34" charset="0"/>
              </a:rPr>
              <a:t>Hvis du må endre fargen på logoen, høyreklikker du utenfor arbeidsområdet, velger Formater bakgrunn på hurtigmenyen og velger Heldekkende fyll – Hvitt eller Blått
</a:t>
            </a: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p:txBody>
      </p:sp>
      <p:sp>
        <p:nvSpPr>
          <p:cNvPr id="18" name="Rektangel 17">
            <a:extLst>
              <a:ext uri="{FF2B5EF4-FFF2-40B4-BE49-F238E27FC236}">
                <a16:creationId xmlns:a16="http://schemas.microsoft.com/office/drawing/2014/main" id="{9C0A74A9-5C45-4021-944E-CC973C4B820E}"/>
              </a:ext>
            </a:extLst>
          </p:cNvPr>
          <p:cNvSpPr/>
          <p:nvPr userDrawn="1"/>
        </p:nvSpPr>
        <p:spPr>
          <a:xfrm>
            <a:off x="13352751" y="1231308"/>
            <a:ext cx="341194" cy="305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9" name="Rektangel 18">
            <a:extLst>
              <a:ext uri="{FF2B5EF4-FFF2-40B4-BE49-F238E27FC236}">
                <a16:creationId xmlns:a16="http://schemas.microsoft.com/office/drawing/2014/main" id="{BB7112A9-3167-4017-921D-69037DAB6BA6}"/>
              </a:ext>
            </a:extLst>
          </p:cNvPr>
          <p:cNvSpPr/>
          <p:nvPr userDrawn="1"/>
        </p:nvSpPr>
        <p:spPr>
          <a:xfrm>
            <a:off x="12839720" y="1235058"/>
            <a:ext cx="341194" cy="30590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Tree>
    <p:extLst>
      <p:ext uri="{BB962C8B-B14F-4D97-AF65-F5344CB8AC3E}">
        <p14:creationId xmlns:p14="http://schemas.microsoft.com/office/powerpoint/2010/main" val="425441469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0144680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Tittel og innho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432984" y="1699201"/>
            <a:ext cx="9356400" cy="44545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Date Placeholder 3"/>
          <p:cNvSpPr>
            <a:spLocks noGrp="1"/>
          </p:cNvSpPr>
          <p:nvPr>
            <p:ph type="dt" sz="half" idx="10"/>
          </p:nvPr>
        </p:nvSpPr>
        <p:spPr/>
        <p:txBody>
          <a:bodyPr/>
          <a:lstStyle/>
          <a:p>
            <a:r>
              <a:rPr lang="nb-NO"/>
              <a:t>20XX-XX-XX</a:t>
            </a:r>
          </a:p>
        </p:txBody>
      </p:sp>
      <p:sp>
        <p:nvSpPr>
          <p:cNvPr id="5" name="Footer Placeholder 4"/>
          <p:cNvSpPr>
            <a:spLocks noGrp="1"/>
          </p:cNvSpPr>
          <p:nvPr>
            <p:ph type="ftr" sz="quarter" idx="11"/>
          </p:nvPr>
        </p:nvSpPr>
        <p:spPr/>
        <p:txBody>
          <a:bodyPr/>
          <a:lstStyle/>
          <a:p>
            <a:r>
              <a:rPr lang="nb-NO"/>
              <a:t>FoU i Skanska</a:t>
            </a:r>
          </a:p>
        </p:txBody>
      </p:sp>
      <p:sp>
        <p:nvSpPr>
          <p:cNvPr id="6" name="Slide Number Placeholder 5"/>
          <p:cNvSpPr>
            <a:spLocks noGrp="1"/>
          </p:cNvSpPr>
          <p:nvPr>
            <p:ph type="sldNum" sz="quarter" idx="12"/>
          </p:nvPr>
        </p:nvSpPr>
        <p:spPr/>
        <p:txBody>
          <a:bodyPr/>
          <a:lstStyle/>
          <a:p>
            <a:fld id="{552F452E-B795-4D05-B605-588F6513802C}" type="slidenum">
              <a:rPr lang="nb-NO" smtClean="0"/>
              <a:t>‹#›</a:t>
            </a:fld>
            <a:endParaRPr lang="nb-NO"/>
          </a:p>
        </p:txBody>
      </p:sp>
      <p:sp>
        <p:nvSpPr>
          <p:cNvPr id="8" name="Title 7"/>
          <p:cNvSpPr>
            <a:spLocks noGrp="1"/>
          </p:cNvSpPr>
          <p:nvPr>
            <p:ph type="title"/>
          </p:nvPr>
        </p:nvSpPr>
        <p:spPr/>
        <p:txBody>
          <a:bodyPr/>
          <a:lstStyle/>
          <a:p>
            <a:r>
              <a:rPr lang="en-US"/>
              <a:t>Click to edit Master title style</a:t>
            </a:r>
            <a:endParaRPr lang="nb-NO"/>
          </a:p>
        </p:txBody>
      </p:sp>
    </p:spTree>
    <p:extLst>
      <p:ext uri="{BB962C8B-B14F-4D97-AF65-F5344CB8AC3E}">
        <p14:creationId xmlns:p14="http://schemas.microsoft.com/office/powerpoint/2010/main" val="340948219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3 Tekst i tre kolonner med flytende tekst">
    <p:bg>
      <p:bgRef idx="1001">
        <a:schemeClr val="bg1"/>
      </p:bgRef>
    </p:bg>
    <p:spTree>
      <p:nvGrpSpPr>
        <p:cNvPr id="1" name=""/>
        <p:cNvGrpSpPr/>
        <p:nvPr/>
      </p:nvGrpSpPr>
      <p:grpSpPr>
        <a:xfrm>
          <a:off x="0" y="0"/>
          <a:ext cx="0" cy="0"/>
          <a:chOff x="0" y="0"/>
          <a:chExt cx="0" cy="0"/>
        </a:xfrm>
      </p:grpSpPr>
      <p:sp>
        <p:nvSpPr>
          <p:cNvPr id="19" name="Text Placeholder 18">
            <a:extLst>
              <a:ext uri="{FF2B5EF4-FFF2-40B4-BE49-F238E27FC236}">
                <a16:creationId xmlns:a16="http://schemas.microsoft.com/office/drawing/2014/main" id="{696CCD45-BBC3-4242-B2B8-F5604A1D97BB}"/>
              </a:ext>
            </a:extLst>
          </p:cNvPr>
          <p:cNvSpPr>
            <a:spLocks noGrp="1"/>
          </p:cNvSpPr>
          <p:nvPr>
            <p:ph type="body" sz="quarter" idx="14" hasCustomPrompt="1"/>
          </p:nvPr>
        </p:nvSpPr>
        <p:spPr>
          <a:xfrm>
            <a:off x="576000" y="720001"/>
            <a:ext cx="11039738" cy="860400"/>
          </a:xfrm>
          <a:prstGeom prst="rect">
            <a:avLst/>
          </a:prstGeom>
        </p:spPr>
        <p:txBody>
          <a:bodyPr anchor="t">
            <a:noAutofit/>
          </a:bodyPr>
          <a:lstStyle>
            <a:lvl1pPr marL="0" indent="0">
              <a:lnSpc>
                <a:spcPct val="85000"/>
              </a:lnSpc>
              <a:spcBef>
                <a:spcPts val="0"/>
              </a:spcBef>
              <a:buNone/>
              <a:defRPr sz="3600" spc="40" baseline="0">
                <a:solidFill>
                  <a:schemeClr val="tx2"/>
                </a:solidFill>
              </a:defRPr>
            </a:lvl1pPr>
          </a:lstStyle>
          <a:p>
            <a:pPr lvl="0"/>
            <a:r>
              <a:rPr lang="nb-NO" noProof="0"/>
              <a:t>Klikk for å legge til en overskrift på maksimalt to linjer
</a:t>
            </a:r>
            <a:endParaRPr lang="en-US" noProof="0"/>
          </a:p>
        </p:txBody>
      </p:sp>
      <p:grpSp>
        <p:nvGrpSpPr>
          <p:cNvPr id="23" name="Grupp 32">
            <a:extLst>
              <a:ext uri="{FF2B5EF4-FFF2-40B4-BE49-F238E27FC236}">
                <a16:creationId xmlns:a16="http://schemas.microsoft.com/office/drawing/2014/main" id="{8B03C48B-F907-BE43-A494-AFCA1EC37F3F}"/>
              </a:ext>
            </a:extLst>
          </p:cNvPr>
          <p:cNvGrpSpPr/>
          <p:nvPr userDrawn="1"/>
        </p:nvGrpSpPr>
        <p:grpSpPr>
          <a:xfrm>
            <a:off x="576140" y="6451484"/>
            <a:ext cx="615478" cy="91194"/>
            <a:chOff x="576140" y="6451484"/>
            <a:chExt cx="615478" cy="91194"/>
          </a:xfrm>
          <a:solidFill>
            <a:schemeClr val="tx2"/>
          </a:solidFill>
        </p:grpSpPr>
        <p:sp>
          <p:nvSpPr>
            <p:cNvPr id="24" name="Bild 2">
              <a:extLst>
                <a:ext uri="{FF2B5EF4-FFF2-40B4-BE49-F238E27FC236}">
                  <a16:creationId xmlns:a16="http://schemas.microsoft.com/office/drawing/2014/main" id="{539AD44F-4AF2-FF4F-9D06-17E1A4C28BBE}"/>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noProof="0">
                <a:solidFill>
                  <a:schemeClr val="tx2"/>
                </a:solidFill>
              </a:endParaRPr>
            </a:p>
          </p:txBody>
        </p:sp>
        <p:sp>
          <p:nvSpPr>
            <p:cNvPr id="25" name="Bild 2">
              <a:extLst>
                <a:ext uri="{FF2B5EF4-FFF2-40B4-BE49-F238E27FC236}">
                  <a16:creationId xmlns:a16="http://schemas.microsoft.com/office/drawing/2014/main" id="{5BE09178-ECA8-844A-B048-00F09827D6AE}"/>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6" name="Bild 2">
              <a:extLst>
                <a:ext uri="{FF2B5EF4-FFF2-40B4-BE49-F238E27FC236}">
                  <a16:creationId xmlns:a16="http://schemas.microsoft.com/office/drawing/2014/main" id="{2869571E-38AE-8E44-A360-01C17E6F98BD}"/>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27" name="Bild 2">
              <a:extLst>
                <a:ext uri="{FF2B5EF4-FFF2-40B4-BE49-F238E27FC236}">
                  <a16:creationId xmlns:a16="http://schemas.microsoft.com/office/drawing/2014/main" id="{BA7F8BE0-BC77-6840-BE67-8B740867F3BD}"/>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8" name="Bild 2">
              <a:extLst>
                <a:ext uri="{FF2B5EF4-FFF2-40B4-BE49-F238E27FC236}">
                  <a16:creationId xmlns:a16="http://schemas.microsoft.com/office/drawing/2014/main" id="{244CF4A3-7B1A-3C41-94CF-1DA929D1D49B}"/>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noProof="0">
                <a:solidFill>
                  <a:schemeClr val="tx2"/>
                </a:solidFill>
              </a:endParaRPr>
            </a:p>
          </p:txBody>
        </p:sp>
        <p:sp>
          <p:nvSpPr>
            <p:cNvPr id="29" name="Bild 2">
              <a:extLst>
                <a:ext uri="{FF2B5EF4-FFF2-40B4-BE49-F238E27FC236}">
                  <a16:creationId xmlns:a16="http://schemas.microsoft.com/office/drawing/2014/main" id="{9B4D778E-499D-4744-AC87-93ABFC8BAD18}"/>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30" name="Bild 2">
              <a:extLst>
                <a:ext uri="{FF2B5EF4-FFF2-40B4-BE49-F238E27FC236}">
                  <a16:creationId xmlns:a16="http://schemas.microsoft.com/office/drawing/2014/main" id="{15D52584-E231-3B47-A1E3-E875B68A82BF}"/>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grpSp>
      <p:sp>
        <p:nvSpPr>
          <p:cNvPr id="15" name="Platshållare för text 2">
            <a:extLst>
              <a:ext uri="{FF2B5EF4-FFF2-40B4-BE49-F238E27FC236}">
                <a16:creationId xmlns:a16="http://schemas.microsoft.com/office/drawing/2014/main" id="{F71CA44B-A516-DE48-8E00-49E05D1465C6}"/>
              </a:ext>
            </a:extLst>
          </p:cNvPr>
          <p:cNvSpPr>
            <a:spLocks noGrp="1"/>
          </p:cNvSpPr>
          <p:nvPr>
            <p:ph type="body" sz="quarter" idx="20" hasCustomPrompt="1"/>
          </p:nvPr>
        </p:nvSpPr>
        <p:spPr>
          <a:xfrm>
            <a:off x="576000" y="2098800"/>
            <a:ext cx="11039738" cy="4030663"/>
          </a:xfrm>
        </p:spPr>
        <p:txBody>
          <a:bodyPr numCol="3" spcCol="288000"/>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nb-NO" noProof="0"/>
              <a:t>Klikk for å legge til brødtekst
</a:t>
            </a:r>
            <a:r>
              <a:rPr lang="en-US" noProof="0"/>
              <a:t>Second level</a:t>
            </a:r>
          </a:p>
          <a:p>
            <a:pPr lvl="2"/>
            <a:r>
              <a:rPr lang="en-US" noProof="0"/>
              <a:t>Third level</a:t>
            </a:r>
          </a:p>
          <a:p>
            <a:pPr lvl="3"/>
            <a:r>
              <a:rPr lang="en-US" noProof="0"/>
              <a:t>Fourth level</a:t>
            </a:r>
          </a:p>
          <a:p>
            <a:pPr lvl="4"/>
            <a:r>
              <a:rPr lang="en-US" noProof="0"/>
              <a:t>Fifth level</a:t>
            </a:r>
          </a:p>
        </p:txBody>
      </p:sp>
      <p:sp>
        <p:nvSpPr>
          <p:cNvPr id="16" name="Platshållare för datum 3">
            <a:extLst>
              <a:ext uri="{FF2B5EF4-FFF2-40B4-BE49-F238E27FC236}">
                <a16:creationId xmlns:a16="http://schemas.microsoft.com/office/drawing/2014/main" id="{40AB4C1F-C62F-D344-BB18-CBAD42AEB614}"/>
              </a:ext>
            </a:extLst>
          </p:cNvPr>
          <p:cNvSpPr>
            <a:spLocks noGrp="1"/>
          </p:cNvSpPr>
          <p:nvPr>
            <p:ph type="dt" sz="half" idx="2"/>
          </p:nvPr>
        </p:nvSpPr>
        <p:spPr>
          <a:xfrm>
            <a:off x="2185246" y="6454800"/>
            <a:ext cx="1878120" cy="112593"/>
          </a:xfrm>
          <a:prstGeom prst="rect">
            <a:avLst/>
          </a:prstGeom>
        </p:spPr>
        <p:txBody>
          <a:bodyPr vert="horz" lIns="0" tIns="0" rIns="0" bIns="0" rtlCol="0" anchor="ctr"/>
          <a:lstStyle>
            <a:lvl1pPr algn="l">
              <a:defRPr sz="800">
                <a:solidFill>
                  <a:schemeClr val="tx2"/>
                </a:solidFill>
              </a:defRPr>
            </a:lvl1pPr>
          </a:lstStyle>
          <a:p>
            <a:fld id="{F3C791CE-D6E2-4534-B521-A80896B3C540}" type="datetime1">
              <a:rPr lang="nb-NO" smtClean="0"/>
              <a:t>17.10.2023</a:t>
            </a:fld>
            <a:endParaRPr lang="en-US"/>
          </a:p>
        </p:txBody>
      </p:sp>
      <p:sp>
        <p:nvSpPr>
          <p:cNvPr id="17" name="Platshållare för sidfot 4">
            <a:extLst>
              <a:ext uri="{FF2B5EF4-FFF2-40B4-BE49-F238E27FC236}">
                <a16:creationId xmlns:a16="http://schemas.microsoft.com/office/drawing/2014/main" id="{26C7CC11-AD44-1A47-A33A-8F1F09EB7CCB}"/>
              </a:ext>
            </a:extLst>
          </p:cNvPr>
          <p:cNvSpPr>
            <a:spLocks noGrp="1"/>
          </p:cNvSpPr>
          <p:nvPr>
            <p:ph type="ftr" sz="quarter" idx="3"/>
          </p:nvPr>
        </p:nvSpPr>
        <p:spPr>
          <a:xfrm>
            <a:off x="4359276" y="6454800"/>
            <a:ext cx="3470274" cy="112593"/>
          </a:xfrm>
          <a:prstGeom prst="rect">
            <a:avLst/>
          </a:prstGeom>
        </p:spPr>
        <p:txBody>
          <a:bodyPr vert="horz" lIns="0" tIns="0" rIns="0" bIns="0" rtlCol="0" anchor="ctr"/>
          <a:lstStyle>
            <a:lvl1pPr algn="l">
              <a:defRPr sz="800">
                <a:solidFill>
                  <a:schemeClr val="tx2"/>
                </a:solidFill>
              </a:defRPr>
            </a:lvl1pPr>
          </a:lstStyle>
          <a:p>
            <a:r>
              <a:rPr lang="en-US" noProof="0"/>
              <a:t>Gå til topp- og bunntekst for å endre tekst</a:t>
            </a:r>
          </a:p>
        </p:txBody>
      </p:sp>
      <p:sp>
        <p:nvSpPr>
          <p:cNvPr id="18" name="Platshållare för bildnummer 5">
            <a:extLst>
              <a:ext uri="{FF2B5EF4-FFF2-40B4-BE49-F238E27FC236}">
                <a16:creationId xmlns:a16="http://schemas.microsoft.com/office/drawing/2014/main" id="{B3C84E5A-416A-9244-B02C-1271088F5D90}"/>
              </a:ext>
            </a:extLst>
          </p:cNvPr>
          <p:cNvSpPr>
            <a:spLocks noGrp="1"/>
          </p:cNvSpPr>
          <p:nvPr>
            <p:ph type="sldNum" sz="quarter" idx="4"/>
          </p:nvPr>
        </p:nvSpPr>
        <p:spPr>
          <a:xfrm>
            <a:off x="10013315" y="6454800"/>
            <a:ext cx="1590676" cy="112593"/>
          </a:xfrm>
          <a:prstGeom prst="rect">
            <a:avLst/>
          </a:prstGeom>
        </p:spPr>
        <p:txBody>
          <a:bodyPr vert="horz" lIns="0" tIns="0" rIns="0" bIns="0" rtlCol="0" anchor="ctr"/>
          <a:lstStyle>
            <a:lvl1pPr algn="r">
              <a:defRPr sz="800">
                <a:solidFill>
                  <a:schemeClr val="tx2"/>
                </a:solidFill>
              </a:defRPr>
            </a:lvl1pPr>
          </a:lstStyle>
          <a:p>
            <a:fld id="{EF8DBD5B-30F9-4F9C-AE39-E065C1AC514D}" type="slidenum">
              <a:rPr lang="en-US" smtClean="0"/>
              <a:pPr/>
              <a:t>‹#›</a:t>
            </a:fld>
            <a:endParaRPr lang="en-US"/>
          </a:p>
        </p:txBody>
      </p:sp>
    </p:spTree>
    <p:extLst>
      <p:ext uri="{BB962C8B-B14F-4D97-AF65-F5344CB8AC3E}">
        <p14:creationId xmlns:p14="http://schemas.microsoft.com/office/powerpoint/2010/main" val="740858425"/>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Blank - hvit">
    <p:bg>
      <p:bgRef idx="1001">
        <a:schemeClr val="bg1"/>
      </p:bgRef>
    </p:bg>
    <p:spTree>
      <p:nvGrpSpPr>
        <p:cNvPr id="1" name=""/>
        <p:cNvGrpSpPr/>
        <p:nvPr/>
      </p:nvGrpSpPr>
      <p:grpSpPr>
        <a:xfrm>
          <a:off x="0" y="0"/>
          <a:ext cx="0" cy="0"/>
          <a:chOff x="0" y="0"/>
          <a:chExt cx="0" cy="0"/>
        </a:xfrm>
      </p:grpSpPr>
      <p:sp>
        <p:nvSpPr>
          <p:cNvPr id="2" name="Platshållare för datum 3">
            <a:extLst>
              <a:ext uri="{FF2B5EF4-FFF2-40B4-BE49-F238E27FC236}">
                <a16:creationId xmlns:a16="http://schemas.microsoft.com/office/drawing/2014/main" id="{25CC405D-8498-714E-B2F7-E928AEECE0D3}"/>
              </a:ext>
            </a:extLst>
          </p:cNvPr>
          <p:cNvSpPr>
            <a:spLocks noGrp="1"/>
          </p:cNvSpPr>
          <p:nvPr>
            <p:ph type="dt" sz="half" idx="2"/>
          </p:nvPr>
        </p:nvSpPr>
        <p:spPr>
          <a:xfrm>
            <a:off x="2185246" y="6454800"/>
            <a:ext cx="1878120" cy="112593"/>
          </a:xfrm>
          <a:prstGeom prst="rect">
            <a:avLst/>
          </a:prstGeom>
        </p:spPr>
        <p:txBody>
          <a:bodyPr vert="horz" lIns="0" tIns="0" rIns="0" bIns="0" rtlCol="0" anchor="ctr"/>
          <a:lstStyle>
            <a:lvl1pPr algn="l">
              <a:defRPr sz="800">
                <a:solidFill>
                  <a:schemeClr val="tx2"/>
                </a:solidFill>
              </a:defRPr>
            </a:lvl1pPr>
          </a:lstStyle>
          <a:p>
            <a:fld id="{273272EF-1ADA-41A8-8550-ED27F9F9F6C8}" type="datetime1">
              <a:rPr lang="nb-NO" noProof="0" smtClean="0"/>
              <a:t>17.10.2023</a:t>
            </a:fld>
            <a:endParaRPr lang="en-US" noProof="0"/>
          </a:p>
        </p:txBody>
      </p:sp>
      <p:sp>
        <p:nvSpPr>
          <p:cNvPr id="3" name="Platshållare för sidfot 4">
            <a:extLst>
              <a:ext uri="{FF2B5EF4-FFF2-40B4-BE49-F238E27FC236}">
                <a16:creationId xmlns:a16="http://schemas.microsoft.com/office/drawing/2014/main" id="{B5435A3C-88FA-D846-9506-F253318AEBC7}"/>
              </a:ext>
            </a:extLst>
          </p:cNvPr>
          <p:cNvSpPr>
            <a:spLocks noGrp="1"/>
          </p:cNvSpPr>
          <p:nvPr>
            <p:ph type="ftr" sz="quarter" idx="3"/>
          </p:nvPr>
        </p:nvSpPr>
        <p:spPr>
          <a:xfrm>
            <a:off x="4359276" y="6454800"/>
            <a:ext cx="3470274" cy="112593"/>
          </a:xfrm>
          <a:prstGeom prst="rect">
            <a:avLst/>
          </a:prstGeom>
        </p:spPr>
        <p:txBody>
          <a:bodyPr vert="horz" lIns="0" tIns="0" rIns="0" bIns="0" rtlCol="0" anchor="ctr"/>
          <a:lstStyle>
            <a:lvl1pPr algn="l">
              <a:defRPr sz="800">
                <a:solidFill>
                  <a:schemeClr val="tx2"/>
                </a:solidFill>
              </a:defRPr>
            </a:lvl1pPr>
          </a:lstStyle>
          <a:p>
            <a:r>
              <a:rPr lang="en-US" noProof="0"/>
              <a:t>Gå til topp- og bunntekst for å endre tekst</a:t>
            </a:r>
          </a:p>
        </p:txBody>
      </p:sp>
      <p:sp>
        <p:nvSpPr>
          <p:cNvPr id="4" name="Platshållare för bildnummer 5">
            <a:extLst>
              <a:ext uri="{FF2B5EF4-FFF2-40B4-BE49-F238E27FC236}">
                <a16:creationId xmlns:a16="http://schemas.microsoft.com/office/drawing/2014/main" id="{B7AF931E-E5C1-9944-83DE-D94C8A4F3F5D}"/>
              </a:ext>
            </a:extLst>
          </p:cNvPr>
          <p:cNvSpPr>
            <a:spLocks noGrp="1"/>
          </p:cNvSpPr>
          <p:nvPr>
            <p:ph type="sldNum" sz="quarter" idx="4"/>
          </p:nvPr>
        </p:nvSpPr>
        <p:spPr>
          <a:xfrm>
            <a:off x="10013315" y="6454800"/>
            <a:ext cx="1590676" cy="112593"/>
          </a:xfrm>
          <a:prstGeom prst="rect">
            <a:avLst/>
          </a:prstGeom>
        </p:spPr>
        <p:txBody>
          <a:bodyPr vert="horz" lIns="0" tIns="0" rIns="0" bIns="0" rtlCol="0" anchor="ctr"/>
          <a:lstStyle>
            <a:lvl1pPr algn="r">
              <a:defRPr sz="800">
                <a:solidFill>
                  <a:schemeClr val="tx2"/>
                </a:solidFill>
              </a:defRPr>
            </a:lvl1pPr>
          </a:lstStyle>
          <a:p>
            <a:fld id="{EF8DBD5B-30F9-4F9C-AE39-E065C1AC514D}" type="slidenum">
              <a:rPr lang="en-US" noProof="0" smtClean="0"/>
              <a:pPr/>
              <a:t>‹#›</a:t>
            </a:fld>
            <a:endParaRPr lang="en-US" noProof="0"/>
          </a:p>
        </p:txBody>
      </p:sp>
    </p:spTree>
    <p:extLst>
      <p:ext uri="{BB962C8B-B14F-4D97-AF65-F5344CB8AC3E}">
        <p14:creationId xmlns:p14="http://schemas.microsoft.com/office/powerpoint/2010/main" val="29458150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 Title Start Gray">
    <p:spTree>
      <p:nvGrpSpPr>
        <p:cNvPr id="1" name=""/>
        <p:cNvGrpSpPr/>
        <p:nvPr/>
      </p:nvGrpSpPr>
      <p:grpSpPr>
        <a:xfrm>
          <a:off x="0" y="0"/>
          <a:ext cx="0" cy="0"/>
          <a:chOff x="0" y="0"/>
          <a:chExt cx="0" cy="0"/>
        </a:xfrm>
      </p:grpSpPr>
      <p:grpSp>
        <p:nvGrpSpPr>
          <p:cNvPr id="8" name="Grupp 12">
            <a:extLst>
              <a:ext uri="{FF2B5EF4-FFF2-40B4-BE49-F238E27FC236}">
                <a16:creationId xmlns:a16="http://schemas.microsoft.com/office/drawing/2014/main" id="{020B7E71-8C9B-5242-B01F-6CA360F416B2}"/>
              </a:ext>
            </a:extLst>
          </p:cNvPr>
          <p:cNvGrpSpPr/>
          <p:nvPr userDrawn="1"/>
        </p:nvGrpSpPr>
        <p:grpSpPr>
          <a:xfrm>
            <a:off x="576139" y="356679"/>
            <a:ext cx="1060123" cy="157076"/>
            <a:chOff x="576140" y="6451484"/>
            <a:chExt cx="615478" cy="91194"/>
          </a:xfrm>
          <a:solidFill>
            <a:schemeClr val="tx2"/>
          </a:solidFill>
        </p:grpSpPr>
        <p:sp>
          <p:nvSpPr>
            <p:cNvPr id="9" name="Bild 2">
              <a:extLst>
                <a:ext uri="{FF2B5EF4-FFF2-40B4-BE49-F238E27FC236}">
                  <a16:creationId xmlns:a16="http://schemas.microsoft.com/office/drawing/2014/main" id="{6318E37B-AA14-0649-9DA7-69211BFB17CA}"/>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noProof="0">
                <a:solidFill>
                  <a:schemeClr val="tx2"/>
                </a:solidFill>
              </a:endParaRPr>
            </a:p>
          </p:txBody>
        </p:sp>
        <p:sp>
          <p:nvSpPr>
            <p:cNvPr id="10" name="Bild 2">
              <a:extLst>
                <a:ext uri="{FF2B5EF4-FFF2-40B4-BE49-F238E27FC236}">
                  <a16:creationId xmlns:a16="http://schemas.microsoft.com/office/drawing/2014/main" id="{32E1F09D-ED0C-DE46-9B1B-B9E26DF0BD30}"/>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noProof="0">
                <a:solidFill>
                  <a:schemeClr val="tx2"/>
                </a:solidFill>
              </a:endParaRPr>
            </a:p>
          </p:txBody>
        </p:sp>
        <p:sp>
          <p:nvSpPr>
            <p:cNvPr id="11" name="Bild 2">
              <a:extLst>
                <a:ext uri="{FF2B5EF4-FFF2-40B4-BE49-F238E27FC236}">
                  <a16:creationId xmlns:a16="http://schemas.microsoft.com/office/drawing/2014/main" id="{3CA8F4F3-6275-ED44-8BB0-3552187481D5}"/>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12" name="Bild 2">
              <a:extLst>
                <a:ext uri="{FF2B5EF4-FFF2-40B4-BE49-F238E27FC236}">
                  <a16:creationId xmlns:a16="http://schemas.microsoft.com/office/drawing/2014/main" id="{9CDD8FD0-0EEC-FF4A-887F-3DDDEE806432}"/>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sp>
          <p:nvSpPr>
            <p:cNvPr id="13" name="Bild 2">
              <a:extLst>
                <a:ext uri="{FF2B5EF4-FFF2-40B4-BE49-F238E27FC236}">
                  <a16:creationId xmlns:a16="http://schemas.microsoft.com/office/drawing/2014/main" id="{6CFB5C2E-2D79-B54B-B355-1FAC5B95A304}"/>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noProof="0">
                <a:solidFill>
                  <a:schemeClr val="tx2"/>
                </a:solidFill>
              </a:endParaRPr>
            </a:p>
          </p:txBody>
        </p:sp>
        <p:sp>
          <p:nvSpPr>
            <p:cNvPr id="14" name="Bild 2">
              <a:extLst>
                <a:ext uri="{FF2B5EF4-FFF2-40B4-BE49-F238E27FC236}">
                  <a16:creationId xmlns:a16="http://schemas.microsoft.com/office/drawing/2014/main" id="{A94DC018-4855-8D4B-9A15-FEB331F2E3F7}"/>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15" name="Bild 2">
              <a:extLst>
                <a:ext uri="{FF2B5EF4-FFF2-40B4-BE49-F238E27FC236}">
                  <a16:creationId xmlns:a16="http://schemas.microsoft.com/office/drawing/2014/main" id="{8C343B86-2555-6D48-AE8D-2ACDF160AD2F}"/>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grpSp>
      <p:sp>
        <p:nvSpPr>
          <p:cNvPr id="16" name="Text Placeholder 18">
            <a:extLst>
              <a:ext uri="{FF2B5EF4-FFF2-40B4-BE49-F238E27FC236}">
                <a16:creationId xmlns:a16="http://schemas.microsoft.com/office/drawing/2014/main" id="{24922639-C89C-B84A-AA5D-5F56DD1D1156}"/>
              </a:ext>
            </a:extLst>
          </p:cNvPr>
          <p:cNvSpPr>
            <a:spLocks noGrp="1"/>
          </p:cNvSpPr>
          <p:nvPr>
            <p:ph type="body" sz="quarter" idx="14" hasCustomPrompt="1"/>
          </p:nvPr>
        </p:nvSpPr>
        <p:spPr>
          <a:xfrm>
            <a:off x="576000" y="1845591"/>
            <a:ext cx="5665788" cy="1903912"/>
          </a:xfrm>
          <a:prstGeom prst="rect">
            <a:avLst/>
          </a:prstGeom>
        </p:spPr>
        <p:txBody>
          <a:bodyPr anchor="b">
            <a:noAutofit/>
          </a:bodyPr>
          <a:lstStyle>
            <a:lvl1pPr marL="0" indent="0">
              <a:lnSpc>
                <a:spcPct val="85000"/>
              </a:lnSpc>
              <a:spcBef>
                <a:spcPts val="0"/>
              </a:spcBef>
              <a:buNone/>
              <a:defRPr sz="4200" spc="40" baseline="0">
                <a:solidFill>
                  <a:schemeClr val="accent1"/>
                </a:solidFill>
                <a:latin typeface="+mj-lt"/>
              </a:defRPr>
            </a:lvl1pPr>
          </a:lstStyle>
          <a:p>
            <a:pPr lvl="0"/>
            <a:r>
              <a:rPr lang="en-US" noProof="0"/>
              <a:t>Click to add a headline </a:t>
            </a:r>
            <a:br>
              <a:rPr lang="en-US" noProof="0"/>
            </a:br>
            <a:r>
              <a:rPr lang="en-US" noProof="0"/>
              <a:t>of maximum two lines</a:t>
            </a:r>
          </a:p>
        </p:txBody>
      </p:sp>
      <p:sp>
        <p:nvSpPr>
          <p:cNvPr id="17" name="Text Placeholder 18">
            <a:extLst>
              <a:ext uri="{FF2B5EF4-FFF2-40B4-BE49-F238E27FC236}">
                <a16:creationId xmlns:a16="http://schemas.microsoft.com/office/drawing/2014/main" id="{13062C08-0B1B-AD44-AD72-AA0948D72B37}"/>
              </a:ext>
            </a:extLst>
          </p:cNvPr>
          <p:cNvSpPr>
            <a:spLocks noGrp="1"/>
          </p:cNvSpPr>
          <p:nvPr>
            <p:ph type="body" sz="quarter" idx="15" hasCustomPrompt="1"/>
          </p:nvPr>
        </p:nvSpPr>
        <p:spPr>
          <a:xfrm>
            <a:off x="576000" y="3915585"/>
            <a:ext cx="3773171" cy="646331"/>
          </a:xfrm>
          <a:prstGeom prst="rect">
            <a:avLst/>
          </a:prstGeom>
        </p:spPr>
        <p:txBody>
          <a:bodyPr anchor="t">
            <a:noAutofit/>
          </a:bodyPr>
          <a:lstStyle>
            <a:lvl1pPr marL="0" indent="0">
              <a:lnSpc>
                <a:spcPct val="100000"/>
              </a:lnSpc>
              <a:spcBef>
                <a:spcPts val="0"/>
              </a:spcBef>
              <a:buNone/>
              <a:defRPr sz="1400" spc="70" baseline="0">
                <a:solidFill>
                  <a:schemeClr val="accent1"/>
                </a:solidFill>
              </a:defRPr>
            </a:lvl1pPr>
          </a:lstStyle>
          <a:p>
            <a:pPr lvl="0"/>
            <a:r>
              <a:rPr lang="en-US" noProof="0"/>
              <a:t>Click to add name </a:t>
            </a:r>
            <a:br>
              <a:rPr lang="en-US" noProof="0"/>
            </a:br>
            <a:r>
              <a:rPr lang="en-US" noProof="0"/>
              <a:t>Title, Business Unit</a:t>
            </a:r>
          </a:p>
          <a:p>
            <a:pPr lvl="0"/>
            <a:r>
              <a:rPr lang="en-US" noProof="0"/>
              <a:t>And Date</a:t>
            </a:r>
          </a:p>
        </p:txBody>
      </p:sp>
      <p:sp>
        <p:nvSpPr>
          <p:cNvPr id="18" name="Platshållare för datum 3">
            <a:extLst>
              <a:ext uri="{FF2B5EF4-FFF2-40B4-BE49-F238E27FC236}">
                <a16:creationId xmlns:a16="http://schemas.microsoft.com/office/drawing/2014/main" id="{24313DCE-7C7B-BE47-B236-12335E1BB94B}"/>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tx2"/>
                </a:solidFill>
              </a:defRPr>
            </a:lvl1pPr>
          </a:lstStyle>
          <a:p>
            <a:fld id="{2F9806AD-009B-8D45-82A9-B9E8234B6322}" type="datetime1">
              <a:rPr lang="en-US" noProof="0" smtClean="0"/>
              <a:t>10/17/2023</a:t>
            </a:fld>
            <a:endParaRPr lang="en-US" noProof="0"/>
          </a:p>
        </p:txBody>
      </p:sp>
      <p:sp>
        <p:nvSpPr>
          <p:cNvPr id="19" name="Platshållare för sidfot 4">
            <a:extLst>
              <a:ext uri="{FF2B5EF4-FFF2-40B4-BE49-F238E27FC236}">
                <a16:creationId xmlns:a16="http://schemas.microsoft.com/office/drawing/2014/main" id="{C8598061-D3AB-104D-BCB1-F1F63C9D15AC}"/>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tx2"/>
                </a:solidFill>
              </a:defRPr>
            </a:lvl1pPr>
          </a:lstStyle>
          <a:p>
            <a:r>
              <a:rPr lang="en-US" noProof="0"/>
              <a:t>Go to header/footer to change text </a:t>
            </a:r>
          </a:p>
        </p:txBody>
      </p:sp>
      <p:sp>
        <p:nvSpPr>
          <p:cNvPr id="20" name="Platshållare för bildnummer 5">
            <a:extLst>
              <a:ext uri="{FF2B5EF4-FFF2-40B4-BE49-F238E27FC236}">
                <a16:creationId xmlns:a16="http://schemas.microsoft.com/office/drawing/2014/main" id="{AA379A6C-78A7-5146-80E3-D2B5A4DC31CD}"/>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tx2"/>
                </a:solidFill>
              </a:defRPr>
            </a:lvl1pPr>
          </a:lstStyle>
          <a:p>
            <a:fld id="{EF8DBD5B-30F9-4F9C-AE39-E065C1AC514D}" type="slidenum">
              <a:rPr lang="en-US" noProof="0" smtClean="0"/>
              <a:pPr/>
              <a:t>‹#›</a:t>
            </a:fld>
            <a:endParaRPr lang="en-US" noProof="0"/>
          </a:p>
        </p:txBody>
      </p:sp>
    </p:spTree>
    <p:extLst>
      <p:ext uri="{BB962C8B-B14F-4D97-AF65-F5344CB8AC3E}">
        <p14:creationId xmlns:p14="http://schemas.microsoft.com/office/powerpoint/2010/main" val="336783913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4 Diagram Bild">
    <p:bg>
      <p:bgRef idx="1001">
        <a:schemeClr val="bg1"/>
      </p:bgRef>
    </p:bg>
    <p:spTree>
      <p:nvGrpSpPr>
        <p:cNvPr id="1" name=""/>
        <p:cNvGrpSpPr/>
        <p:nvPr/>
      </p:nvGrpSpPr>
      <p:grpSpPr>
        <a:xfrm>
          <a:off x="0" y="0"/>
          <a:ext cx="0" cy="0"/>
          <a:chOff x="0" y="0"/>
          <a:chExt cx="0" cy="0"/>
        </a:xfrm>
      </p:grpSpPr>
      <p:sp>
        <p:nvSpPr>
          <p:cNvPr id="23" name="Picture Placeholder 10">
            <a:extLst>
              <a:ext uri="{FF2B5EF4-FFF2-40B4-BE49-F238E27FC236}">
                <a16:creationId xmlns:a16="http://schemas.microsoft.com/office/drawing/2014/main" id="{86E476F6-89CC-3C44-93CC-6B5D2DF6CACA}"/>
              </a:ext>
            </a:extLst>
          </p:cNvPr>
          <p:cNvSpPr>
            <a:spLocks noGrp="1"/>
          </p:cNvSpPr>
          <p:nvPr>
            <p:ph type="pic" sz="quarter" idx="18" hasCustomPrompt="1"/>
          </p:nvPr>
        </p:nvSpPr>
        <p:spPr>
          <a:xfrm>
            <a:off x="8128000" y="0"/>
            <a:ext cx="4062411" cy="6857997"/>
          </a:xfrm>
          <a:custGeom>
            <a:avLst/>
            <a:gdLst>
              <a:gd name="connsiteX0" fmla="*/ 0 w 6095997"/>
              <a:gd name="connsiteY0" fmla="*/ 0 h 6857997"/>
              <a:gd name="connsiteX1" fmla="*/ 6095997 w 6095997"/>
              <a:gd name="connsiteY1" fmla="*/ 0 h 6857997"/>
              <a:gd name="connsiteX2" fmla="*/ 6095997 w 6095997"/>
              <a:gd name="connsiteY2" fmla="*/ 3157535 h 6857997"/>
              <a:gd name="connsiteX3" fmla="*/ 6095997 w 6095997"/>
              <a:gd name="connsiteY3" fmla="*/ 3428998 h 6857997"/>
              <a:gd name="connsiteX4" fmla="*/ 6095997 w 6095997"/>
              <a:gd name="connsiteY4" fmla="*/ 6857997 h 6857997"/>
              <a:gd name="connsiteX5" fmla="*/ 0 w 6095997"/>
              <a:gd name="connsiteY5" fmla="*/ 6857997 h 6857997"/>
              <a:gd name="connsiteX6" fmla="*/ 0 w 6095997"/>
              <a:gd name="connsiteY6" fmla="*/ 3428998 h 6857997"/>
              <a:gd name="connsiteX7" fmla="*/ 0 w 6095997"/>
              <a:gd name="connsiteY7" fmla="*/ 3157535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5997" h="6857997">
                <a:moveTo>
                  <a:pt x="0" y="0"/>
                </a:moveTo>
                <a:lnTo>
                  <a:pt x="6095997" y="0"/>
                </a:lnTo>
                <a:lnTo>
                  <a:pt x="6095997" y="3157535"/>
                </a:lnTo>
                <a:lnTo>
                  <a:pt x="6095997" y="3428998"/>
                </a:lnTo>
                <a:lnTo>
                  <a:pt x="6095997" y="6857997"/>
                </a:lnTo>
                <a:lnTo>
                  <a:pt x="0" y="6857997"/>
                </a:lnTo>
                <a:lnTo>
                  <a:pt x="0" y="3428998"/>
                </a:lnTo>
                <a:lnTo>
                  <a:pt x="0" y="3157535"/>
                </a:lnTo>
                <a:close/>
              </a:path>
            </a:pathLst>
          </a:custGeom>
          <a:solidFill>
            <a:schemeClr val="accent6"/>
          </a:solidFill>
        </p:spPr>
        <p:txBody>
          <a:bodyPr wrap="square" lIns="36000" tIns="36000" rIns="36000" bIns="36000">
            <a:noAutofit/>
          </a:bodyPr>
          <a:lstStyle>
            <a:lvl1pPr marL="0" indent="0" algn="ctr">
              <a:buNone/>
              <a:defRPr sz="1300">
                <a:solidFill>
                  <a:schemeClr val="bg1"/>
                </a:solidFill>
              </a:defRPr>
            </a:lvl1pPr>
          </a:lstStyle>
          <a:p>
            <a:r>
              <a:rPr lang="en-US" noProof="0"/>
              <a:t>Click on the icon to add an image</a:t>
            </a:r>
          </a:p>
        </p:txBody>
      </p:sp>
      <p:sp>
        <p:nvSpPr>
          <p:cNvPr id="19" name="Text Placeholder 18">
            <a:extLst>
              <a:ext uri="{FF2B5EF4-FFF2-40B4-BE49-F238E27FC236}">
                <a16:creationId xmlns:a16="http://schemas.microsoft.com/office/drawing/2014/main" id="{696CCD45-BBC3-4242-B2B8-F5604A1D97BB}"/>
              </a:ext>
            </a:extLst>
          </p:cNvPr>
          <p:cNvSpPr>
            <a:spLocks noGrp="1"/>
          </p:cNvSpPr>
          <p:nvPr>
            <p:ph type="body" sz="quarter" idx="14" hasCustomPrompt="1"/>
          </p:nvPr>
        </p:nvSpPr>
        <p:spPr>
          <a:xfrm>
            <a:off x="576001" y="720001"/>
            <a:ext cx="7253551" cy="860400"/>
          </a:xfrm>
          <a:prstGeom prst="rect">
            <a:avLst/>
          </a:prstGeom>
        </p:spPr>
        <p:txBody>
          <a:bodyPr anchor="t">
            <a:noAutofit/>
          </a:bodyPr>
          <a:lstStyle>
            <a:lvl1pPr marL="0" indent="0">
              <a:lnSpc>
                <a:spcPct val="85000"/>
              </a:lnSpc>
              <a:spcBef>
                <a:spcPts val="0"/>
              </a:spcBef>
              <a:buNone/>
              <a:defRPr sz="3600" spc="40" baseline="0">
                <a:solidFill>
                  <a:schemeClr val="tx2"/>
                </a:solidFill>
              </a:defRPr>
            </a:lvl1pPr>
          </a:lstStyle>
          <a:p>
            <a:pPr lvl="0"/>
            <a:r>
              <a:rPr lang="sv-SE" noProof="0"/>
              <a:t>Klicka för rubrik på maximalt två rader</a:t>
            </a:r>
          </a:p>
        </p:txBody>
      </p:sp>
      <p:sp>
        <p:nvSpPr>
          <p:cNvPr id="22" name="Chart Placeholder 4">
            <a:extLst>
              <a:ext uri="{FF2B5EF4-FFF2-40B4-BE49-F238E27FC236}">
                <a16:creationId xmlns:a16="http://schemas.microsoft.com/office/drawing/2014/main" id="{C3D3CB84-4C51-4944-9D93-F993A25F730B}"/>
              </a:ext>
            </a:extLst>
          </p:cNvPr>
          <p:cNvSpPr>
            <a:spLocks noGrp="1"/>
          </p:cNvSpPr>
          <p:nvPr>
            <p:ph type="chart" sz="quarter" idx="20" hasCustomPrompt="1"/>
          </p:nvPr>
        </p:nvSpPr>
        <p:spPr>
          <a:xfrm>
            <a:off x="576265" y="2098675"/>
            <a:ext cx="7253287" cy="4037487"/>
          </a:xfrm>
        </p:spPr>
        <p:txBody>
          <a:bodyPr/>
          <a:lstStyle>
            <a:lvl1pPr marL="12700" indent="0" algn="ctr">
              <a:buNone/>
              <a:defRPr sz="1300">
                <a:solidFill>
                  <a:schemeClr val="tx2"/>
                </a:solidFill>
              </a:defRPr>
            </a:lvl1pPr>
          </a:lstStyle>
          <a:p>
            <a:r>
              <a:rPr lang="sv-SE" noProof="0"/>
              <a:t>Klicka på ikonen för att infoga diagram</a:t>
            </a:r>
          </a:p>
        </p:txBody>
      </p:sp>
      <p:grpSp>
        <p:nvGrpSpPr>
          <p:cNvPr id="24" name="Grupp 32">
            <a:extLst>
              <a:ext uri="{FF2B5EF4-FFF2-40B4-BE49-F238E27FC236}">
                <a16:creationId xmlns:a16="http://schemas.microsoft.com/office/drawing/2014/main" id="{0166D808-3CB7-884E-95C7-EA74E9B4F048}"/>
              </a:ext>
            </a:extLst>
          </p:cNvPr>
          <p:cNvGrpSpPr/>
          <p:nvPr userDrawn="1"/>
        </p:nvGrpSpPr>
        <p:grpSpPr>
          <a:xfrm>
            <a:off x="576141" y="6451484"/>
            <a:ext cx="615479" cy="91195"/>
            <a:chOff x="576140" y="6451484"/>
            <a:chExt cx="615478" cy="91194"/>
          </a:xfrm>
          <a:solidFill>
            <a:schemeClr val="tx2"/>
          </a:solidFill>
        </p:grpSpPr>
        <p:sp>
          <p:nvSpPr>
            <p:cNvPr id="25" name="Bild 2">
              <a:extLst>
                <a:ext uri="{FF2B5EF4-FFF2-40B4-BE49-F238E27FC236}">
                  <a16:creationId xmlns:a16="http://schemas.microsoft.com/office/drawing/2014/main" id="{E6026D09-5D94-2047-81A1-BDED6F7CDCFD}"/>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sz="1400" noProof="0">
                <a:solidFill>
                  <a:schemeClr val="tx2"/>
                </a:solidFill>
              </a:endParaRPr>
            </a:p>
          </p:txBody>
        </p:sp>
        <p:sp>
          <p:nvSpPr>
            <p:cNvPr id="27" name="Bild 2">
              <a:extLst>
                <a:ext uri="{FF2B5EF4-FFF2-40B4-BE49-F238E27FC236}">
                  <a16:creationId xmlns:a16="http://schemas.microsoft.com/office/drawing/2014/main" id="{09D15658-F29E-EE41-AE3A-1E438ADAB93C}"/>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sz="1400" noProof="0">
                <a:solidFill>
                  <a:schemeClr val="tx2"/>
                </a:solidFill>
              </a:endParaRPr>
            </a:p>
          </p:txBody>
        </p:sp>
        <p:sp>
          <p:nvSpPr>
            <p:cNvPr id="28" name="Bild 2">
              <a:extLst>
                <a:ext uri="{FF2B5EF4-FFF2-40B4-BE49-F238E27FC236}">
                  <a16:creationId xmlns:a16="http://schemas.microsoft.com/office/drawing/2014/main" id="{9A3DDF5D-46F5-B344-8DAD-D5914874C3D5}"/>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sz="1400" noProof="0">
                <a:solidFill>
                  <a:schemeClr val="tx2"/>
                </a:solidFill>
              </a:endParaRPr>
            </a:p>
          </p:txBody>
        </p:sp>
        <p:sp>
          <p:nvSpPr>
            <p:cNvPr id="29" name="Bild 2">
              <a:extLst>
                <a:ext uri="{FF2B5EF4-FFF2-40B4-BE49-F238E27FC236}">
                  <a16:creationId xmlns:a16="http://schemas.microsoft.com/office/drawing/2014/main" id="{3A509201-ECF6-B64B-A0A7-231FAA504AB9}"/>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sz="1400" noProof="0">
                <a:solidFill>
                  <a:schemeClr val="tx2"/>
                </a:solidFill>
              </a:endParaRPr>
            </a:p>
          </p:txBody>
        </p:sp>
        <p:sp>
          <p:nvSpPr>
            <p:cNvPr id="30" name="Bild 2">
              <a:extLst>
                <a:ext uri="{FF2B5EF4-FFF2-40B4-BE49-F238E27FC236}">
                  <a16:creationId xmlns:a16="http://schemas.microsoft.com/office/drawing/2014/main" id="{A8421D0D-3339-7742-993A-EC5B51EBE591}"/>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sz="1400" noProof="0">
                <a:solidFill>
                  <a:schemeClr val="tx2"/>
                </a:solidFill>
              </a:endParaRPr>
            </a:p>
          </p:txBody>
        </p:sp>
        <p:sp>
          <p:nvSpPr>
            <p:cNvPr id="31" name="Bild 2">
              <a:extLst>
                <a:ext uri="{FF2B5EF4-FFF2-40B4-BE49-F238E27FC236}">
                  <a16:creationId xmlns:a16="http://schemas.microsoft.com/office/drawing/2014/main" id="{D82288C4-6EC8-9547-AC38-3AE9F31FE908}"/>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sz="1400" noProof="0">
                <a:solidFill>
                  <a:schemeClr val="tx2"/>
                </a:solidFill>
              </a:endParaRPr>
            </a:p>
          </p:txBody>
        </p:sp>
        <p:sp>
          <p:nvSpPr>
            <p:cNvPr id="32" name="Bild 2">
              <a:extLst>
                <a:ext uri="{FF2B5EF4-FFF2-40B4-BE49-F238E27FC236}">
                  <a16:creationId xmlns:a16="http://schemas.microsoft.com/office/drawing/2014/main" id="{66082E5D-4163-2F49-AA1C-B2405257920A}"/>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sz="1400" noProof="0">
                <a:solidFill>
                  <a:schemeClr val="tx2"/>
                </a:solidFill>
              </a:endParaRPr>
            </a:p>
          </p:txBody>
        </p:sp>
      </p:grpSp>
      <p:sp>
        <p:nvSpPr>
          <p:cNvPr id="16" name="Platshållare för datum 3">
            <a:extLst>
              <a:ext uri="{FF2B5EF4-FFF2-40B4-BE49-F238E27FC236}">
                <a16:creationId xmlns:a16="http://schemas.microsoft.com/office/drawing/2014/main" id="{8ADFF0B7-3A32-2C4B-BDF1-ECD3EE00D215}"/>
              </a:ext>
            </a:extLst>
          </p:cNvPr>
          <p:cNvSpPr>
            <a:spLocks noGrp="1"/>
          </p:cNvSpPr>
          <p:nvPr>
            <p:ph type="dt" sz="half" idx="2"/>
          </p:nvPr>
        </p:nvSpPr>
        <p:spPr>
          <a:xfrm>
            <a:off x="2185247" y="6454801"/>
            <a:ext cx="1878120" cy="112593"/>
          </a:xfrm>
          <a:prstGeom prst="rect">
            <a:avLst/>
          </a:prstGeom>
        </p:spPr>
        <p:txBody>
          <a:bodyPr vert="horz" lIns="0" tIns="0" rIns="0" bIns="0" rtlCol="0" anchor="b"/>
          <a:lstStyle>
            <a:lvl1pPr algn="l">
              <a:defRPr sz="800">
                <a:solidFill>
                  <a:schemeClr val="tx2"/>
                </a:solidFill>
              </a:defRPr>
            </a:lvl1pPr>
          </a:lstStyle>
          <a:p>
            <a:r>
              <a:rPr lang="sv-SE" noProof="0"/>
              <a:t>06/02/2023</a:t>
            </a:r>
            <a:endParaRPr lang="en-US" noProof="0"/>
          </a:p>
        </p:txBody>
      </p:sp>
      <p:sp>
        <p:nvSpPr>
          <p:cNvPr id="17" name="Platshållare för sidfot 4">
            <a:extLst>
              <a:ext uri="{FF2B5EF4-FFF2-40B4-BE49-F238E27FC236}">
                <a16:creationId xmlns:a16="http://schemas.microsoft.com/office/drawing/2014/main" id="{EEEE660B-80A1-2741-8402-38F2598A8CA3}"/>
              </a:ext>
            </a:extLst>
          </p:cNvPr>
          <p:cNvSpPr>
            <a:spLocks noGrp="1"/>
          </p:cNvSpPr>
          <p:nvPr>
            <p:ph type="ftr" sz="quarter" idx="3"/>
          </p:nvPr>
        </p:nvSpPr>
        <p:spPr>
          <a:xfrm>
            <a:off x="4359276" y="6454801"/>
            <a:ext cx="3470275" cy="112593"/>
          </a:xfrm>
          <a:prstGeom prst="rect">
            <a:avLst/>
          </a:prstGeom>
        </p:spPr>
        <p:txBody>
          <a:bodyPr vert="horz" lIns="0" tIns="0" rIns="0" bIns="0" rtlCol="0" anchor="b"/>
          <a:lstStyle>
            <a:lvl1pPr algn="l">
              <a:defRPr sz="800">
                <a:solidFill>
                  <a:schemeClr val="tx2"/>
                </a:solidFill>
              </a:defRPr>
            </a:lvl1pPr>
          </a:lstStyle>
          <a:p>
            <a:r>
              <a:rPr lang="en-US" noProof="0"/>
              <a:t>GLG call Feb 2023 WS climate targets</a:t>
            </a:r>
          </a:p>
        </p:txBody>
      </p:sp>
      <p:sp>
        <p:nvSpPr>
          <p:cNvPr id="18" name="Platshållare för bildnummer 5">
            <a:extLst>
              <a:ext uri="{FF2B5EF4-FFF2-40B4-BE49-F238E27FC236}">
                <a16:creationId xmlns:a16="http://schemas.microsoft.com/office/drawing/2014/main" id="{921A1170-AB66-574D-93A2-A29BD448CFD2}"/>
              </a:ext>
            </a:extLst>
          </p:cNvPr>
          <p:cNvSpPr>
            <a:spLocks noGrp="1"/>
          </p:cNvSpPr>
          <p:nvPr>
            <p:ph type="sldNum" sz="quarter" idx="4"/>
          </p:nvPr>
        </p:nvSpPr>
        <p:spPr>
          <a:xfrm>
            <a:off x="10013315" y="6454801"/>
            <a:ext cx="1590676" cy="112593"/>
          </a:xfrm>
          <a:prstGeom prst="rect">
            <a:avLst/>
          </a:prstGeom>
        </p:spPr>
        <p:txBody>
          <a:bodyPr vert="horz" lIns="0" tIns="0" rIns="0" bIns="0" rtlCol="0" anchor="b"/>
          <a:lstStyle>
            <a:lvl1pPr algn="r">
              <a:defRPr sz="800">
                <a:solidFill>
                  <a:schemeClr val="bg1"/>
                </a:solidFill>
              </a:defRPr>
            </a:lvl1pPr>
          </a:lstStyle>
          <a:p>
            <a:fld id="{EF8DBD5B-30F9-4F9C-AE39-E065C1AC514D}" type="slidenum">
              <a:rPr lang="en-US" smtClean="0"/>
              <a:pPr/>
              <a:t>‹#›</a:t>
            </a:fld>
            <a:endParaRPr lang="en-US"/>
          </a:p>
        </p:txBody>
      </p:sp>
      <p:sp>
        <p:nvSpPr>
          <p:cNvPr id="21" name="Text Placeholder 4">
            <a:extLst>
              <a:ext uri="{FF2B5EF4-FFF2-40B4-BE49-F238E27FC236}">
                <a16:creationId xmlns:a16="http://schemas.microsoft.com/office/drawing/2014/main" id="{1ADD6777-A5E1-8143-BB10-30B94A4DA550}"/>
              </a:ext>
            </a:extLst>
          </p:cNvPr>
          <p:cNvSpPr>
            <a:spLocks noGrp="1"/>
          </p:cNvSpPr>
          <p:nvPr>
            <p:ph type="body" sz="quarter" idx="16" hasCustomPrompt="1"/>
          </p:nvPr>
        </p:nvSpPr>
        <p:spPr>
          <a:xfrm rot="5400000">
            <a:off x="10901732" y="803645"/>
            <a:ext cx="2093913" cy="486626"/>
          </a:xfrm>
        </p:spPr>
        <p:txBody>
          <a:bodyPr lIns="180000" tIns="180000" rIns="0" bIns="180000" anchor="ctr">
            <a:spAutoFit/>
          </a:bodyPr>
          <a:lstStyle>
            <a:lvl1pPr marL="6351" indent="0" algn="l">
              <a:buNone/>
              <a:defRPr sz="800">
                <a:solidFill>
                  <a:schemeClr val="bg1"/>
                </a:solidFill>
              </a:defRPr>
            </a:lvl1pPr>
            <a:lvl2pPr marL="180970" indent="0">
              <a:buNone/>
              <a:defRPr sz="800"/>
            </a:lvl2pPr>
            <a:lvl3pPr marL="357179" indent="0">
              <a:buNone/>
              <a:defRPr sz="800"/>
            </a:lvl3pPr>
            <a:lvl4pPr marL="539549" indent="0">
              <a:buNone/>
              <a:defRPr sz="800"/>
            </a:lvl4pPr>
            <a:lvl5pPr marL="715945" indent="0">
              <a:buNone/>
              <a:defRPr sz="800"/>
            </a:lvl5pPr>
          </a:lstStyle>
          <a:p>
            <a:pPr lvl="0"/>
            <a:r>
              <a:rPr lang="en-US"/>
              <a:t>Project City Country</a:t>
            </a:r>
          </a:p>
        </p:txBody>
      </p:sp>
    </p:spTree>
    <p:extLst>
      <p:ext uri="{BB962C8B-B14F-4D97-AF65-F5344CB8AC3E}">
        <p14:creationId xmlns:p14="http://schemas.microsoft.com/office/powerpoint/2010/main" val="2878947122"/>
      </p:ext>
    </p:extLst>
  </p:cSld>
  <p:clrMapOvr>
    <a:overrideClrMapping bg1="lt1" tx1="dk1" bg2="lt2" tx2="dk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 Start Image Right">
    <p:bg>
      <p:bgRef idx="1001">
        <a:schemeClr val="bg1"/>
      </p:bgRef>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03AC9EDD-8C27-D14A-8926-6F5BFEA987E1}"/>
              </a:ext>
            </a:extLst>
          </p:cNvPr>
          <p:cNvSpPr>
            <a:spLocks noGrp="1"/>
          </p:cNvSpPr>
          <p:nvPr>
            <p:ph type="pic" sz="quarter" idx="13" hasCustomPrompt="1"/>
          </p:nvPr>
        </p:nvSpPr>
        <p:spPr>
          <a:xfrm>
            <a:off x="6106443" y="5"/>
            <a:ext cx="6094408" cy="6857997"/>
          </a:xfrm>
          <a:custGeom>
            <a:avLst/>
            <a:gdLst>
              <a:gd name="connsiteX0" fmla="*/ 0 w 6094408"/>
              <a:gd name="connsiteY0" fmla="*/ 0 h 6857997"/>
              <a:gd name="connsiteX1" fmla="*/ 6094408 w 6094408"/>
              <a:gd name="connsiteY1" fmla="*/ 0 h 6857997"/>
              <a:gd name="connsiteX2" fmla="*/ 6094408 w 6094408"/>
              <a:gd name="connsiteY2" fmla="*/ 6857997 h 6857997"/>
              <a:gd name="connsiteX3" fmla="*/ 0 w 6094408"/>
              <a:gd name="connsiteY3" fmla="*/ 6857997 h 6857997"/>
            </a:gdLst>
            <a:ahLst/>
            <a:cxnLst>
              <a:cxn ang="0">
                <a:pos x="connsiteX0" y="connsiteY0"/>
              </a:cxn>
              <a:cxn ang="0">
                <a:pos x="connsiteX1" y="connsiteY1"/>
              </a:cxn>
              <a:cxn ang="0">
                <a:pos x="connsiteX2" y="connsiteY2"/>
              </a:cxn>
              <a:cxn ang="0">
                <a:pos x="connsiteX3" y="connsiteY3"/>
              </a:cxn>
            </a:cxnLst>
            <a:rect l="l" t="t" r="r" b="b"/>
            <a:pathLst>
              <a:path w="6094408" h="6857997">
                <a:moveTo>
                  <a:pt x="0" y="0"/>
                </a:moveTo>
                <a:lnTo>
                  <a:pt x="6094408" y="0"/>
                </a:lnTo>
                <a:lnTo>
                  <a:pt x="6094408" y="6857997"/>
                </a:lnTo>
                <a:lnTo>
                  <a:pt x="0" y="6857997"/>
                </a:lnTo>
                <a:close/>
              </a:path>
            </a:pathLst>
          </a:custGeom>
          <a:solidFill>
            <a:srgbClr val="ECECEC"/>
          </a:solidFill>
        </p:spPr>
        <p:txBody>
          <a:bodyPr wrap="square" lIns="36000" tIns="36000" rIns="36000" bIns="36000">
            <a:noAutofit/>
          </a:bodyPr>
          <a:lstStyle>
            <a:lvl1pPr marL="0" indent="0" algn="ctr">
              <a:buNone/>
              <a:defRPr sz="1300">
                <a:solidFill>
                  <a:schemeClr val="tx2"/>
                </a:solidFill>
              </a:defRPr>
            </a:lvl1pPr>
          </a:lstStyle>
          <a:p>
            <a:r>
              <a:rPr lang="en-US" noProof="0"/>
              <a:t>Click on the icon to add an image</a:t>
            </a:r>
          </a:p>
        </p:txBody>
      </p:sp>
      <p:sp>
        <p:nvSpPr>
          <p:cNvPr id="11" name="Text Placeholder 18">
            <a:extLst>
              <a:ext uri="{FF2B5EF4-FFF2-40B4-BE49-F238E27FC236}">
                <a16:creationId xmlns:a16="http://schemas.microsoft.com/office/drawing/2014/main" id="{F33AAA9B-2FD7-7742-8FFC-0853E10FF816}"/>
              </a:ext>
            </a:extLst>
          </p:cNvPr>
          <p:cNvSpPr>
            <a:spLocks noGrp="1"/>
          </p:cNvSpPr>
          <p:nvPr>
            <p:ph type="body" sz="quarter" idx="14" hasCustomPrompt="1"/>
          </p:nvPr>
        </p:nvSpPr>
        <p:spPr>
          <a:xfrm>
            <a:off x="586800" y="1022400"/>
            <a:ext cx="5367600" cy="1069200"/>
          </a:xfrm>
          <a:prstGeom prst="rect">
            <a:avLst/>
          </a:prstGeom>
        </p:spPr>
        <p:txBody>
          <a:bodyPr anchor="b">
            <a:noAutofit/>
          </a:bodyPr>
          <a:lstStyle>
            <a:lvl1pPr marL="0" indent="0">
              <a:lnSpc>
                <a:spcPct val="85000"/>
              </a:lnSpc>
              <a:spcBef>
                <a:spcPts val="0"/>
              </a:spcBef>
              <a:buNone/>
              <a:defRPr sz="3600" spc="40" baseline="0">
                <a:solidFill>
                  <a:schemeClr val="tx2"/>
                </a:solidFill>
                <a:latin typeface="+mj-lt"/>
              </a:defRPr>
            </a:lvl1pPr>
          </a:lstStyle>
          <a:p>
            <a:pPr lvl="0"/>
            <a:r>
              <a:rPr lang="en-US" noProof="0"/>
              <a:t>Click to add a headline </a:t>
            </a:r>
            <a:br>
              <a:rPr lang="en-US" noProof="0"/>
            </a:br>
            <a:r>
              <a:rPr lang="en-US" noProof="0"/>
              <a:t>of maximum two lines</a:t>
            </a:r>
          </a:p>
        </p:txBody>
      </p:sp>
      <p:sp>
        <p:nvSpPr>
          <p:cNvPr id="13" name="Text Placeholder 7">
            <a:extLst>
              <a:ext uri="{FF2B5EF4-FFF2-40B4-BE49-F238E27FC236}">
                <a16:creationId xmlns:a16="http://schemas.microsoft.com/office/drawing/2014/main" id="{82C1EA7A-B2DC-6047-B1F0-EB47347CB0FD}"/>
              </a:ext>
            </a:extLst>
          </p:cNvPr>
          <p:cNvSpPr>
            <a:spLocks noGrp="1"/>
          </p:cNvSpPr>
          <p:nvPr>
            <p:ph type="body" sz="quarter" idx="19" hasCustomPrompt="1"/>
          </p:nvPr>
        </p:nvSpPr>
        <p:spPr>
          <a:xfrm>
            <a:off x="586800" y="2228400"/>
            <a:ext cx="3758400" cy="766800"/>
          </a:xfrm>
        </p:spPr>
        <p:txBody>
          <a:bodyPr/>
          <a:lstStyle>
            <a:lvl1pPr marL="0" indent="0">
              <a:lnSpc>
                <a:spcPct val="100000"/>
              </a:lnSpc>
              <a:spcBef>
                <a:spcPts val="0"/>
              </a:spcBef>
              <a:spcAft>
                <a:spcPts val="0"/>
              </a:spcAft>
              <a:buNone/>
              <a:defRPr sz="1400" spc="70" baseline="0">
                <a:solidFill>
                  <a:schemeClr val="tx2"/>
                </a:solidFill>
              </a:defRPr>
            </a:lvl1pPr>
            <a:lvl2pPr>
              <a:lnSpc>
                <a:spcPct val="100000"/>
              </a:lnSpc>
              <a:spcBef>
                <a:spcPts val="0"/>
              </a:spcBef>
              <a:spcAft>
                <a:spcPts val="600"/>
              </a:spcAft>
              <a:defRPr spc="40" baseline="0"/>
            </a:lvl2pPr>
            <a:lvl3pPr>
              <a:defRPr spc="40" baseline="0"/>
            </a:lvl3pPr>
            <a:lvl4pPr>
              <a:defRPr spc="40" baseline="0"/>
            </a:lvl4pPr>
            <a:lvl5pPr>
              <a:defRPr spc="40" baseline="0"/>
            </a:lvl5pPr>
          </a:lstStyle>
          <a:p>
            <a:pPr lvl="0"/>
            <a:r>
              <a:rPr lang="en-US" noProof="0"/>
              <a:t>Click to add name </a:t>
            </a:r>
            <a:br>
              <a:rPr lang="en-US" noProof="0"/>
            </a:br>
            <a:r>
              <a:rPr lang="en-US" noProof="0"/>
              <a:t>Title, Business Unit</a:t>
            </a:r>
          </a:p>
          <a:p>
            <a:pPr lvl="0"/>
            <a:r>
              <a:rPr lang="en-US" noProof="0"/>
              <a:t>And Date</a:t>
            </a:r>
          </a:p>
          <a:p>
            <a:pPr lvl="0"/>
            <a:endParaRPr lang="en-US" noProof="0"/>
          </a:p>
        </p:txBody>
      </p:sp>
      <p:grpSp>
        <p:nvGrpSpPr>
          <p:cNvPr id="16" name="Grupp 12">
            <a:extLst>
              <a:ext uri="{FF2B5EF4-FFF2-40B4-BE49-F238E27FC236}">
                <a16:creationId xmlns:a16="http://schemas.microsoft.com/office/drawing/2014/main" id="{7B8EA33A-0DDA-7940-8113-BE73FD751EB8}"/>
              </a:ext>
            </a:extLst>
          </p:cNvPr>
          <p:cNvGrpSpPr/>
          <p:nvPr userDrawn="1"/>
        </p:nvGrpSpPr>
        <p:grpSpPr>
          <a:xfrm>
            <a:off x="576139" y="356679"/>
            <a:ext cx="1060123" cy="157076"/>
            <a:chOff x="576140" y="6451484"/>
            <a:chExt cx="615478" cy="91194"/>
          </a:xfrm>
          <a:solidFill>
            <a:schemeClr val="tx2"/>
          </a:solidFill>
        </p:grpSpPr>
        <p:sp>
          <p:nvSpPr>
            <p:cNvPr id="23" name="Bild 2">
              <a:extLst>
                <a:ext uri="{FF2B5EF4-FFF2-40B4-BE49-F238E27FC236}">
                  <a16:creationId xmlns:a16="http://schemas.microsoft.com/office/drawing/2014/main" id="{16C420B3-38E5-A24E-87DB-AEBB461037E8}"/>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noProof="0">
                <a:solidFill>
                  <a:schemeClr val="tx2"/>
                </a:solidFill>
              </a:endParaRPr>
            </a:p>
          </p:txBody>
        </p:sp>
        <p:sp>
          <p:nvSpPr>
            <p:cNvPr id="24" name="Bild 2">
              <a:extLst>
                <a:ext uri="{FF2B5EF4-FFF2-40B4-BE49-F238E27FC236}">
                  <a16:creationId xmlns:a16="http://schemas.microsoft.com/office/drawing/2014/main" id="{F1EECABB-58E1-594D-BB46-4F637D1B815D}"/>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5" name="Bild 2">
              <a:extLst>
                <a:ext uri="{FF2B5EF4-FFF2-40B4-BE49-F238E27FC236}">
                  <a16:creationId xmlns:a16="http://schemas.microsoft.com/office/drawing/2014/main" id="{55844BB1-0477-5F42-8E26-AD07E3790CA2}"/>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26" name="Bild 2">
              <a:extLst>
                <a:ext uri="{FF2B5EF4-FFF2-40B4-BE49-F238E27FC236}">
                  <a16:creationId xmlns:a16="http://schemas.microsoft.com/office/drawing/2014/main" id="{2B38D3F9-8AB2-7041-BCFA-7A39AEC96D66}"/>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7" name="Bild 2">
              <a:extLst>
                <a:ext uri="{FF2B5EF4-FFF2-40B4-BE49-F238E27FC236}">
                  <a16:creationId xmlns:a16="http://schemas.microsoft.com/office/drawing/2014/main" id="{9FF5F733-ABFA-F74D-A51F-32D156E9697F}"/>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noProof="0">
                <a:solidFill>
                  <a:schemeClr val="tx2"/>
                </a:solidFill>
              </a:endParaRPr>
            </a:p>
          </p:txBody>
        </p:sp>
        <p:sp>
          <p:nvSpPr>
            <p:cNvPr id="28" name="Bild 2">
              <a:extLst>
                <a:ext uri="{FF2B5EF4-FFF2-40B4-BE49-F238E27FC236}">
                  <a16:creationId xmlns:a16="http://schemas.microsoft.com/office/drawing/2014/main" id="{12399984-7D89-BA4B-8680-16A35DE6346A}"/>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29" name="Bild 2">
              <a:extLst>
                <a:ext uri="{FF2B5EF4-FFF2-40B4-BE49-F238E27FC236}">
                  <a16:creationId xmlns:a16="http://schemas.microsoft.com/office/drawing/2014/main" id="{3F7ACFCB-3C11-A944-85A1-813B3B296B31}"/>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grpSp>
      <p:pic>
        <p:nvPicPr>
          <p:cNvPr id="3" name="Picture 2">
            <a:extLst>
              <a:ext uri="{FF2B5EF4-FFF2-40B4-BE49-F238E27FC236}">
                <a16:creationId xmlns:a16="http://schemas.microsoft.com/office/drawing/2014/main" id="{3AEBADDD-1900-F249-8119-D21783D4285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3423856"/>
            <a:ext cx="6105144" cy="3434144"/>
          </a:xfrm>
          <a:prstGeom prst="rect">
            <a:avLst/>
          </a:prstGeom>
        </p:spPr>
      </p:pic>
      <p:sp>
        <p:nvSpPr>
          <p:cNvPr id="14" name="Text Placeholder 4">
            <a:extLst>
              <a:ext uri="{FF2B5EF4-FFF2-40B4-BE49-F238E27FC236}">
                <a16:creationId xmlns:a16="http://schemas.microsoft.com/office/drawing/2014/main" id="{CC3C7BB9-3F20-C241-BDD4-EFCDD224BE0F}"/>
              </a:ext>
            </a:extLst>
          </p:cNvPr>
          <p:cNvSpPr>
            <a:spLocks noGrp="1"/>
          </p:cNvSpPr>
          <p:nvPr>
            <p:ph type="body" sz="quarter" idx="16" hasCustomPrompt="1"/>
          </p:nvPr>
        </p:nvSpPr>
        <p:spPr>
          <a:xfrm rot="5400000">
            <a:off x="10901730" y="803644"/>
            <a:ext cx="2093913" cy="486626"/>
          </a:xfrm>
        </p:spPr>
        <p:txBody>
          <a:bodyPr lIns="180000" tIns="180000" rIns="0" bIns="180000" anchor="ctr">
            <a:spAutoFit/>
          </a:bodyPr>
          <a:lstStyle>
            <a:lvl1pPr marL="6350" indent="0" algn="l">
              <a:buNone/>
              <a:defRPr sz="800">
                <a:solidFill>
                  <a:schemeClr val="bg1"/>
                </a:solidFill>
              </a:defRPr>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Tree>
    <p:extLst>
      <p:ext uri="{BB962C8B-B14F-4D97-AF65-F5344CB8AC3E}">
        <p14:creationId xmlns:p14="http://schemas.microsoft.com/office/powerpoint/2010/main" val="593711185"/>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 Start Image bottom ">
    <p:bg>
      <p:bgRef idx="1001">
        <a:schemeClr val="bg1"/>
      </p:bgRef>
    </p:bg>
    <p:spTree>
      <p:nvGrpSpPr>
        <p:cNvPr id="1" name=""/>
        <p:cNvGrpSpPr/>
        <p:nvPr/>
      </p:nvGrpSpPr>
      <p:grpSpPr>
        <a:xfrm>
          <a:off x="0" y="0"/>
          <a:ext cx="0" cy="0"/>
          <a:chOff x="0" y="0"/>
          <a:chExt cx="0" cy="0"/>
        </a:xfrm>
      </p:grpSpPr>
      <p:sp>
        <p:nvSpPr>
          <p:cNvPr id="24" name="Picture Placeholder 23">
            <a:extLst>
              <a:ext uri="{FF2B5EF4-FFF2-40B4-BE49-F238E27FC236}">
                <a16:creationId xmlns:a16="http://schemas.microsoft.com/office/drawing/2014/main" id="{EE6BDD26-0003-9E49-B5AA-0AFE38C202D5}"/>
              </a:ext>
            </a:extLst>
          </p:cNvPr>
          <p:cNvSpPr>
            <a:spLocks noGrp="1"/>
          </p:cNvSpPr>
          <p:nvPr>
            <p:ph type="pic" sz="quarter" idx="13"/>
          </p:nvPr>
        </p:nvSpPr>
        <p:spPr>
          <a:xfrm>
            <a:off x="5" y="3429000"/>
            <a:ext cx="12191997" cy="3429000"/>
          </a:xfrm>
          <a:custGeom>
            <a:avLst/>
            <a:gdLst>
              <a:gd name="connsiteX0" fmla="*/ 0 w 12191997"/>
              <a:gd name="connsiteY0" fmla="*/ 0 h 3429000"/>
              <a:gd name="connsiteX1" fmla="*/ 12191997 w 12191997"/>
              <a:gd name="connsiteY1" fmla="*/ 0 h 3429000"/>
              <a:gd name="connsiteX2" fmla="*/ 12191997 w 12191997"/>
              <a:gd name="connsiteY2" fmla="*/ 3429000 h 3429000"/>
              <a:gd name="connsiteX3" fmla="*/ 0 w 12191997"/>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12191997" h="3429000">
                <a:moveTo>
                  <a:pt x="0" y="0"/>
                </a:moveTo>
                <a:lnTo>
                  <a:pt x="12191997" y="0"/>
                </a:lnTo>
                <a:lnTo>
                  <a:pt x="12191997" y="3429000"/>
                </a:lnTo>
                <a:lnTo>
                  <a:pt x="0" y="3429000"/>
                </a:lnTo>
                <a:close/>
              </a:path>
            </a:pathLst>
          </a:custGeom>
          <a:solidFill>
            <a:srgbClr val="ECECEC"/>
          </a:solidFill>
        </p:spPr>
        <p:txBody>
          <a:bodyPr wrap="square" lIns="36000" tIns="36000" rIns="36000" bIns="36000">
            <a:noAutofit/>
          </a:bodyPr>
          <a:lstStyle>
            <a:lvl1pPr marL="0" indent="0" algn="ctr">
              <a:buNone/>
              <a:defRPr sz="1300">
                <a:solidFill>
                  <a:schemeClr val="tx2"/>
                </a:solidFill>
              </a:defRPr>
            </a:lvl1pPr>
          </a:lstStyle>
          <a:p>
            <a:endParaRPr lang="en-US" noProof="0"/>
          </a:p>
          <a:p>
            <a:r>
              <a:rPr lang="en-US" noProof="0"/>
              <a:t>Click on the icon to add an image</a:t>
            </a:r>
          </a:p>
        </p:txBody>
      </p:sp>
      <p:sp>
        <p:nvSpPr>
          <p:cNvPr id="23" name="Text Placeholder 18">
            <a:extLst>
              <a:ext uri="{FF2B5EF4-FFF2-40B4-BE49-F238E27FC236}">
                <a16:creationId xmlns:a16="http://schemas.microsoft.com/office/drawing/2014/main" id="{B90E63D6-B767-044F-B22B-DAE3A993B4EF}"/>
              </a:ext>
            </a:extLst>
          </p:cNvPr>
          <p:cNvSpPr>
            <a:spLocks noGrp="1"/>
          </p:cNvSpPr>
          <p:nvPr>
            <p:ph type="body" sz="quarter" idx="14" hasCustomPrompt="1"/>
          </p:nvPr>
        </p:nvSpPr>
        <p:spPr>
          <a:xfrm>
            <a:off x="586800" y="1022400"/>
            <a:ext cx="5367600" cy="1069200"/>
          </a:xfrm>
          <a:prstGeom prst="rect">
            <a:avLst/>
          </a:prstGeom>
        </p:spPr>
        <p:txBody>
          <a:bodyPr anchor="b">
            <a:noAutofit/>
          </a:bodyPr>
          <a:lstStyle>
            <a:lvl1pPr marL="0" indent="0">
              <a:lnSpc>
                <a:spcPct val="85000"/>
              </a:lnSpc>
              <a:spcBef>
                <a:spcPts val="0"/>
              </a:spcBef>
              <a:buNone/>
              <a:defRPr sz="3600" spc="40" baseline="0">
                <a:solidFill>
                  <a:schemeClr val="tx2"/>
                </a:solidFill>
                <a:latin typeface="+mj-lt"/>
              </a:defRPr>
            </a:lvl1pPr>
          </a:lstStyle>
          <a:p>
            <a:pPr lvl="0"/>
            <a:r>
              <a:rPr lang="en-US" noProof="0"/>
              <a:t>Click to add a headline </a:t>
            </a:r>
            <a:br>
              <a:rPr lang="en-US" noProof="0"/>
            </a:br>
            <a:r>
              <a:rPr lang="en-US" noProof="0"/>
              <a:t>of maximum two lines</a:t>
            </a:r>
          </a:p>
        </p:txBody>
      </p:sp>
      <p:sp>
        <p:nvSpPr>
          <p:cNvPr id="25" name="Text Placeholder 7">
            <a:extLst>
              <a:ext uri="{FF2B5EF4-FFF2-40B4-BE49-F238E27FC236}">
                <a16:creationId xmlns:a16="http://schemas.microsoft.com/office/drawing/2014/main" id="{011EC948-22C4-664E-98D2-87FDF8C22E1F}"/>
              </a:ext>
            </a:extLst>
          </p:cNvPr>
          <p:cNvSpPr>
            <a:spLocks noGrp="1"/>
          </p:cNvSpPr>
          <p:nvPr>
            <p:ph type="body" sz="quarter" idx="19" hasCustomPrompt="1"/>
          </p:nvPr>
        </p:nvSpPr>
        <p:spPr>
          <a:xfrm>
            <a:off x="586800" y="2228400"/>
            <a:ext cx="3758400" cy="766800"/>
          </a:xfrm>
        </p:spPr>
        <p:txBody>
          <a:bodyPr/>
          <a:lstStyle>
            <a:lvl1pPr marL="0" indent="0">
              <a:lnSpc>
                <a:spcPct val="100000"/>
              </a:lnSpc>
              <a:spcBef>
                <a:spcPts val="0"/>
              </a:spcBef>
              <a:spcAft>
                <a:spcPts val="0"/>
              </a:spcAft>
              <a:buNone/>
              <a:defRPr sz="1400" spc="70" baseline="0">
                <a:solidFill>
                  <a:schemeClr val="tx2"/>
                </a:solidFill>
              </a:defRPr>
            </a:lvl1pPr>
            <a:lvl2pPr>
              <a:lnSpc>
                <a:spcPct val="100000"/>
              </a:lnSpc>
              <a:spcBef>
                <a:spcPts val="0"/>
              </a:spcBef>
              <a:spcAft>
                <a:spcPts val="600"/>
              </a:spcAft>
              <a:defRPr spc="40" baseline="0"/>
            </a:lvl2pPr>
            <a:lvl3pPr>
              <a:defRPr spc="40" baseline="0"/>
            </a:lvl3pPr>
            <a:lvl4pPr>
              <a:defRPr spc="40" baseline="0"/>
            </a:lvl4pPr>
            <a:lvl5pPr>
              <a:defRPr spc="40" baseline="0"/>
            </a:lvl5pPr>
          </a:lstStyle>
          <a:p>
            <a:pPr lvl="0"/>
            <a:r>
              <a:rPr lang="en-US" noProof="0"/>
              <a:t>Click to add name </a:t>
            </a:r>
            <a:br>
              <a:rPr lang="en-US" noProof="0"/>
            </a:br>
            <a:r>
              <a:rPr lang="en-US" noProof="0"/>
              <a:t>Title, Business Unit</a:t>
            </a:r>
          </a:p>
          <a:p>
            <a:pPr lvl="0"/>
            <a:r>
              <a:rPr lang="en-US" noProof="0"/>
              <a:t>And Date</a:t>
            </a:r>
          </a:p>
        </p:txBody>
      </p:sp>
      <p:grpSp>
        <p:nvGrpSpPr>
          <p:cNvPr id="26" name="Grupp 12">
            <a:extLst>
              <a:ext uri="{FF2B5EF4-FFF2-40B4-BE49-F238E27FC236}">
                <a16:creationId xmlns:a16="http://schemas.microsoft.com/office/drawing/2014/main" id="{89AD5AFE-2894-B941-A82D-0226C18F5E77}"/>
              </a:ext>
            </a:extLst>
          </p:cNvPr>
          <p:cNvGrpSpPr/>
          <p:nvPr userDrawn="1"/>
        </p:nvGrpSpPr>
        <p:grpSpPr>
          <a:xfrm>
            <a:off x="576139" y="356679"/>
            <a:ext cx="1060123" cy="157076"/>
            <a:chOff x="576140" y="6451484"/>
            <a:chExt cx="615478" cy="91194"/>
          </a:xfrm>
          <a:solidFill>
            <a:schemeClr val="tx2"/>
          </a:solidFill>
        </p:grpSpPr>
        <p:sp>
          <p:nvSpPr>
            <p:cNvPr id="27" name="Bild 2">
              <a:extLst>
                <a:ext uri="{FF2B5EF4-FFF2-40B4-BE49-F238E27FC236}">
                  <a16:creationId xmlns:a16="http://schemas.microsoft.com/office/drawing/2014/main" id="{FC7F3D29-B155-774D-B476-2FA09C5D848D}"/>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noProof="0">
                <a:solidFill>
                  <a:schemeClr val="tx2"/>
                </a:solidFill>
              </a:endParaRPr>
            </a:p>
          </p:txBody>
        </p:sp>
        <p:sp>
          <p:nvSpPr>
            <p:cNvPr id="28" name="Bild 2">
              <a:extLst>
                <a:ext uri="{FF2B5EF4-FFF2-40B4-BE49-F238E27FC236}">
                  <a16:creationId xmlns:a16="http://schemas.microsoft.com/office/drawing/2014/main" id="{7F08FE4E-0EBE-0942-85A9-1A5D69F27547}"/>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9" name="Bild 2">
              <a:extLst>
                <a:ext uri="{FF2B5EF4-FFF2-40B4-BE49-F238E27FC236}">
                  <a16:creationId xmlns:a16="http://schemas.microsoft.com/office/drawing/2014/main" id="{D68821BB-D758-0E4D-B453-676C75C42D70}"/>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30" name="Bild 2">
              <a:extLst>
                <a:ext uri="{FF2B5EF4-FFF2-40B4-BE49-F238E27FC236}">
                  <a16:creationId xmlns:a16="http://schemas.microsoft.com/office/drawing/2014/main" id="{1D6B9307-E802-F84D-B75D-993CD3B0A72F}"/>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sp>
          <p:nvSpPr>
            <p:cNvPr id="31" name="Bild 2">
              <a:extLst>
                <a:ext uri="{FF2B5EF4-FFF2-40B4-BE49-F238E27FC236}">
                  <a16:creationId xmlns:a16="http://schemas.microsoft.com/office/drawing/2014/main" id="{D4D9B826-FD0D-B24D-AEB1-74FC713BFEB5}"/>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noProof="0">
                <a:solidFill>
                  <a:schemeClr val="tx2"/>
                </a:solidFill>
              </a:endParaRPr>
            </a:p>
          </p:txBody>
        </p:sp>
        <p:sp>
          <p:nvSpPr>
            <p:cNvPr id="32" name="Bild 2">
              <a:extLst>
                <a:ext uri="{FF2B5EF4-FFF2-40B4-BE49-F238E27FC236}">
                  <a16:creationId xmlns:a16="http://schemas.microsoft.com/office/drawing/2014/main" id="{AD7ECE03-2B58-C447-B430-8A321B3A296B}"/>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33" name="Bild 2">
              <a:extLst>
                <a:ext uri="{FF2B5EF4-FFF2-40B4-BE49-F238E27FC236}">
                  <a16:creationId xmlns:a16="http://schemas.microsoft.com/office/drawing/2014/main" id="{1DF42BDD-5C24-5E40-850D-18D70780214D}"/>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grpSp>
      <p:pic>
        <p:nvPicPr>
          <p:cNvPr id="14" name="Picture 13">
            <a:extLst>
              <a:ext uri="{FF2B5EF4-FFF2-40B4-BE49-F238E27FC236}">
                <a16:creationId xmlns:a16="http://schemas.microsoft.com/office/drawing/2014/main" id="{8B1C15A7-918F-AF40-BCEC-CCE1BABA9F7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096000" y="0"/>
            <a:ext cx="6096000" cy="3429000"/>
          </a:xfrm>
          <a:prstGeom prst="rect">
            <a:avLst/>
          </a:prstGeom>
        </p:spPr>
      </p:pic>
      <p:sp>
        <p:nvSpPr>
          <p:cNvPr id="16" name="Text Placeholder 4">
            <a:extLst>
              <a:ext uri="{FF2B5EF4-FFF2-40B4-BE49-F238E27FC236}">
                <a16:creationId xmlns:a16="http://schemas.microsoft.com/office/drawing/2014/main" id="{0D8979E1-21E0-C04D-9C4F-75E1638A4C46}"/>
              </a:ext>
            </a:extLst>
          </p:cNvPr>
          <p:cNvSpPr>
            <a:spLocks noGrp="1"/>
          </p:cNvSpPr>
          <p:nvPr>
            <p:ph type="body" sz="quarter" idx="16" hasCustomPrompt="1"/>
          </p:nvPr>
        </p:nvSpPr>
        <p:spPr>
          <a:xfrm rot="5400000">
            <a:off x="10901730" y="4232644"/>
            <a:ext cx="2093913" cy="486626"/>
          </a:xfrm>
        </p:spPr>
        <p:txBody>
          <a:bodyPr lIns="180000" tIns="180000" rIns="0" bIns="180000" anchor="ctr">
            <a:spAutoFit/>
          </a:bodyPr>
          <a:lstStyle>
            <a:lvl1pPr marL="6350" indent="0" algn="l">
              <a:buNone/>
              <a:defRPr sz="800">
                <a:solidFill>
                  <a:schemeClr val="bg1"/>
                </a:solidFill>
              </a:defRPr>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Tree>
    <p:extLst>
      <p:ext uri="{BB962C8B-B14F-4D97-AF65-F5344CB8AC3E}">
        <p14:creationId xmlns:p14="http://schemas.microsoft.com/office/powerpoint/2010/main" val="1818788120"/>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 Agenda Two Columns">
    <p:bg>
      <p:bgRef idx="1001">
        <a:schemeClr val="bg1"/>
      </p:bgRef>
    </p:bg>
    <p:spTree>
      <p:nvGrpSpPr>
        <p:cNvPr id="1" name=""/>
        <p:cNvGrpSpPr/>
        <p:nvPr/>
      </p:nvGrpSpPr>
      <p:grpSpPr>
        <a:xfrm>
          <a:off x="0" y="0"/>
          <a:ext cx="0" cy="0"/>
          <a:chOff x="0" y="0"/>
          <a:chExt cx="0" cy="0"/>
        </a:xfrm>
      </p:grpSpPr>
      <p:sp>
        <p:nvSpPr>
          <p:cNvPr id="12" name="Picture Placeholder 10">
            <a:extLst>
              <a:ext uri="{FF2B5EF4-FFF2-40B4-BE49-F238E27FC236}">
                <a16:creationId xmlns:a16="http://schemas.microsoft.com/office/drawing/2014/main" id="{F1C700C8-E7B5-C246-BF0A-50734999BFF2}"/>
              </a:ext>
            </a:extLst>
          </p:cNvPr>
          <p:cNvSpPr>
            <a:spLocks noGrp="1"/>
          </p:cNvSpPr>
          <p:nvPr>
            <p:ph type="pic" sz="quarter" idx="18" hasCustomPrompt="1"/>
          </p:nvPr>
        </p:nvSpPr>
        <p:spPr>
          <a:xfrm>
            <a:off x="8139600" y="-1"/>
            <a:ext cx="4050000" cy="6868800"/>
          </a:xfrm>
          <a:custGeom>
            <a:avLst/>
            <a:gdLst>
              <a:gd name="connsiteX0" fmla="*/ 0 w 6095997"/>
              <a:gd name="connsiteY0" fmla="*/ 0 h 6857997"/>
              <a:gd name="connsiteX1" fmla="*/ 6095997 w 6095997"/>
              <a:gd name="connsiteY1" fmla="*/ 0 h 6857997"/>
              <a:gd name="connsiteX2" fmla="*/ 6095997 w 6095997"/>
              <a:gd name="connsiteY2" fmla="*/ 3157535 h 6857997"/>
              <a:gd name="connsiteX3" fmla="*/ 6095997 w 6095997"/>
              <a:gd name="connsiteY3" fmla="*/ 3428998 h 6857997"/>
              <a:gd name="connsiteX4" fmla="*/ 6095997 w 6095997"/>
              <a:gd name="connsiteY4" fmla="*/ 6857997 h 6857997"/>
              <a:gd name="connsiteX5" fmla="*/ 0 w 6095997"/>
              <a:gd name="connsiteY5" fmla="*/ 6857997 h 6857997"/>
              <a:gd name="connsiteX6" fmla="*/ 0 w 6095997"/>
              <a:gd name="connsiteY6" fmla="*/ 3428998 h 6857997"/>
              <a:gd name="connsiteX7" fmla="*/ 0 w 6095997"/>
              <a:gd name="connsiteY7" fmla="*/ 3157535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5997" h="6857997">
                <a:moveTo>
                  <a:pt x="0" y="0"/>
                </a:moveTo>
                <a:lnTo>
                  <a:pt x="6095997" y="0"/>
                </a:lnTo>
                <a:lnTo>
                  <a:pt x="6095997" y="3157535"/>
                </a:lnTo>
                <a:lnTo>
                  <a:pt x="6095997" y="3428998"/>
                </a:lnTo>
                <a:lnTo>
                  <a:pt x="6095997" y="6857997"/>
                </a:lnTo>
                <a:lnTo>
                  <a:pt x="0" y="6857997"/>
                </a:lnTo>
                <a:lnTo>
                  <a:pt x="0" y="3428998"/>
                </a:lnTo>
                <a:lnTo>
                  <a:pt x="0" y="3157535"/>
                </a:lnTo>
                <a:close/>
              </a:path>
            </a:pathLst>
          </a:custGeom>
          <a:solidFill>
            <a:srgbClr val="ECECEC"/>
          </a:solidFill>
        </p:spPr>
        <p:txBody>
          <a:bodyPr wrap="square" lIns="36000" tIns="36000" rIns="36000" bIns="36000">
            <a:noAutofit/>
          </a:bodyPr>
          <a:lstStyle>
            <a:lvl1pPr marL="0" indent="0" algn="ctr">
              <a:buNone/>
              <a:defRPr sz="1300">
                <a:solidFill>
                  <a:schemeClr val="tx2"/>
                </a:solidFill>
              </a:defRPr>
            </a:lvl1pPr>
          </a:lstStyle>
          <a:p>
            <a:r>
              <a:rPr lang="en-US" noProof="0"/>
              <a:t>Click on the icon to add an image</a:t>
            </a:r>
          </a:p>
        </p:txBody>
      </p:sp>
      <p:sp>
        <p:nvSpPr>
          <p:cNvPr id="19" name="Text Placeholder 18">
            <a:extLst>
              <a:ext uri="{FF2B5EF4-FFF2-40B4-BE49-F238E27FC236}">
                <a16:creationId xmlns:a16="http://schemas.microsoft.com/office/drawing/2014/main" id="{696CCD45-BBC3-4242-B2B8-F5604A1D97BB}"/>
              </a:ext>
            </a:extLst>
          </p:cNvPr>
          <p:cNvSpPr>
            <a:spLocks noGrp="1"/>
          </p:cNvSpPr>
          <p:nvPr>
            <p:ph type="body" sz="quarter" idx="14" hasCustomPrompt="1"/>
          </p:nvPr>
        </p:nvSpPr>
        <p:spPr>
          <a:xfrm>
            <a:off x="576000" y="720000"/>
            <a:ext cx="7253550" cy="421200"/>
          </a:xfrm>
          <a:prstGeom prst="rect">
            <a:avLst/>
          </a:prstGeom>
        </p:spPr>
        <p:txBody>
          <a:bodyPr anchor="t">
            <a:noAutofit/>
          </a:bodyPr>
          <a:lstStyle>
            <a:lvl1pPr marL="0" indent="0">
              <a:lnSpc>
                <a:spcPct val="85000"/>
              </a:lnSpc>
              <a:spcBef>
                <a:spcPts val="0"/>
              </a:spcBef>
              <a:buNone/>
              <a:defRPr sz="3600" spc="40" baseline="0">
                <a:solidFill>
                  <a:schemeClr val="tx2"/>
                </a:solidFill>
                <a:latin typeface="+mj-lt"/>
              </a:defRPr>
            </a:lvl1pPr>
          </a:lstStyle>
          <a:p>
            <a:pPr lvl="0"/>
            <a:r>
              <a:rPr lang="en-US" noProof="0"/>
              <a:t>Click for a short headline </a:t>
            </a:r>
          </a:p>
        </p:txBody>
      </p:sp>
      <p:sp>
        <p:nvSpPr>
          <p:cNvPr id="9" name="Text Placeholder 8">
            <a:extLst>
              <a:ext uri="{FF2B5EF4-FFF2-40B4-BE49-F238E27FC236}">
                <a16:creationId xmlns:a16="http://schemas.microsoft.com/office/drawing/2014/main" id="{A02FE398-BCDE-144D-BB12-B6AB8C96E842}"/>
              </a:ext>
            </a:extLst>
          </p:cNvPr>
          <p:cNvSpPr>
            <a:spLocks noGrp="1"/>
          </p:cNvSpPr>
          <p:nvPr>
            <p:ph type="body" sz="quarter" idx="15" hasCustomPrompt="1"/>
          </p:nvPr>
        </p:nvSpPr>
        <p:spPr>
          <a:xfrm>
            <a:off x="576262" y="1746000"/>
            <a:ext cx="7253287" cy="4391999"/>
          </a:xfrm>
        </p:spPr>
        <p:txBody>
          <a:bodyPr numCol="2" spcCol="288000"/>
          <a:lstStyle>
            <a:lvl1pPr marL="342000" indent="-342000">
              <a:lnSpc>
                <a:spcPct val="100000"/>
              </a:lnSpc>
              <a:spcBef>
                <a:spcPts val="0"/>
              </a:spcBef>
              <a:spcAft>
                <a:spcPts val="1000"/>
              </a:spcAft>
              <a:buFont typeface="+mj-lt"/>
              <a:buAutoNum type="arabicPeriod"/>
              <a:defRPr sz="1800" spc="40" baseline="0">
                <a:solidFill>
                  <a:schemeClr val="tx2"/>
                </a:solidFill>
              </a:defRPr>
            </a:lvl1pPr>
            <a:lvl2pPr marL="342000" indent="-342000">
              <a:lnSpc>
                <a:spcPct val="100000"/>
              </a:lnSpc>
              <a:spcAft>
                <a:spcPts val="1000"/>
              </a:spcAft>
              <a:tabLst/>
              <a:defRPr sz="1800" spc="40" baseline="0">
                <a:solidFill>
                  <a:schemeClr val="tx1"/>
                </a:solidFill>
              </a:defRPr>
            </a:lvl2pPr>
            <a:lvl3pPr>
              <a:lnSpc>
                <a:spcPct val="100000"/>
              </a:lnSpc>
              <a:defRPr sz="1400" spc="40" baseline="0">
                <a:solidFill>
                  <a:schemeClr val="tx1"/>
                </a:solidFill>
              </a:defRPr>
            </a:lvl3pPr>
            <a:lvl4pPr>
              <a:lnSpc>
                <a:spcPct val="100000"/>
              </a:lnSpc>
              <a:defRPr sz="1200" spc="40" baseline="0">
                <a:solidFill>
                  <a:schemeClr val="tx1"/>
                </a:solidFill>
              </a:defRPr>
            </a:lvl4pPr>
            <a:lvl5pPr>
              <a:lnSpc>
                <a:spcPct val="100000"/>
              </a:lnSpc>
              <a:defRPr sz="1100" spc="40" baseline="0">
                <a:solidFill>
                  <a:schemeClr val="tx1"/>
                </a:solidFill>
              </a:defRPr>
            </a:lvl5pPr>
          </a:lstStyle>
          <a:p>
            <a:pPr lvl="0"/>
            <a:r>
              <a:rPr lang="en-US" noProof="0"/>
              <a:t>Click for agenda</a:t>
            </a:r>
          </a:p>
        </p:txBody>
      </p:sp>
      <p:grpSp>
        <p:nvGrpSpPr>
          <p:cNvPr id="22" name="Grupp 32">
            <a:extLst>
              <a:ext uri="{FF2B5EF4-FFF2-40B4-BE49-F238E27FC236}">
                <a16:creationId xmlns:a16="http://schemas.microsoft.com/office/drawing/2014/main" id="{C530D02F-41BB-2342-8817-E7BBC1EE526F}"/>
              </a:ext>
            </a:extLst>
          </p:cNvPr>
          <p:cNvGrpSpPr/>
          <p:nvPr userDrawn="1"/>
        </p:nvGrpSpPr>
        <p:grpSpPr>
          <a:xfrm>
            <a:off x="576140" y="6451484"/>
            <a:ext cx="615478" cy="91194"/>
            <a:chOff x="576140" y="6451484"/>
            <a:chExt cx="615478" cy="91194"/>
          </a:xfrm>
          <a:solidFill>
            <a:schemeClr val="tx2"/>
          </a:solidFill>
        </p:grpSpPr>
        <p:sp>
          <p:nvSpPr>
            <p:cNvPr id="23" name="Bild 2">
              <a:extLst>
                <a:ext uri="{FF2B5EF4-FFF2-40B4-BE49-F238E27FC236}">
                  <a16:creationId xmlns:a16="http://schemas.microsoft.com/office/drawing/2014/main" id="{85A084C9-2542-8848-9DB5-5D86D692D297}"/>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noProof="0">
                <a:solidFill>
                  <a:schemeClr val="tx2"/>
                </a:solidFill>
              </a:endParaRPr>
            </a:p>
          </p:txBody>
        </p:sp>
        <p:sp>
          <p:nvSpPr>
            <p:cNvPr id="24" name="Bild 2">
              <a:extLst>
                <a:ext uri="{FF2B5EF4-FFF2-40B4-BE49-F238E27FC236}">
                  <a16:creationId xmlns:a16="http://schemas.microsoft.com/office/drawing/2014/main" id="{2BA0AFD0-9020-B146-9C91-DE2B2751DBBC}"/>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5" name="Bild 2">
              <a:extLst>
                <a:ext uri="{FF2B5EF4-FFF2-40B4-BE49-F238E27FC236}">
                  <a16:creationId xmlns:a16="http://schemas.microsoft.com/office/drawing/2014/main" id="{F99A1589-2BCF-A445-9FED-09E2BBBF016D}"/>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26" name="Bild 2">
              <a:extLst>
                <a:ext uri="{FF2B5EF4-FFF2-40B4-BE49-F238E27FC236}">
                  <a16:creationId xmlns:a16="http://schemas.microsoft.com/office/drawing/2014/main" id="{756FE558-AE20-A14D-A4E5-DE74496F9A25}"/>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7" name="Bild 2">
              <a:extLst>
                <a:ext uri="{FF2B5EF4-FFF2-40B4-BE49-F238E27FC236}">
                  <a16:creationId xmlns:a16="http://schemas.microsoft.com/office/drawing/2014/main" id="{EF190895-7218-EF44-85C0-DEA8162E54FE}"/>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noProof="0">
                <a:solidFill>
                  <a:schemeClr val="tx2"/>
                </a:solidFill>
              </a:endParaRPr>
            </a:p>
          </p:txBody>
        </p:sp>
        <p:sp>
          <p:nvSpPr>
            <p:cNvPr id="28" name="Bild 2">
              <a:extLst>
                <a:ext uri="{FF2B5EF4-FFF2-40B4-BE49-F238E27FC236}">
                  <a16:creationId xmlns:a16="http://schemas.microsoft.com/office/drawing/2014/main" id="{75B0F7AD-B7A4-AD46-94AB-05D26F86F5B5}"/>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29" name="Bild 2">
              <a:extLst>
                <a:ext uri="{FF2B5EF4-FFF2-40B4-BE49-F238E27FC236}">
                  <a16:creationId xmlns:a16="http://schemas.microsoft.com/office/drawing/2014/main" id="{24162085-50AF-7D4F-B851-EB1B84146BC8}"/>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grpSp>
      <p:sp>
        <p:nvSpPr>
          <p:cNvPr id="16" name="Platshållare för datum 3">
            <a:extLst>
              <a:ext uri="{FF2B5EF4-FFF2-40B4-BE49-F238E27FC236}">
                <a16:creationId xmlns:a16="http://schemas.microsoft.com/office/drawing/2014/main" id="{0A36DDC0-4DD5-0A44-B6D5-92B3B9F84962}"/>
              </a:ext>
            </a:extLst>
          </p:cNvPr>
          <p:cNvSpPr>
            <a:spLocks noGrp="1"/>
          </p:cNvSpPr>
          <p:nvPr>
            <p:ph type="dt" sz="half" idx="2"/>
          </p:nvPr>
        </p:nvSpPr>
        <p:spPr>
          <a:xfrm>
            <a:off x="2185246" y="6454800"/>
            <a:ext cx="1878120" cy="112593"/>
          </a:xfrm>
          <a:prstGeom prst="rect">
            <a:avLst/>
          </a:prstGeom>
        </p:spPr>
        <p:txBody>
          <a:bodyPr vert="horz" lIns="0" tIns="0" rIns="0" bIns="0" rtlCol="0" anchor="b"/>
          <a:lstStyle>
            <a:lvl1pPr algn="l">
              <a:defRPr sz="800">
                <a:solidFill>
                  <a:schemeClr val="tx2"/>
                </a:solidFill>
              </a:defRPr>
            </a:lvl1pPr>
          </a:lstStyle>
          <a:p>
            <a:fld id="{72863970-E853-F74E-B386-2DE5A779D478}" type="datetime1">
              <a:rPr lang="en-US" noProof="0" smtClean="0"/>
              <a:t>10/17/2023</a:t>
            </a:fld>
            <a:endParaRPr lang="en-US" noProof="0"/>
          </a:p>
        </p:txBody>
      </p:sp>
      <p:sp>
        <p:nvSpPr>
          <p:cNvPr id="17" name="Platshållare för sidfot 4">
            <a:extLst>
              <a:ext uri="{FF2B5EF4-FFF2-40B4-BE49-F238E27FC236}">
                <a16:creationId xmlns:a16="http://schemas.microsoft.com/office/drawing/2014/main" id="{B98CC20A-8C0B-9A49-BFBE-8D1DF1DBCE33}"/>
              </a:ext>
            </a:extLst>
          </p:cNvPr>
          <p:cNvSpPr>
            <a:spLocks noGrp="1"/>
          </p:cNvSpPr>
          <p:nvPr>
            <p:ph type="ftr" sz="quarter" idx="3"/>
          </p:nvPr>
        </p:nvSpPr>
        <p:spPr>
          <a:xfrm>
            <a:off x="4359276" y="6454800"/>
            <a:ext cx="3470274" cy="112593"/>
          </a:xfrm>
          <a:prstGeom prst="rect">
            <a:avLst/>
          </a:prstGeom>
        </p:spPr>
        <p:txBody>
          <a:bodyPr vert="horz" lIns="0" tIns="0" rIns="0" bIns="0" rtlCol="0" anchor="b"/>
          <a:lstStyle>
            <a:lvl1pPr algn="l">
              <a:defRPr sz="800">
                <a:solidFill>
                  <a:schemeClr val="tx2"/>
                </a:solidFill>
              </a:defRPr>
            </a:lvl1pPr>
          </a:lstStyle>
          <a:p>
            <a:r>
              <a:rPr lang="en-US" noProof="0"/>
              <a:t>Go to header/footer to change text </a:t>
            </a:r>
          </a:p>
        </p:txBody>
      </p:sp>
      <p:sp>
        <p:nvSpPr>
          <p:cNvPr id="18" name="Platshållare för bildnummer 5">
            <a:extLst>
              <a:ext uri="{FF2B5EF4-FFF2-40B4-BE49-F238E27FC236}">
                <a16:creationId xmlns:a16="http://schemas.microsoft.com/office/drawing/2014/main" id="{5723D486-E6CF-2743-8E0E-97E3E34AA763}"/>
              </a:ext>
            </a:extLst>
          </p:cNvPr>
          <p:cNvSpPr>
            <a:spLocks noGrp="1"/>
          </p:cNvSpPr>
          <p:nvPr>
            <p:ph type="sldNum" sz="quarter" idx="4"/>
          </p:nvPr>
        </p:nvSpPr>
        <p:spPr>
          <a:xfrm>
            <a:off x="10013315" y="6454800"/>
            <a:ext cx="1590676" cy="112593"/>
          </a:xfrm>
          <a:prstGeom prst="rect">
            <a:avLst/>
          </a:prstGeom>
        </p:spPr>
        <p:txBody>
          <a:bodyPr vert="horz" lIns="0" tIns="0" rIns="0" bIns="0" rtlCol="0" anchor="b"/>
          <a:lstStyle>
            <a:lvl1pPr algn="r">
              <a:defRPr sz="800">
                <a:solidFill>
                  <a:schemeClr val="tx2"/>
                </a:solidFill>
              </a:defRPr>
            </a:lvl1pPr>
          </a:lstStyle>
          <a:p>
            <a:fld id="{EF8DBD5B-30F9-4F9C-AE39-E065C1AC514D}" type="slidenum">
              <a:rPr lang="en-US" noProof="0" smtClean="0"/>
              <a:pPr/>
              <a:t>‹#›</a:t>
            </a:fld>
            <a:endParaRPr lang="en-US" noProof="0"/>
          </a:p>
        </p:txBody>
      </p:sp>
      <p:sp>
        <p:nvSpPr>
          <p:cNvPr id="21" name="Text Placeholder 4">
            <a:extLst>
              <a:ext uri="{FF2B5EF4-FFF2-40B4-BE49-F238E27FC236}">
                <a16:creationId xmlns:a16="http://schemas.microsoft.com/office/drawing/2014/main" id="{F5F647EA-519F-A64D-849A-BA46FEFF2C70}"/>
              </a:ext>
            </a:extLst>
          </p:cNvPr>
          <p:cNvSpPr>
            <a:spLocks noGrp="1"/>
          </p:cNvSpPr>
          <p:nvPr>
            <p:ph type="body" sz="quarter" idx="16" hasCustomPrompt="1"/>
          </p:nvPr>
        </p:nvSpPr>
        <p:spPr>
          <a:xfrm rot="5400000">
            <a:off x="10901730" y="803644"/>
            <a:ext cx="2093913" cy="486626"/>
          </a:xfrm>
        </p:spPr>
        <p:txBody>
          <a:bodyPr lIns="180000" tIns="180000" rIns="0" bIns="180000" anchor="ctr">
            <a:spAutoFit/>
          </a:bodyPr>
          <a:lstStyle>
            <a:lvl1pPr marL="6350" indent="0" algn="l">
              <a:buNone/>
              <a:defRPr sz="800">
                <a:solidFill>
                  <a:schemeClr val="bg1"/>
                </a:solidFill>
              </a:defRPr>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Tree>
    <p:extLst>
      <p:ext uri="{BB962C8B-B14F-4D97-AF65-F5344CB8AC3E}">
        <p14:creationId xmlns:p14="http://schemas.microsoft.com/office/powerpoint/2010/main" val="1042211400"/>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 Text One Column">
    <p:bg>
      <p:bgRef idx="1001">
        <a:schemeClr val="bg1"/>
      </p:bgRef>
    </p:bg>
    <p:spTree>
      <p:nvGrpSpPr>
        <p:cNvPr id="1" name=""/>
        <p:cNvGrpSpPr/>
        <p:nvPr/>
      </p:nvGrpSpPr>
      <p:grpSpPr>
        <a:xfrm>
          <a:off x="0" y="0"/>
          <a:ext cx="0" cy="0"/>
          <a:chOff x="0" y="0"/>
          <a:chExt cx="0" cy="0"/>
        </a:xfrm>
      </p:grpSpPr>
      <p:sp>
        <p:nvSpPr>
          <p:cNvPr id="19" name="Text Placeholder 18">
            <a:extLst>
              <a:ext uri="{FF2B5EF4-FFF2-40B4-BE49-F238E27FC236}">
                <a16:creationId xmlns:a16="http://schemas.microsoft.com/office/drawing/2014/main" id="{696CCD45-BBC3-4242-B2B8-F5604A1D97BB}"/>
              </a:ext>
            </a:extLst>
          </p:cNvPr>
          <p:cNvSpPr>
            <a:spLocks noGrp="1"/>
          </p:cNvSpPr>
          <p:nvPr>
            <p:ph type="body" sz="quarter" idx="14" hasCustomPrompt="1"/>
          </p:nvPr>
        </p:nvSpPr>
        <p:spPr>
          <a:xfrm>
            <a:off x="576000" y="720001"/>
            <a:ext cx="11039738" cy="860400"/>
          </a:xfrm>
          <a:prstGeom prst="rect">
            <a:avLst/>
          </a:prstGeom>
        </p:spPr>
        <p:txBody>
          <a:bodyPr anchor="t">
            <a:noAutofit/>
          </a:bodyPr>
          <a:lstStyle>
            <a:lvl1pPr marL="0" indent="0">
              <a:lnSpc>
                <a:spcPct val="85000"/>
              </a:lnSpc>
              <a:spcBef>
                <a:spcPts val="0"/>
              </a:spcBef>
              <a:buNone/>
              <a:defRPr sz="3600" spc="40" baseline="0">
                <a:solidFill>
                  <a:schemeClr val="tx2"/>
                </a:solidFill>
                <a:latin typeface="+mj-lt"/>
              </a:defRPr>
            </a:lvl1pPr>
          </a:lstStyle>
          <a:p>
            <a:pPr lvl="0"/>
            <a:r>
              <a:rPr lang="en-US" noProof="0"/>
              <a:t>Click to add a headline of maximum two lines</a:t>
            </a:r>
          </a:p>
          <a:p>
            <a:pPr lvl="0"/>
            <a:endParaRPr lang="en-US" noProof="0"/>
          </a:p>
        </p:txBody>
      </p:sp>
      <p:grpSp>
        <p:nvGrpSpPr>
          <p:cNvPr id="31" name="Grupp 32">
            <a:extLst>
              <a:ext uri="{FF2B5EF4-FFF2-40B4-BE49-F238E27FC236}">
                <a16:creationId xmlns:a16="http://schemas.microsoft.com/office/drawing/2014/main" id="{45823251-0A92-F943-96AC-12DF30AF4CA3}"/>
              </a:ext>
            </a:extLst>
          </p:cNvPr>
          <p:cNvGrpSpPr/>
          <p:nvPr userDrawn="1"/>
        </p:nvGrpSpPr>
        <p:grpSpPr>
          <a:xfrm>
            <a:off x="576140" y="6451484"/>
            <a:ext cx="615478" cy="91194"/>
            <a:chOff x="576140" y="6451484"/>
            <a:chExt cx="615478" cy="91194"/>
          </a:xfrm>
          <a:solidFill>
            <a:schemeClr val="tx2"/>
          </a:solidFill>
        </p:grpSpPr>
        <p:sp>
          <p:nvSpPr>
            <p:cNvPr id="32" name="Bild 2">
              <a:extLst>
                <a:ext uri="{FF2B5EF4-FFF2-40B4-BE49-F238E27FC236}">
                  <a16:creationId xmlns:a16="http://schemas.microsoft.com/office/drawing/2014/main" id="{74762D86-6151-C443-84B7-A8309855863A}"/>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noProof="0">
                <a:solidFill>
                  <a:schemeClr val="tx2"/>
                </a:solidFill>
              </a:endParaRPr>
            </a:p>
          </p:txBody>
        </p:sp>
        <p:sp>
          <p:nvSpPr>
            <p:cNvPr id="33" name="Bild 2">
              <a:extLst>
                <a:ext uri="{FF2B5EF4-FFF2-40B4-BE49-F238E27FC236}">
                  <a16:creationId xmlns:a16="http://schemas.microsoft.com/office/drawing/2014/main" id="{4BB7FB38-2672-3848-87FA-36EC29BDA202}"/>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noProof="0">
                <a:solidFill>
                  <a:schemeClr val="tx2"/>
                </a:solidFill>
              </a:endParaRPr>
            </a:p>
          </p:txBody>
        </p:sp>
        <p:sp>
          <p:nvSpPr>
            <p:cNvPr id="34" name="Bild 2">
              <a:extLst>
                <a:ext uri="{FF2B5EF4-FFF2-40B4-BE49-F238E27FC236}">
                  <a16:creationId xmlns:a16="http://schemas.microsoft.com/office/drawing/2014/main" id="{8CCCB167-B621-E246-BA5E-9D378AEC7010}"/>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35" name="Bild 2">
              <a:extLst>
                <a:ext uri="{FF2B5EF4-FFF2-40B4-BE49-F238E27FC236}">
                  <a16:creationId xmlns:a16="http://schemas.microsoft.com/office/drawing/2014/main" id="{148DCF08-5B2F-BD4B-B128-2CD85227BFA4}"/>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sp>
          <p:nvSpPr>
            <p:cNvPr id="36" name="Bild 2">
              <a:extLst>
                <a:ext uri="{FF2B5EF4-FFF2-40B4-BE49-F238E27FC236}">
                  <a16:creationId xmlns:a16="http://schemas.microsoft.com/office/drawing/2014/main" id="{5239769A-D8A1-E94D-8088-5E6F344F6FF7}"/>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noProof="0">
                <a:solidFill>
                  <a:schemeClr val="tx2"/>
                </a:solidFill>
              </a:endParaRPr>
            </a:p>
          </p:txBody>
        </p:sp>
        <p:sp>
          <p:nvSpPr>
            <p:cNvPr id="37" name="Bild 2">
              <a:extLst>
                <a:ext uri="{FF2B5EF4-FFF2-40B4-BE49-F238E27FC236}">
                  <a16:creationId xmlns:a16="http://schemas.microsoft.com/office/drawing/2014/main" id="{21F33749-C7D4-BB47-8F30-DE2A281D3A90}"/>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38" name="Bild 2">
              <a:extLst>
                <a:ext uri="{FF2B5EF4-FFF2-40B4-BE49-F238E27FC236}">
                  <a16:creationId xmlns:a16="http://schemas.microsoft.com/office/drawing/2014/main" id="{47D910AE-98DC-D74F-8049-5CAC6FA0AF92}"/>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grpSp>
      <p:sp>
        <p:nvSpPr>
          <p:cNvPr id="3" name="Platshållare för text 2">
            <a:extLst>
              <a:ext uri="{FF2B5EF4-FFF2-40B4-BE49-F238E27FC236}">
                <a16:creationId xmlns:a16="http://schemas.microsoft.com/office/drawing/2014/main" id="{A1D46F6E-F6BB-EC4F-8188-19A644D6F0A1}"/>
              </a:ext>
            </a:extLst>
          </p:cNvPr>
          <p:cNvSpPr>
            <a:spLocks noGrp="1"/>
          </p:cNvSpPr>
          <p:nvPr>
            <p:ph type="body" sz="quarter" idx="20" hasCustomPrompt="1"/>
          </p:nvPr>
        </p:nvSpPr>
        <p:spPr>
          <a:xfrm>
            <a:off x="576000" y="2098800"/>
            <a:ext cx="11039738" cy="4030663"/>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noProof="0"/>
              <a:t>Click to add body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Platshållare för datum 3">
            <a:extLst>
              <a:ext uri="{FF2B5EF4-FFF2-40B4-BE49-F238E27FC236}">
                <a16:creationId xmlns:a16="http://schemas.microsoft.com/office/drawing/2014/main" id="{A45FAC72-E06A-5541-AD19-EF81616DFFF7}"/>
              </a:ext>
            </a:extLst>
          </p:cNvPr>
          <p:cNvSpPr>
            <a:spLocks noGrp="1"/>
          </p:cNvSpPr>
          <p:nvPr>
            <p:ph type="dt" sz="half" idx="2"/>
          </p:nvPr>
        </p:nvSpPr>
        <p:spPr>
          <a:xfrm>
            <a:off x="2185246" y="6454800"/>
            <a:ext cx="1878120" cy="112593"/>
          </a:xfrm>
          <a:prstGeom prst="rect">
            <a:avLst/>
          </a:prstGeom>
        </p:spPr>
        <p:txBody>
          <a:bodyPr vert="horz" lIns="0" tIns="0" rIns="0" bIns="0" rtlCol="0" anchor="b"/>
          <a:lstStyle>
            <a:lvl1pPr algn="l">
              <a:defRPr sz="800">
                <a:solidFill>
                  <a:schemeClr val="tx2"/>
                </a:solidFill>
              </a:defRPr>
            </a:lvl1pPr>
          </a:lstStyle>
          <a:p>
            <a:fld id="{72863970-E853-F74E-B386-2DE5A779D478}" type="datetime1">
              <a:rPr lang="en-US" smtClean="0"/>
              <a:pPr/>
              <a:t>10/17/2023</a:t>
            </a:fld>
            <a:endParaRPr lang="en-US"/>
          </a:p>
        </p:txBody>
      </p:sp>
      <p:sp>
        <p:nvSpPr>
          <p:cNvPr id="16" name="Platshållare för sidfot 4">
            <a:extLst>
              <a:ext uri="{FF2B5EF4-FFF2-40B4-BE49-F238E27FC236}">
                <a16:creationId xmlns:a16="http://schemas.microsoft.com/office/drawing/2014/main" id="{C43616C8-90A0-E241-84F4-2A5626921525}"/>
              </a:ext>
            </a:extLst>
          </p:cNvPr>
          <p:cNvSpPr>
            <a:spLocks noGrp="1"/>
          </p:cNvSpPr>
          <p:nvPr>
            <p:ph type="ftr" sz="quarter" idx="3"/>
          </p:nvPr>
        </p:nvSpPr>
        <p:spPr>
          <a:xfrm>
            <a:off x="4359276" y="6454800"/>
            <a:ext cx="3470274" cy="112593"/>
          </a:xfrm>
          <a:prstGeom prst="rect">
            <a:avLst/>
          </a:prstGeom>
        </p:spPr>
        <p:txBody>
          <a:bodyPr vert="horz" lIns="0" tIns="0" rIns="0" bIns="0" rtlCol="0" anchor="b"/>
          <a:lstStyle>
            <a:lvl1pPr algn="l">
              <a:defRPr sz="800">
                <a:solidFill>
                  <a:schemeClr val="tx2"/>
                </a:solidFill>
              </a:defRPr>
            </a:lvl1pPr>
          </a:lstStyle>
          <a:p>
            <a:r>
              <a:rPr lang="en-US"/>
              <a:t>Go to header/footer to change text </a:t>
            </a:r>
          </a:p>
        </p:txBody>
      </p:sp>
      <p:sp>
        <p:nvSpPr>
          <p:cNvPr id="17" name="Platshållare för bildnummer 5">
            <a:extLst>
              <a:ext uri="{FF2B5EF4-FFF2-40B4-BE49-F238E27FC236}">
                <a16:creationId xmlns:a16="http://schemas.microsoft.com/office/drawing/2014/main" id="{A4138EC0-2D04-8B4F-99CA-F996696CEF7F}"/>
              </a:ext>
            </a:extLst>
          </p:cNvPr>
          <p:cNvSpPr>
            <a:spLocks noGrp="1"/>
          </p:cNvSpPr>
          <p:nvPr>
            <p:ph type="sldNum" sz="quarter" idx="4"/>
          </p:nvPr>
        </p:nvSpPr>
        <p:spPr>
          <a:xfrm>
            <a:off x="10013315" y="6454800"/>
            <a:ext cx="1590676" cy="112593"/>
          </a:xfrm>
          <a:prstGeom prst="rect">
            <a:avLst/>
          </a:prstGeom>
        </p:spPr>
        <p:txBody>
          <a:bodyPr vert="horz" lIns="0" tIns="0" rIns="0" bIns="0" rtlCol="0" anchor="b"/>
          <a:lstStyle>
            <a:lvl1pPr algn="r">
              <a:defRPr sz="800">
                <a:solidFill>
                  <a:schemeClr val="tx2"/>
                </a:solidFill>
              </a:defRPr>
            </a:lvl1pPr>
          </a:lstStyle>
          <a:p>
            <a:fld id="{EF8DBD5B-30F9-4F9C-AE39-E065C1AC514D}" type="slidenum">
              <a:rPr lang="en-US" smtClean="0"/>
              <a:pPr/>
              <a:t>‹#›</a:t>
            </a:fld>
            <a:endParaRPr lang="en-US"/>
          </a:p>
        </p:txBody>
      </p:sp>
    </p:spTree>
    <p:extLst>
      <p:ext uri="{BB962C8B-B14F-4D97-AF65-F5344CB8AC3E}">
        <p14:creationId xmlns:p14="http://schemas.microsoft.com/office/powerpoint/2010/main" val="2570009642"/>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 Text Two Flowing Columns">
    <p:bg>
      <p:bgRef idx="1001">
        <a:schemeClr val="bg1"/>
      </p:bgRef>
    </p:bg>
    <p:spTree>
      <p:nvGrpSpPr>
        <p:cNvPr id="1" name=""/>
        <p:cNvGrpSpPr/>
        <p:nvPr/>
      </p:nvGrpSpPr>
      <p:grpSpPr>
        <a:xfrm>
          <a:off x="0" y="0"/>
          <a:ext cx="0" cy="0"/>
          <a:chOff x="0" y="0"/>
          <a:chExt cx="0" cy="0"/>
        </a:xfrm>
      </p:grpSpPr>
      <p:sp>
        <p:nvSpPr>
          <p:cNvPr id="19" name="Text Placeholder 18">
            <a:extLst>
              <a:ext uri="{FF2B5EF4-FFF2-40B4-BE49-F238E27FC236}">
                <a16:creationId xmlns:a16="http://schemas.microsoft.com/office/drawing/2014/main" id="{696CCD45-BBC3-4242-B2B8-F5604A1D97BB}"/>
              </a:ext>
            </a:extLst>
          </p:cNvPr>
          <p:cNvSpPr>
            <a:spLocks noGrp="1"/>
          </p:cNvSpPr>
          <p:nvPr>
            <p:ph type="body" sz="quarter" idx="14" hasCustomPrompt="1"/>
          </p:nvPr>
        </p:nvSpPr>
        <p:spPr>
          <a:xfrm>
            <a:off x="576000" y="720001"/>
            <a:ext cx="11039738" cy="860400"/>
          </a:xfrm>
          <a:prstGeom prst="rect">
            <a:avLst/>
          </a:prstGeom>
        </p:spPr>
        <p:txBody>
          <a:bodyPr anchor="t">
            <a:noAutofit/>
          </a:bodyPr>
          <a:lstStyle>
            <a:lvl1pPr marL="0" indent="0">
              <a:lnSpc>
                <a:spcPct val="85000"/>
              </a:lnSpc>
              <a:spcBef>
                <a:spcPts val="0"/>
              </a:spcBef>
              <a:buNone/>
              <a:defRPr sz="3600" spc="40" baseline="0">
                <a:solidFill>
                  <a:schemeClr val="tx2"/>
                </a:solidFill>
                <a:latin typeface="+mj-lt"/>
              </a:defRPr>
            </a:lvl1pPr>
          </a:lstStyle>
          <a:p>
            <a:pPr lvl="0"/>
            <a:r>
              <a:rPr lang="en-US" noProof="0"/>
              <a:t>Click to add a headline of maximum two lines</a:t>
            </a:r>
          </a:p>
          <a:p>
            <a:pPr lvl="0"/>
            <a:endParaRPr lang="en-US" noProof="0"/>
          </a:p>
        </p:txBody>
      </p:sp>
      <p:grpSp>
        <p:nvGrpSpPr>
          <p:cNvPr id="23" name="Grupp 32">
            <a:extLst>
              <a:ext uri="{FF2B5EF4-FFF2-40B4-BE49-F238E27FC236}">
                <a16:creationId xmlns:a16="http://schemas.microsoft.com/office/drawing/2014/main" id="{8B03C48B-F907-BE43-A494-AFCA1EC37F3F}"/>
              </a:ext>
            </a:extLst>
          </p:cNvPr>
          <p:cNvGrpSpPr/>
          <p:nvPr userDrawn="1"/>
        </p:nvGrpSpPr>
        <p:grpSpPr>
          <a:xfrm>
            <a:off x="576140" y="6451484"/>
            <a:ext cx="615478" cy="91194"/>
            <a:chOff x="576140" y="6451484"/>
            <a:chExt cx="615478" cy="91194"/>
          </a:xfrm>
          <a:solidFill>
            <a:schemeClr val="tx2"/>
          </a:solidFill>
        </p:grpSpPr>
        <p:sp>
          <p:nvSpPr>
            <p:cNvPr id="24" name="Bild 2">
              <a:extLst>
                <a:ext uri="{FF2B5EF4-FFF2-40B4-BE49-F238E27FC236}">
                  <a16:creationId xmlns:a16="http://schemas.microsoft.com/office/drawing/2014/main" id="{539AD44F-4AF2-FF4F-9D06-17E1A4C28BBE}"/>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noProof="0">
                <a:solidFill>
                  <a:schemeClr val="tx2"/>
                </a:solidFill>
              </a:endParaRPr>
            </a:p>
          </p:txBody>
        </p:sp>
        <p:sp>
          <p:nvSpPr>
            <p:cNvPr id="25" name="Bild 2">
              <a:extLst>
                <a:ext uri="{FF2B5EF4-FFF2-40B4-BE49-F238E27FC236}">
                  <a16:creationId xmlns:a16="http://schemas.microsoft.com/office/drawing/2014/main" id="{5BE09178-ECA8-844A-B048-00F09827D6AE}"/>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6" name="Bild 2">
              <a:extLst>
                <a:ext uri="{FF2B5EF4-FFF2-40B4-BE49-F238E27FC236}">
                  <a16:creationId xmlns:a16="http://schemas.microsoft.com/office/drawing/2014/main" id="{2869571E-38AE-8E44-A360-01C17E6F98BD}"/>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27" name="Bild 2">
              <a:extLst>
                <a:ext uri="{FF2B5EF4-FFF2-40B4-BE49-F238E27FC236}">
                  <a16:creationId xmlns:a16="http://schemas.microsoft.com/office/drawing/2014/main" id="{BA7F8BE0-BC77-6840-BE67-8B740867F3BD}"/>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8" name="Bild 2">
              <a:extLst>
                <a:ext uri="{FF2B5EF4-FFF2-40B4-BE49-F238E27FC236}">
                  <a16:creationId xmlns:a16="http://schemas.microsoft.com/office/drawing/2014/main" id="{244CF4A3-7B1A-3C41-94CF-1DA929D1D49B}"/>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noProof="0">
                <a:solidFill>
                  <a:schemeClr val="tx2"/>
                </a:solidFill>
              </a:endParaRPr>
            </a:p>
          </p:txBody>
        </p:sp>
        <p:sp>
          <p:nvSpPr>
            <p:cNvPr id="29" name="Bild 2">
              <a:extLst>
                <a:ext uri="{FF2B5EF4-FFF2-40B4-BE49-F238E27FC236}">
                  <a16:creationId xmlns:a16="http://schemas.microsoft.com/office/drawing/2014/main" id="{9B4D778E-499D-4744-AC87-93ABFC8BAD18}"/>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30" name="Bild 2">
              <a:extLst>
                <a:ext uri="{FF2B5EF4-FFF2-40B4-BE49-F238E27FC236}">
                  <a16:creationId xmlns:a16="http://schemas.microsoft.com/office/drawing/2014/main" id="{15D52584-E231-3B47-A1E3-E875B68A82BF}"/>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grpSp>
      <p:sp>
        <p:nvSpPr>
          <p:cNvPr id="15" name="Platshållare för text 2">
            <a:extLst>
              <a:ext uri="{FF2B5EF4-FFF2-40B4-BE49-F238E27FC236}">
                <a16:creationId xmlns:a16="http://schemas.microsoft.com/office/drawing/2014/main" id="{F71CA44B-A516-DE48-8E00-49E05D1465C6}"/>
              </a:ext>
            </a:extLst>
          </p:cNvPr>
          <p:cNvSpPr>
            <a:spLocks noGrp="1"/>
          </p:cNvSpPr>
          <p:nvPr>
            <p:ph type="body" sz="quarter" idx="20" hasCustomPrompt="1"/>
          </p:nvPr>
        </p:nvSpPr>
        <p:spPr>
          <a:xfrm>
            <a:off x="576000" y="2098800"/>
            <a:ext cx="11039738" cy="4030663"/>
          </a:xfrm>
        </p:spPr>
        <p:txBody>
          <a:bodyPr numCol="2" spcCol="288000"/>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noProof="0"/>
              <a:t>Click to add body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Platshållare för datum 3">
            <a:extLst>
              <a:ext uri="{FF2B5EF4-FFF2-40B4-BE49-F238E27FC236}">
                <a16:creationId xmlns:a16="http://schemas.microsoft.com/office/drawing/2014/main" id="{27DC427A-891F-B147-86E2-B23F6D534C91}"/>
              </a:ext>
            </a:extLst>
          </p:cNvPr>
          <p:cNvSpPr>
            <a:spLocks noGrp="1"/>
          </p:cNvSpPr>
          <p:nvPr>
            <p:ph type="dt" sz="half" idx="2"/>
          </p:nvPr>
        </p:nvSpPr>
        <p:spPr>
          <a:xfrm>
            <a:off x="2185246" y="6454800"/>
            <a:ext cx="1878120" cy="112593"/>
          </a:xfrm>
          <a:prstGeom prst="rect">
            <a:avLst/>
          </a:prstGeom>
        </p:spPr>
        <p:txBody>
          <a:bodyPr vert="horz" lIns="0" tIns="0" rIns="0" bIns="0" rtlCol="0" anchor="b"/>
          <a:lstStyle>
            <a:lvl1pPr algn="l">
              <a:defRPr sz="800">
                <a:solidFill>
                  <a:schemeClr val="tx2"/>
                </a:solidFill>
              </a:defRPr>
            </a:lvl1pPr>
          </a:lstStyle>
          <a:p>
            <a:fld id="{72863970-E853-F74E-B386-2DE5A779D478}" type="datetime1">
              <a:rPr lang="en-US" smtClean="0"/>
              <a:pPr/>
              <a:t>10/17/2023</a:t>
            </a:fld>
            <a:endParaRPr lang="en-US"/>
          </a:p>
        </p:txBody>
      </p:sp>
      <p:sp>
        <p:nvSpPr>
          <p:cNvPr id="17" name="Platshållare för sidfot 4">
            <a:extLst>
              <a:ext uri="{FF2B5EF4-FFF2-40B4-BE49-F238E27FC236}">
                <a16:creationId xmlns:a16="http://schemas.microsoft.com/office/drawing/2014/main" id="{BD08E183-7EEB-1A48-9454-562EA841C114}"/>
              </a:ext>
            </a:extLst>
          </p:cNvPr>
          <p:cNvSpPr>
            <a:spLocks noGrp="1"/>
          </p:cNvSpPr>
          <p:nvPr>
            <p:ph type="ftr" sz="quarter" idx="3"/>
          </p:nvPr>
        </p:nvSpPr>
        <p:spPr>
          <a:xfrm>
            <a:off x="4359276" y="6454800"/>
            <a:ext cx="3470274" cy="112593"/>
          </a:xfrm>
          <a:prstGeom prst="rect">
            <a:avLst/>
          </a:prstGeom>
        </p:spPr>
        <p:txBody>
          <a:bodyPr vert="horz" lIns="0" tIns="0" rIns="0" bIns="0" rtlCol="0" anchor="b"/>
          <a:lstStyle>
            <a:lvl1pPr algn="l">
              <a:defRPr sz="800">
                <a:solidFill>
                  <a:schemeClr val="tx2"/>
                </a:solidFill>
              </a:defRPr>
            </a:lvl1pPr>
          </a:lstStyle>
          <a:p>
            <a:r>
              <a:rPr lang="en-US"/>
              <a:t>Go to header/footer to change text </a:t>
            </a:r>
          </a:p>
        </p:txBody>
      </p:sp>
      <p:sp>
        <p:nvSpPr>
          <p:cNvPr id="18" name="Platshållare för bildnummer 5">
            <a:extLst>
              <a:ext uri="{FF2B5EF4-FFF2-40B4-BE49-F238E27FC236}">
                <a16:creationId xmlns:a16="http://schemas.microsoft.com/office/drawing/2014/main" id="{56AED5FD-1C48-544B-95C1-198A224E374A}"/>
              </a:ext>
            </a:extLst>
          </p:cNvPr>
          <p:cNvSpPr>
            <a:spLocks noGrp="1"/>
          </p:cNvSpPr>
          <p:nvPr>
            <p:ph type="sldNum" sz="quarter" idx="4"/>
          </p:nvPr>
        </p:nvSpPr>
        <p:spPr>
          <a:xfrm>
            <a:off x="10013315" y="6454800"/>
            <a:ext cx="1590676" cy="112593"/>
          </a:xfrm>
          <a:prstGeom prst="rect">
            <a:avLst/>
          </a:prstGeom>
        </p:spPr>
        <p:txBody>
          <a:bodyPr vert="horz" lIns="0" tIns="0" rIns="0" bIns="0" rtlCol="0" anchor="b"/>
          <a:lstStyle>
            <a:lvl1pPr algn="r">
              <a:defRPr sz="800">
                <a:solidFill>
                  <a:schemeClr val="tx2"/>
                </a:solidFill>
              </a:defRPr>
            </a:lvl1pPr>
          </a:lstStyle>
          <a:p>
            <a:fld id="{EF8DBD5B-30F9-4F9C-AE39-E065C1AC514D}" type="slidenum">
              <a:rPr lang="en-US" smtClean="0"/>
              <a:pPr/>
              <a:t>‹#›</a:t>
            </a:fld>
            <a:endParaRPr lang="en-US"/>
          </a:p>
        </p:txBody>
      </p:sp>
    </p:spTree>
    <p:extLst>
      <p:ext uri="{BB962C8B-B14F-4D97-AF65-F5344CB8AC3E}">
        <p14:creationId xmlns:p14="http://schemas.microsoft.com/office/powerpoint/2010/main" val="4083794808"/>
      </p:ext>
    </p:extLst>
  </p:cSld>
  <p:clrMapOvr>
    <a:overrideClrMapping bg1="lt1" tx1="dk1" bg2="lt2" tx2="dk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 Text Two Columns Headline">
    <p:bg>
      <p:bgRef idx="1001">
        <a:schemeClr val="bg1"/>
      </p:bgRef>
    </p:bg>
    <p:spTree>
      <p:nvGrpSpPr>
        <p:cNvPr id="1" name=""/>
        <p:cNvGrpSpPr/>
        <p:nvPr/>
      </p:nvGrpSpPr>
      <p:grpSpPr>
        <a:xfrm>
          <a:off x="0" y="0"/>
          <a:ext cx="0" cy="0"/>
          <a:chOff x="0" y="0"/>
          <a:chExt cx="0" cy="0"/>
        </a:xfrm>
      </p:grpSpPr>
      <p:sp>
        <p:nvSpPr>
          <p:cNvPr id="19" name="Text Placeholder 18">
            <a:extLst>
              <a:ext uri="{FF2B5EF4-FFF2-40B4-BE49-F238E27FC236}">
                <a16:creationId xmlns:a16="http://schemas.microsoft.com/office/drawing/2014/main" id="{696CCD45-BBC3-4242-B2B8-F5604A1D97BB}"/>
              </a:ext>
            </a:extLst>
          </p:cNvPr>
          <p:cNvSpPr>
            <a:spLocks noGrp="1"/>
          </p:cNvSpPr>
          <p:nvPr>
            <p:ph type="body" sz="quarter" idx="14" hasCustomPrompt="1"/>
          </p:nvPr>
        </p:nvSpPr>
        <p:spPr>
          <a:xfrm>
            <a:off x="576000" y="720001"/>
            <a:ext cx="11039738" cy="860400"/>
          </a:xfrm>
          <a:prstGeom prst="rect">
            <a:avLst/>
          </a:prstGeom>
        </p:spPr>
        <p:txBody>
          <a:bodyPr anchor="t">
            <a:noAutofit/>
          </a:bodyPr>
          <a:lstStyle>
            <a:lvl1pPr marL="0" indent="0">
              <a:lnSpc>
                <a:spcPct val="85000"/>
              </a:lnSpc>
              <a:spcBef>
                <a:spcPts val="0"/>
              </a:spcBef>
              <a:buNone/>
              <a:defRPr sz="3600" spc="40" baseline="0">
                <a:solidFill>
                  <a:schemeClr val="tx2"/>
                </a:solidFill>
                <a:latin typeface="+mj-lt"/>
              </a:defRPr>
            </a:lvl1pPr>
          </a:lstStyle>
          <a:p>
            <a:pPr lvl="0"/>
            <a:r>
              <a:rPr lang="en-US" noProof="0"/>
              <a:t>Click to add a headline of maximum two lines</a:t>
            </a:r>
          </a:p>
          <a:p>
            <a:pPr lvl="0"/>
            <a:endParaRPr lang="en-US" noProof="0"/>
          </a:p>
        </p:txBody>
      </p:sp>
      <p:sp>
        <p:nvSpPr>
          <p:cNvPr id="22" name="Text Placeholder 7">
            <a:extLst>
              <a:ext uri="{FF2B5EF4-FFF2-40B4-BE49-F238E27FC236}">
                <a16:creationId xmlns:a16="http://schemas.microsoft.com/office/drawing/2014/main" id="{C549C084-B31C-4141-B8C7-D02E39FDC08F}"/>
              </a:ext>
            </a:extLst>
          </p:cNvPr>
          <p:cNvSpPr>
            <a:spLocks noGrp="1"/>
          </p:cNvSpPr>
          <p:nvPr>
            <p:ph type="body" sz="quarter" idx="19" hasCustomPrompt="1"/>
          </p:nvPr>
        </p:nvSpPr>
        <p:spPr>
          <a:xfrm>
            <a:off x="576000" y="2098800"/>
            <a:ext cx="5377125" cy="278640"/>
          </a:xfrm>
        </p:spPr>
        <p:txBody>
          <a:bodyPr numCol="1"/>
          <a:lstStyle>
            <a:lvl1pPr marL="0" indent="0">
              <a:lnSpc>
                <a:spcPct val="100000"/>
              </a:lnSpc>
              <a:spcBef>
                <a:spcPts val="0"/>
              </a:spcBef>
              <a:spcAft>
                <a:spcPts val="1000"/>
              </a:spcAft>
              <a:buNone/>
              <a:defRPr sz="1600" b="1" spc="40" baseline="0">
                <a:solidFill>
                  <a:schemeClr val="tx2"/>
                </a:solidFill>
              </a:defRPr>
            </a:lvl1pPr>
            <a:lvl2pPr marL="14288" indent="0">
              <a:lnSpc>
                <a:spcPct val="100000"/>
              </a:lnSpc>
              <a:spcBef>
                <a:spcPts val="0"/>
              </a:spcBef>
              <a:spcAft>
                <a:spcPts val="1000"/>
              </a:spcAft>
              <a:buNone/>
              <a:tabLst/>
              <a:defRPr sz="1600" spc="40" baseline="0">
                <a:solidFill>
                  <a:schemeClr val="tx1"/>
                </a:solidFill>
              </a:defRPr>
            </a:lvl2pPr>
            <a:lvl3pPr marL="223838" indent="-179388">
              <a:tabLst/>
              <a:defRPr sz="1600" spc="40" baseline="0">
                <a:solidFill>
                  <a:schemeClr val="tx1"/>
                </a:solidFill>
              </a:defRPr>
            </a:lvl3pPr>
            <a:lvl4pPr marL="357188" indent="-133350">
              <a:tabLst/>
              <a:defRPr sz="1400" spc="40" baseline="0">
                <a:solidFill>
                  <a:schemeClr val="tx1"/>
                </a:solidFill>
              </a:defRPr>
            </a:lvl4pPr>
            <a:lvl5pPr marL="627063" indent="-179388">
              <a:tabLst/>
              <a:defRPr sz="1200" spc="40" baseline="0">
                <a:solidFill>
                  <a:schemeClr val="tx1"/>
                </a:solidFill>
              </a:defRPr>
            </a:lvl5pPr>
          </a:lstStyle>
          <a:p>
            <a:pPr lvl="0"/>
            <a:r>
              <a:rPr lang="en-US" noProof="0"/>
              <a:t>Click to add a short headline</a:t>
            </a:r>
          </a:p>
        </p:txBody>
      </p:sp>
      <p:grpSp>
        <p:nvGrpSpPr>
          <p:cNvPr id="24" name="Grupp 32">
            <a:extLst>
              <a:ext uri="{FF2B5EF4-FFF2-40B4-BE49-F238E27FC236}">
                <a16:creationId xmlns:a16="http://schemas.microsoft.com/office/drawing/2014/main" id="{E164E836-38EC-A94B-94D6-4538F8D3068F}"/>
              </a:ext>
            </a:extLst>
          </p:cNvPr>
          <p:cNvGrpSpPr/>
          <p:nvPr userDrawn="1"/>
        </p:nvGrpSpPr>
        <p:grpSpPr>
          <a:xfrm>
            <a:off x="576140" y="6451484"/>
            <a:ext cx="615478" cy="91194"/>
            <a:chOff x="576140" y="6451484"/>
            <a:chExt cx="615478" cy="91194"/>
          </a:xfrm>
          <a:solidFill>
            <a:schemeClr val="tx2"/>
          </a:solidFill>
        </p:grpSpPr>
        <p:sp>
          <p:nvSpPr>
            <p:cNvPr id="25" name="Bild 2">
              <a:extLst>
                <a:ext uri="{FF2B5EF4-FFF2-40B4-BE49-F238E27FC236}">
                  <a16:creationId xmlns:a16="http://schemas.microsoft.com/office/drawing/2014/main" id="{B55DD83B-497E-394E-9FB9-A2CB2BF48C78}"/>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noProof="0">
                <a:solidFill>
                  <a:schemeClr val="tx2"/>
                </a:solidFill>
              </a:endParaRPr>
            </a:p>
          </p:txBody>
        </p:sp>
        <p:sp>
          <p:nvSpPr>
            <p:cNvPr id="26" name="Bild 2">
              <a:extLst>
                <a:ext uri="{FF2B5EF4-FFF2-40B4-BE49-F238E27FC236}">
                  <a16:creationId xmlns:a16="http://schemas.microsoft.com/office/drawing/2014/main" id="{3170AB03-1838-104A-95E4-72BAFAA58DD1}"/>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7" name="Bild 2">
              <a:extLst>
                <a:ext uri="{FF2B5EF4-FFF2-40B4-BE49-F238E27FC236}">
                  <a16:creationId xmlns:a16="http://schemas.microsoft.com/office/drawing/2014/main" id="{B952FC06-D82A-CF4A-8968-E6B1A3553A58}"/>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28" name="Bild 2">
              <a:extLst>
                <a:ext uri="{FF2B5EF4-FFF2-40B4-BE49-F238E27FC236}">
                  <a16:creationId xmlns:a16="http://schemas.microsoft.com/office/drawing/2014/main" id="{57715913-E5D9-6C44-B00A-89C6D73C4B77}"/>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9" name="Bild 2">
              <a:extLst>
                <a:ext uri="{FF2B5EF4-FFF2-40B4-BE49-F238E27FC236}">
                  <a16:creationId xmlns:a16="http://schemas.microsoft.com/office/drawing/2014/main" id="{6650016E-D5DD-D240-AF61-A7B094FFF0C7}"/>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noProof="0">
                <a:solidFill>
                  <a:schemeClr val="tx2"/>
                </a:solidFill>
              </a:endParaRPr>
            </a:p>
          </p:txBody>
        </p:sp>
        <p:sp>
          <p:nvSpPr>
            <p:cNvPr id="30" name="Bild 2">
              <a:extLst>
                <a:ext uri="{FF2B5EF4-FFF2-40B4-BE49-F238E27FC236}">
                  <a16:creationId xmlns:a16="http://schemas.microsoft.com/office/drawing/2014/main" id="{315C4DD5-E3CD-3F4C-9343-87C793A284D7}"/>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31" name="Bild 2">
              <a:extLst>
                <a:ext uri="{FF2B5EF4-FFF2-40B4-BE49-F238E27FC236}">
                  <a16:creationId xmlns:a16="http://schemas.microsoft.com/office/drawing/2014/main" id="{016017F4-CF5B-3345-9010-EBD073B07768}"/>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grpSp>
      <p:sp>
        <p:nvSpPr>
          <p:cNvPr id="16" name="Platshållare för text 2">
            <a:extLst>
              <a:ext uri="{FF2B5EF4-FFF2-40B4-BE49-F238E27FC236}">
                <a16:creationId xmlns:a16="http://schemas.microsoft.com/office/drawing/2014/main" id="{ECEA6B9D-FCD9-264F-B149-52BDAA51427B}"/>
              </a:ext>
            </a:extLst>
          </p:cNvPr>
          <p:cNvSpPr>
            <a:spLocks noGrp="1"/>
          </p:cNvSpPr>
          <p:nvPr>
            <p:ph type="body" sz="quarter" idx="21" hasCustomPrompt="1"/>
          </p:nvPr>
        </p:nvSpPr>
        <p:spPr>
          <a:xfrm>
            <a:off x="576000" y="2464310"/>
            <a:ext cx="5377125" cy="3665028"/>
          </a:xfrm>
        </p:spPr>
        <p:txBody>
          <a:bodyPr numCol="1" spcCol="288000"/>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noProof="0"/>
              <a:t>Click to add body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8" name="Text Placeholder 7">
            <a:extLst>
              <a:ext uri="{FF2B5EF4-FFF2-40B4-BE49-F238E27FC236}">
                <a16:creationId xmlns:a16="http://schemas.microsoft.com/office/drawing/2014/main" id="{F6C12987-225B-0E47-8F8B-19D28C763DEE}"/>
              </a:ext>
            </a:extLst>
          </p:cNvPr>
          <p:cNvSpPr>
            <a:spLocks noGrp="1"/>
          </p:cNvSpPr>
          <p:nvPr>
            <p:ph type="body" sz="quarter" idx="22" hasCustomPrompt="1"/>
          </p:nvPr>
        </p:nvSpPr>
        <p:spPr>
          <a:xfrm>
            <a:off x="6253234" y="2098800"/>
            <a:ext cx="5377125" cy="278640"/>
          </a:xfrm>
        </p:spPr>
        <p:txBody>
          <a:bodyPr numCol="1"/>
          <a:lstStyle>
            <a:lvl1pPr marL="0" indent="0">
              <a:lnSpc>
                <a:spcPct val="100000"/>
              </a:lnSpc>
              <a:spcBef>
                <a:spcPts val="0"/>
              </a:spcBef>
              <a:spcAft>
                <a:spcPts val="1000"/>
              </a:spcAft>
              <a:buNone/>
              <a:defRPr sz="1600" b="1" spc="40" baseline="0">
                <a:solidFill>
                  <a:schemeClr val="tx2"/>
                </a:solidFill>
              </a:defRPr>
            </a:lvl1pPr>
            <a:lvl2pPr marL="14288" indent="0">
              <a:lnSpc>
                <a:spcPct val="100000"/>
              </a:lnSpc>
              <a:spcBef>
                <a:spcPts val="0"/>
              </a:spcBef>
              <a:spcAft>
                <a:spcPts val="1000"/>
              </a:spcAft>
              <a:buNone/>
              <a:tabLst/>
              <a:defRPr sz="1600" spc="40" baseline="0">
                <a:solidFill>
                  <a:schemeClr val="tx1"/>
                </a:solidFill>
              </a:defRPr>
            </a:lvl2pPr>
            <a:lvl3pPr marL="223838" indent="-179388">
              <a:tabLst/>
              <a:defRPr sz="1600" spc="40" baseline="0">
                <a:solidFill>
                  <a:schemeClr val="tx1"/>
                </a:solidFill>
              </a:defRPr>
            </a:lvl3pPr>
            <a:lvl4pPr marL="357188" indent="-133350">
              <a:tabLst/>
              <a:defRPr sz="1400" spc="40" baseline="0">
                <a:solidFill>
                  <a:schemeClr val="tx1"/>
                </a:solidFill>
              </a:defRPr>
            </a:lvl4pPr>
            <a:lvl5pPr marL="627063" indent="-179388">
              <a:tabLst/>
              <a:defRPr sz="1200" spc="40" baseline="0">
                <a:solidFill>
                  <a:schemeClr val="tx1"/>
                </a:solidFill>
              </a:defRPr>
            </a:lvl5pPr>
          </a:lstStyle>
          <a:p>
            <a:pPr lvl="0"/>
            <a:r>
              <a:rPr lang="en-US" noProof="0"/>
              <a:t>Click to add a short headline</a:t>
            </a:r>
          </a:p>
        </p:txBody>
      </p:sp>
      <p:sp>
        <p:nvSpPr>
          <p:cNvPr id="20" name="Platshållare för text 2">
            <a:extLst>
              <a:ext uri="{FF2B5EF4-FFF2-40B4-BE49-F238E27FC236}">
                <a16:creationId xmlns:a16="http://schemas.microsoft.com/office/drawing/2014/main" id="{A18C74BD-CC5C-1E4F-BEFD-F00C703BC870}"/>
              </a:ext>
            </a:extLst>
          </p:cNvPr>
          <p:cNvSpPr>
            <a:spLocks noGrp="1"/>
          </p:cNvSpPr>
          <p:nvPr>
            <p:ph type="body" sz="quarter" idx="23" hasCustomPrompt="1"/>
          </p:nvPr>
        </p:nvSpPr>
        <p:spPr>
          <a:xfrm>
            <a:off x="6253234" y="2464310"/>
            <a:ext cx="5377125" cy="3665028"/>
          </a:xfrm>
        </p:spPr>
        <p:txBody>
          <a:bodyPr numCol="1" spcCol="288000"/>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noProof="0"/>
              <a:t>Click to add body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1" name="Platshållare för datum 3">
            <a:extLst>
              <a:ext uri="{FF2B5EF4-FFF2-40B4-BE49-F238E27FC236}">
                <a16:creationId xmlns:a16="http://schemas.microsoft.com/office/drawing/2014/main" id="{50634EA5-8E05-4B46-AB5B-54928CE760AD}"/>
              </a:ext>
            </a:extLst>
          </p:cNvPr>
          <p:cNvSpPr>
            <a:spLocks noGrp="1"/>
          </p:cNvSpPr>
          <p:nvPr>
            <p:ph type="dt" sz="half" idx="2"/>
          </p:nvPr>
        </p:nvSpPr>
        <p:spPr>
          <a:xfrm>
            <a:off x="2185246" y="6454800"/>
            <a:ext cx="1878120" cy="112593"/>
          </a:xfrm>
          <a:prstGeom prst="rect">
            <a:avLst/>
          </a:prstGeom>
        </p:spPr>
        <p:txBody>
          <a:bodyPr vert="horz" lIns="0" tIns="0" rIns="0" bIns="0" rtlCol="0" anchor="b"/>
          <a:lstStyle>
            <a:lvl1pPr algn="l">
              <a:defRPr sz="800">
                <a:solidFill>
                  <a:schemeClr val="tx2"/>
                </a:solidFill>
              </a:defRPr>
            </a:lvl1pPr>
          </a:lstStyle>
          <a:p>
            <a:fld id="{72863970-E853-F74E-B386-2DE5A779D478}" type="datetime1">
              <a:rPr lang="en-US" smtClean="0"/>
              <a:pPr/>
              <a:t>10/17/2023</a:t>
            </a:fld>
            <a:endParaRPr lang="en-US"/>
          </a:p>
        </p:txBody>
      </p:sp>
      <p:sp>
        <p:nvSpPr>
          <p:cNvPr id="23" name="Platshållare för sidfot 4">
            <a:extLst>
              <a:ext uri="{FF2B5EF4-FFF2-40B4-BE49-F238E27FC236}">
                <a16:creationId xmlns:a16="http://schemas.microsoft.com/office/drawing/2014/main" id="{156F3733-30BA-004F-9BCE-87E0F6363AF7}"/>
              </a:ext>
            </a:extLst>
          </p:cNvPr>
          <p:cNvSpPr>
            <a:spLocks noGrp="1"/>
          </p:cNvSpPr>
          <p:nvPr>
            <p:ph type="ftr" sz="quarter" idx="3"/>
          </p:nvPr>
        </p:nvSpPr>
        <p:spPr>
          <a:xfrm>
            <a:off x="4359276" y="6454800"/>
            <a:ext cx="3470274" cy="112593"/>
          </a:xfrm>
          <a:prstGeom prst="rect">
            <a:avLst/>
          </a:prstGeom>
        </p:spPr>
        <p:txBody>
          <a:bodyPr vert="horz" lIns="0" tIns="0" rIns="0" bIns="0" rtlCol="0" anchor="b"/>
          <a:lstStyle>
            <a:lvl1pPr algn="l">
              <a:defRPr sz="800">
                <a:solidFill>
                  <a:schemeClr val="tx2"/>
                </a:solidFill>
              </a:defRPr>
            </a:lvl1pPr>
          </a:lstStyle>
          <a:p>
            <a:r>
              <a:rPr lang="en-US"/>
              <a:t>Go to header/footer to change text </a:t>
            </a:r>
          </a:p>
        </p:txBody>
      </p:sp>
      <p:sp>
        <p:nvSpPr>
          <p:cNvPr id="32" name="Platshållare för bildnummer 5">
            <a:extLst>
              <a:ext uri="{FF2B5EF4-FFF2-40B4-BE49-F238E27FC236}">
                <a16:creationId xmlns:a16="http://schemas.microsoft.com/office/drawing/2014/main" id="{6318D18D-266E-B248-A64E-142432F65CFE}"/>
              </a:ext>
            </a:extLst>
          </p:cNvPr>
          <p:cNvSpPr>
            <a:spLocks noGrp="1"/>
          </p:cNvSpPr>
          <p:nvPr>
            <p:ph type="sldNum" sz="quarter" idx="4"/>
          </p:nvPr>
        </p:nvSpPr>
        <p:spPr>
          <a:xfrm>
            <a:off x="10013315" y="6454800"/>
            <a:ext cx="1590676" cy="112593"/>
          </a:xfrm>
          <a:prstGeom prst="rect">
            <a:avLst/>
          </a:prstGeom>
        </p:spPr>
        <p:txBody>
          <a:bodyPr vert="horz" lIns="0" tIns="0" rIns="0" bIns="0" rtlCol="0" anchor="b"/>
          <a:lstStyle>
            <a:lvl1pPr algn="r">
              <a:defRPr sz="800">
                <a:solidFill>
                  <a:schemeClr val="tx2"/>
                </a:solidFill>
              </a:defRPr>
            </a:lvl1pPr>
          </a:lstStyle>
          <a:p>
            <a:fld id="{EF8DBD5B-30F9-4F9C-AE39-E065C1AC514D}" type="slidenum">
              <a:rPr lang="en-US" smtClean="0"/>
              <a:pPr/>
              <a:t>‹#›</a:t>
            </a:fld>
            <a:endParaRPr lang="en-US"/>
          </a:p>
        </p:txBody>
      </p:sp>
    </p:spTree>
    <p:extLst>
      <p:ext uri="{BB962C8B-B14F-4D97-AF65-F5344CB8AC3E}">
        <p14:creationId xmlns:p14="http://schemas.microsoft.com/office/powerpoint/2010/main" val="405818148"/>
      </p:ext>
    </p:extLst>
  </p:cSld>
  <p:clrMapOvr>
    <a:overrideClrMapping bg1="lt1" tx1="dk1" bg2="lt2" tx2="dk2" accent1="accent1" accent2="accent2" accent3="accent3" accent4="accent4" accent5="accent5" accent6="accent6" hlink="hlink" folHlink="folHlink"/>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 Text Three Flowing Columns">
    <p:bg>
      <p:bgRef idx="1001">
        <a:schemeClr val="bg1"/>
      </p:bgRef>
    </p:bg>
    <p:spTree>
      <p:nvGrpSpPr>
        <p:cNvPr id="1" name=""/>
        <p:cNvGrpSpPr/>
        <p:nvPr/>
      </p:nvGrpSpPr>
      <p:grpSpPr>
        <a:xfrm>
          <a:off x="0" y="0"/>
          <a:ext cx="0" cy="0"/>
          <a:chOff x="0" y="0"/>
          <a:chExt cx="0" cy="0"/>
        </a:xfrm>
      </p:grpSpPr>
      <p:sp>
        <p:nvSpPr>
          <p:cNvPr id="19" name="Text Placeholder 18">
            <a:extLst>
              <a:ext uri="{FF2B5EF4-FFF2-40B4-BE49-F238E27FC236}">
                <a16:creationId xmlns:a16="http://schemas.microsoft.com/office/drawing/2014/main" id="{696CCD45-BBC3-4242-B2B8-F5604A1D97BB}"/>
              </a:ext>
            </a:extLst>
          </p:cNvPr>
          <p:cNvSpPr>
            <a:spLocks noGrp="1"/>
          </p:cNvSpPr>
          <p:nvPr>
            <p:ph type="body" sz="quarter" idx="14" hasCustomPrompt="1"/>
          </p:nvPr>
        </p:nvSpPr>
        <p:spPr>
          <a:xfrm>
            <a:off x="576000" y="720001"/>
            <a:ext cx="11039738" cy="860400"/>
          </a:xfrm>
          <a:prstGeom prst="rect">
            <a:avLst/>
          </a:prstGeom>
        </p:spPr>
        <p:txBody>
          <a:bodyPr anchor="t">
            <a:noAutofit/>
          </a:bodyPr>
          <a:lstStyle>
            <a:lvl1pPr marL="0" indent="0">
              <a:lnSpc>
                <a:spcPct val="85000"/>
              </a:lnSpc>
              <a:spcBef>
                <a:spcPts val="0"/>
              </a:spcBef>
              <a:buNone/>
              <a:defRPr sz="3600" b="0" spc="40" baseline="0">
                <a:solidFill>
                  <a:schemeClr val="tx2"/>
                </a:solidFill>
                <a:latin typeface="+mj-lt"/>
              </a:defRPr>
            </a:lvl1pPr>
          </a:lstStyle>
          <a:p>
            <a:pPr lvl="0"/>
            <a:r>
              <a:rPr lang="en-US" noProof="0"/>
              <a:t>Click to add a headline of maximum two lines</a:t>
            </a:r>
          </a:p>
          <a:p>
            <a:pPr lvl="0"/>
            <a:endParaRPr lang="en-US" noProof="0"/>
          </a:p>
        </p:txBody>
      </p:sp>
      <p:grpSp>
        <p:nvGrpSpPr>
          <p:cNvPr id="23" name="Grupp 32">
            <a:extLst>
              <a:ext uri="{FF2B5EF4-FFF2-40B4-BE49-F238E27FC236}">
                <a16:creationId xmlns:a16="http://schemas.microsoft.com/office/drawing/2014/main" id="{8B03C48B-F907-BE43-A494-AFCA1EC37F3F}"/>
              </a:ext>
            </a:extLst>
          </p:cNvPr>
          <p:cNvGrpSpPr/>
          <p:nvPr userDrawn="1"/>
        </p:nvGrpSpPr>
        <p:grpSpPr>
          <a:xfrm>
            <a:off x="576140" y="6451484"/>
            <a:ext cx="615478" cy="91194"/>
            <a:chOff x="576140" y="6451484"/>
            <a:chExt cx="615478" cy="91194"/>
          </a:xfrm>
          <a:solidFill>
            <a:schemeClr val="tx2"/>
          </a:solidFill>
        </p:grpSpPr>
        <p:sp>
          <p:nvSpPr>
            <p:cNvPr id="24" name="Bild 2">
              <a:extLst>
                <a:ext uri="{FF2B5EF4-FFF2-40B4-BE49-F238E27FC236}">
                  <a16:creationId xmlns:a16="http://schemas.microsoft.com/office/drawing/2014/main" id="{539AD44F-4AF2-FF4F-9D06-17E1A4C28BBE}"/>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noProof="0">
                <a:solidFill>
                  <a:schemeClr val="tx2"/>
                </a:solidFill>
              </a:endParaRPr>
            </a:p>
          </p:txBody>
        </p:sp>
        <p:sp>
          <p:nvSpPr>
            <p:cNvPr id="25" name="Bild 2">
              <a:extLst>
                <a:ext uri="{FF2B5EF4-FFF2-40B4-BE49-F238E27FC236}">
                  <a16:creationId xmlns:a16="http://schemas.microsoft.com/office/drawing/2014/main" id="{5BE09178-ECA8-844A-B048-00F09827D6AE}"/>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6" name="Bild 2">
              <a:extLst>
                <a:ext uri="{FF2B5EF4-FFF2-40B4-BE49-F238E27FC236}">
                  <a16:creationId xmlns:a16="http://schemas.microsoft.com/office/drawing/2014/main" id="{2869571E-38AE-8E44-A360-01C17E6F98BD}"/>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27" name="Bild 2">
              <a:extLst>
                <a:ext uri="{FF2B5EF4-FFF2-40B4-BE49-F238E27FC236}">
                  <a16:creationId xmlns:a16="http://schemas.microsoft.com/office/drawing/2014/main" id="{BA7F8BE0-BC77-6840-BE67-8B740867F3BD}"/>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8" name="Bild 2">
              <a:extLst>
                <a:ext uri="{FF2B5EF4-FFF2-40B4-BE49-F238E27FC236}">
                  <a16:creationId xmlns:a16="http://schemas.microsoft.com/office/drawing/2014/main" id="{244CF4A3-7B1A-3C41-94CF-1DA929D1D49B}"/>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noProof="0">
                <a:solidFill>
                  <a:schemeClr val="tx2"/>
                </a:solidFill>
              </a:endParaRPr>
            </a:p>
          </p:txBody>
        </p:sp>
        <p:sp>
          <p:nvSpPr>
            <p:cNvPr id="29" name="Bild 2">
              <a:extLst>
                <a:ext uri="{FF2B5EF4-FFF2-40B4-BE49-F238E27FC236}">
                  <a16:creationId xmlns:a16="http://schemas.microsoft.com/office/drawing/2014/main" id="{9B4D778E-499D-4744-AC87-93ABFC8BAD18}"/>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30" name="Bild 2">
              <a:extLst>
                <a:ext uri="{FF2B5EF4-FFF2-40B4-BE49-F238E27FC236}">
                  <a16:creationId xmlns:a16="http://schemas.microsoft.com/office/drawing/2014/main" id="{15D52584-E231-3B47-A1E3-E875B68A82BF}"/>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grpSp>
      <p:sp>
        <p:nvSpPr>
          <p:cNvPr id="15" name="Platshållare för text 2">
            <a:extLst>
              <a:ext uri="{FF2B5EF4-FFF2-40B4-BE49-F238E27FC236}">
                <a16:creationId xmlns:a16="http://schemas.microsoft.com/office/drawing/2014/main" id="{F71CA44B-A516-DE48-8E00-49E05D1465C6}"/>
              </a:ext>
            </a:extLst>
          </p:cNvPr>
          <p:cNvSpPr>
            <a:spLocks noGrp="1"/>
          </p:cNvSpPr>
          <p:nvPr>
            <p:ph type="body" sz="quarter" idx="20" hasCustomPrompt="1"/>
          </p:nvPr>
        </p:nvSpPr>
        <p:spPr>
          <a:xfrm>
            <a:off x="576000" y="2098800"/>
            <a:ext cx="11039738" cy="4030663"/>
          </a:xfrm>
        </p:spPr>
        <p:txBody>
          <a:bodyPr numCol="3" spcCol="288000"/>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noProof="0"/>
              <a:t>Click to add body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Platshållare för datum 3">
            <a:extLst>
              <a:ext uri="{FF2B5EF4-FFF2-40B4-BE49-F238E27FC236}">
                <a16:creationId xmlns:a16="http://schemas.microsoft.com/office/drawing/2014/main" id="{40AB4C1F-C62F-D344-BB18-CBAD42AEB614}"/>
              </a:ext>
            </a:extLst>
          </p:cNvPr>
          <p:cNvSpPr>
            <a:spLocks noGrp="1"/>
          </p:cNvSpPr>
          <p:nvPr>
            <p:ph type="dt" sz="half" idx="2"/>
          </p:nvPr>
        </p:nvSpPr>
        <p:spPr>
          <a:xfrm>
            <a:off x="2185246" y="6454800"/>
            <a:ext cx="1878120" cy="112593"/>
          </a:xfrm>
          <a:prstGeom prst="rect">
            <a:avLst/>
          </a:prstGeom>
        </p:spPr>
        <p:txBody>
          <a:bodyPr vert="horz" lIns="0" tIns="0" rIns="0" bIns="0" rtlCol="0" anchor="b"/>
          <a:lstStyle>
            <a:lvl1pPr algn="l">
              <a:defRPr sz="800">
                <a:solidFill>
                  <a:schemeClr val="tx2"/>
                </a:solidFill>
              </a:defRPr>
            </a:lvl1pPr>
          </a:lstStyle>
          <a:p>
            <a:fld id="{72863970-E853-F74E-B386-2DE5A779D478}" type="datetime1">
              <a:rPr lang="en-US" smtClean="0"/>
              <a:pPr/>
              <a:t>10/17/2023</a:t>
            </a:fld>
            <a:endParaRPr lang="en-US"/>
          </a:p>
        </p:txBody>
      </p:sp>
      <p:sp>
        <p:nvSpPr>
          <p:cNvPr id="17" name="Platshållare för sidfot 4">
            <a:extLst>
              <a:ext uri="{FF2B5EF4-FFF2-40B4-BE49-F238E27FC236}">
                <a16:creationId xmlns:a16="http://schemas.microsoft.com/office/drawing/2014/main" id="{26C7CC11-AD44-1A47-A33A-8F1F09EB7CCB}"/>
              </a:ext>
            </a:extLst>
          </p:cNvPr>
          <p:cNvSpPr>
            <a:spLocks noGrp="1"/>
          </p:cNvSpPr>
          <p:nvPr>
            <p:ph type="ftr" sz="quarter" idx="3"/>
          </p:nvPr>
        </p:nvSpPr>
        <p:spPr>
          <a:xfrm>
            <a:off x="4359276" y="6454800"/>
            <a:ext cx="3470274" cy="112593"/>
          </a:xfrm>
          <a:prstGeom prst="rect">
            <a:avLst/>
          </a:prstGeom>
        </p:spPr>
        <p:txBody>
          <a:bodyPr vert="horz" lIns="0" tIns="0" rIns="0" bIns="0" rtlCol="0" anchor="b"/>
          <a:lstStyle>
            <a:lvl1pPr algn="l">
              <a:defRPr sz="800">
                <a:solidFill>
                  <a:schemeClr val="tx2"/>
                </a:solidFill>
              </a:defRPr>
            </a:lvl1pPr>
          </a:lstStyle>
          <a:p>
            <a:r>
              <a:rPr lang="en-US"/>
              <a:t>Go to header/footer to change text </a:t>
            </a:r>
          </a:p>
        </p:txBody>
      </p:sp>
      <p:sp>
        <p:nvSpPr>
          <p:cNvPr id="18" name="Platshållare för bildnummer 5">
            <a:extLst>
              <a:ext uri="{FF2B5EF4-FFF2-40B4-BE49-F238E27FC236}">
                <a16:creationId xmlns:a16="http://schemas.microsoft.com/office/drawing/2014/main" id="{B3C84E5A-416A-9244-B02C-1271088F5D90}"/>
              </a:ext>
            </a:extLst>
          </p:cNvPr>
          <p:cNvSpPr>
            <a:spLocks noGrp="1"/>
          </p:cNvSpPr>
          <p:nvPr>
            <p:ph type="sldNum" sz="quarter" idx="4"/>
          </p:nvPr>
        </p:nvSpPr>
        <p:spPr>
          <a:xfrm>
            <a:off x="10013315" y="6454800"/>
            <a:ext cx="1590676" cy="112593"/>
          </a:xfrm>
          <a:prstGeom prst="rect">
            <a:avLst/>
          </a:prstGeom>
        </p:spPr>
        <p:txBody>
          <a:bodyPr vert="horz" lIns="0" tIns="0" rIns="0" bIns="0" rtlCol="0" anchor="b"/>
          <a:lstStyle>
            <a:lvl1pPr algn="r">
              <a:defRPr sz="800">
                <a:solidFill>
                  <a:schemeClr val="tx2"/>
                </a:solidFill>
              </a:defRPr>
            </a:lvl1pPr>
          </a:lstStyle>
          <a:p>
            <a:fld id="{EF8DBD5B-30F9-4F9C-AE39-E065C1AC514D}" type="slidenum">
              <a:rPr lang="en-US" smtClean="0"/>
              <a:pPr/>
              <a:t>‹#›</a:t>
            </a:fld>
            <a:endParaRPr lang="en-US"/>
          </a:p>
        </p:txBody>
      </p:sp>
    </p:spTree>
    <p:extLst>
      <p:ext uri="{BB962C8B-B14F-4D97-AF65-F5344CB8AC3E}">
        <p14:creationId xmlns:p14="http://schemas.microsoft.com/office/powerpoint/2010/main" val="2580241096"/>
      </p:ext>
    </p:extLst>
  </p:cSld>
  <p:clrMapOvr>
    <a:overrideClrMapping bg1="lt1" tx1="dk1" bg2="lt2" tx2="dk2" accent1="accent1" accent2="accent2" accent3="accent3" accent4="accent4" accent5="accent5" accent6="accent6" hlink="hlink" folHlink="folHlink"/>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 Text Three Columns Headline">
    <p:bg>
      <p:bgRef idx="1001">
        <a:schemeClr val="bg1"/>
      </p:bgRef>
    </p:bg>
    <p:spTree>
      <p:nvGrpSpPr>
        <p:cNvPr id="1" name=""/>
        <p:cNvGrpSpPr/>
        <p:nvPr/>
      </p:nvGrpSpPr>
      <p:grpSpPr>
        <a:xfrm>
          <a:off x="0" y="0"/>
          <a:ext cx="0" cy="0"/>
          <a:chOff x="0" y="0"/>
          <a:chExt cx="0" cy="0"/>
        </a:xfrm>
      </p:grpSpPr>
      <p:sp>
        <p:nvSpPr>
          <p:cNvPr id="19" name="Text Placeholder 18">
            <a:extLst>
              <a:ext uri="{FF2B5EF4-FFF2-40B4-BE49-F238E27FC236}">
                <a16:creationId xmlns:a16="http://schemas.microsoft.com/office/drawing/2014/main" id="{696CCD45-BBC3-4242-B2B8-F5604A1D97BB}"/>
              </a:ext>
            </a:extLst>
          </p:cNvPr>
          <p:cNvSpPr>
            <a:spLocks noGrp="1"/>
          </p:cNvSpPr>
          <p:nvPr>
            <p:ph type="body" sz="quarter" idx="14" hasCustomPrompt="1"/>
          </p:nvPr>
        </p:nvSpPr>
        <p:spPr>
          <a:xfrm>
            <a:off x="576000" y="720001"/>
            <a:ext cx="11039738" cy="860400"/>
          </a:xfrm>
          <a:prstGeom prst="rect">
            <a:avLst/>
          </a:prstGeom>
        </p:spPr>
        <p:txBody>
          <a:bodyPr anchor="t">
            <a:noAutofit/>
          </a:bodyPr>
          <a:lstStyle>
            <a:lvl1pPr marL="0" indent="0">
              <a:lnSpc>
                <a:spcPct val="85000"/>
              </a:lnSpc>
              <a:spcBef>
                <a:spcPts val="0"/>
              </a:spcBef>
              <a:buNone/>
              <a:defRPr sz="3600" spc="40" baseline="0">
                <a:solidFill>
                  <a:schemeClr val="tx2"/>
                </a:solidFill>
                <a:latin typeface="+mj-lt"/>
              </a:defRPr>
            </a:lvl1pPr>
          </a:lstStyle>
          <a:p>
            <a:pPr lvl="0"/>
            <a:r>
              <a:rPr lang="en-US" noProof="0"/>
              <a:t>Click to add a headline of maximum two lines</a:t>
            </a:r>
          </a:p>
          <a:p>
            <a:pPr lvl="0"/>
            <a:endParaRPr lang="en-US" noProof="0"/>
          </a:p>
        </p:txBody>
      </p:sp>
      <p:grpSp>
        <p:nvGrpSpPr>
          <p:cNvPr id="25" name="Grupp 32">
            <a:extLst>
              <a:ext uri="{FF2B5EF4-FFF2-40B4-BE49-F238E27FC236}">
                <a16:creationId xmlns:a16="http://schemas.microsoft.com/office/drawing/2014/main" id="{2736D314-A690-3242-95CE-3FFEB5A57FE0}"/>
              </a:ext>
            </a:extLst>
          </p:cNvPr>
          <p:cNvGrpSpPr/>
          <p:nvPr userDrawn="1"/>
        </p:nvGrpSpPr>
        <p:grpSpPr>
          <a:xfrm>
            <a:off x="576140" y="6451484"/>
            <a:ext cx="615478" cy="91194"/>
            <a:chOff x="576140" y="6451484"/>
            <a:chExt cx="615478" cy="91194"/>
          </a:xfrm>
          <a:solidFill>
            <a:schemeClr val="tx2"/>
          </a:solidFill>
        </p:grpSpPr>
        <p:sp>
          <p:nvSpPr>
            <p:cNvPr id="26" name="Bild 2">
              <a:extLst>
                <a:ext uri="{FF2B5EF4-FFF2-40B4-BE49-F238E27FC236}">
                  <a16:creationId xmlns:a16="http://schemas.microsoft.com/office/drawing/2014/main" id="{E24ADC73-F5C8-0A45-BFE4-70AF439A80E8}"/>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noProof="0">
                <a:solidFill>
                  <a:schemeClr val="tx2"/>
                </a:solidFill>
              </a:endParaRPr>
            </a:p>
          </p:txBody>
        </p:sp>
        <p:sp>
          <p:nvSpPr>
            <p:cNvPr id="27" name="Bild 2">
              <a:extLst>
                <a:ext uri="{FF2B5EF4-FFF2-40B4-BE49-F238E27FC236}">
                  <a16:creationId xmlns:a16="http://schemas.microsoft.com/office/drawing/2014/main" id="{BC1DE0D4-06B4-5E47-BEC8-1A2917F15F26}"/>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8" name="Bild 2">
              <a:extLst>
                <a:ext uri="{FF2B5EF4-FFF2-40B4-BE49-F238E27FC236}">
                  <a16:creationId xmlns:a16="http://schemas.microsoft.com/office/drawing/2014/main" id="{8370F551-DDA1-A844-8595-12C2C419AB0E}"/>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29" name="Bild 2">
              <a:extLst>
                <a:ext uri="{FF2B5EF4-FFF2-40B4-BE49-F238E27FC236}">
                  <a16:creationId xmlns:a16="http://schemas.microsoft.com/office/drawing/2014/main" id="{6C92C335-4855-474F-9E41-F65B6D1CFBAF}"/>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sp>
          <p:nvSpPr>
            <p:cNvPr id="30" name="Bild 2">
              <a:extLst>
                <a:ext uri="{FF2B5EF4-FFF2-40B4-BE49-F238E27FC236}">
                  <a16:creationId xmlns:a16="http://schemas.microsoft.com/office/drawing/2014/main" id="{C04C9D88-37BA-B541-AAF6-5386D9A79F1B}"/>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noProof="0">
                <a:solidFill>
                  <a:schemeClr val="tx2"/>
                </a:solidFill>
              </a:endParaRPr>
            </a:p>
          </p:txBody>
        </p:sp>
        <p:sp>
          <p:nvSpPr>
            <p:cNvPr id="31" name="Bild 2">
              <a:extLst>
                <a:ext uri="{FF2B5EF4-FFF2-40B4-BE49-F238E27FC236}">
                  <a16:creationId xmlns:a16="http://schemas.microsoft.com/office/drawing/2014/main" id="{76233B80-D521-4242-854A-F2400F55B69B}"/>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32" name="Bild 2">
              <a:extLst>
                <a:ext uri="{FF2B5EF4-FFF2-40B4-BE49-F238E27FC236}">
                  <a16:creationId xmlns:a16="http://schemas.microsoft.com/office/drawing/2014/main" id="{50F0DE68-8B37-FD44-AD6E-0209E57CE88B}"/>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grpSp>
      <p:sp>
        <p:nvSpPr>
          <p:cNvPr id="20" name="Text Placeholder 7">
            <a:extLst>
              <a:ext uri="{FF2B5EF4-FFF2-40B4-BE49-F238E27FC236}">
                <a16:creationId xmlns:a16="http://schemas.microsoft.com/office/drawing/2014/main" id="{F0C69720-3BB4-CE48-9B9B-3853CE7792ED}"/>
              </a:ext>
            </a:extLst>
          </p:cNvPr>
          <p:cNvSpPr>
            <a:spLocks noGrp="1"/>
          </p:cNvSpPr>
          <p:nvPr>
            <p:ph type="body" sz="quarter" idx="19" hasCustomPrompt="1"/>
          </p:nvPr>
        </p:nvSpPr>
        <p:spPr>
          <a:xfrm>
            <a:off x="576001" y="2098800"/>
            <a:ext cx="3481650" cy="278640"/>
          </a:xfrm>
        </p:spPr>
        <p:txBody>
          <a:bodyPr numCol="1"/>
          <a:lstStyle>
            <a:lvl1pPr marL="0" indent="0">
              <a:lnSpc>
                <a:spcPct val="100000"/>
              </a:lnSpc>
              <a:spcBef>
                <a:spcPts val="0"/>
              </a:spcBef>
              <a:spcAft>
                <a:spcPts val="1000"/>
              </a:spcAft>
              <a:buNone/>
              <a:defRPr sz="1600" b="1" spc="40" baseline="0">
                <a:solidFill>
                  <a:schemeClr val="tx2"/>
                </a:solidFill>
              </a:defRPr>
            </a:lvl1pPr>
            <a:lvl2pPr marL="14288" indent="0">
              <a:lnSpc>
                <a:spcPct val="100000"/>
              </a:lnSpc>
              <a:spcBef>
                <a:spcPts val="0"/>
              </a:spcBef>
              <a:spcAft>
                <a:spcPts val="1000"/>
              </a:spcAft>
              <a:buNone/>
              <a:tabLst/>
              <a:defRPr sz="1600" spc="40" baseline="0">
                <a:solidFill>
                  <a:schemeClr val="tx1"/>
                </a:solidFill>
              </a:defRPr>
            </a:lvl2pPr>
            <a:lvl3pPr marL="223838" indent="-179388">
              <a:tabLst/>
              <a:defRPr sz="1600" spc="40" baseline="0">
                <a:solidFill>
                  <a:schemeClr val="tx1"/>
                </a:solidFill>
              </a:defRPr>
            </a:lvl3pPr>
            <a:lvl4pPr marL="357188" indent="-133350">
              <a:tabLst/>
              <a:defRPr sz="1400" spc="40" baseline="0">
                <a:solidFill>
                  <a:schemeClr val="tx1"/>
                </a:solidFill>
              </a:defRPr>
            </a:lvl4pPr>
            <a:lvl5pPr marL="627063" indent="-179388">
              <a:tabLst/>
              <a:defRPr sz="1200" spc="40" baseline="0">
                <a:solidFill>
                  <a:schemeClr val="tx1"/>
                </a:solidFill>
              </a:defRPr>
            </a:lvl5pPr>
          </a:lstStyle>
          <a:p>
            <a:pPr lvl="0"/>
            <a:r>
              <a:rPr lang="en-US" noProof="0"/>
              <a:t>Click to add a short headline</a:t>
            </a:r>
          </a:p>
        </p:txBody>
      </p:sp>
      <p:sp>
        <p:nvSpPr>
          <p:cNvPr id="21" name="Platshållare för text 2">
            <a:extLst>
              <a:ext uri="{FF2B5EF4-FFF2-40B4-BE49-F238E27FC236}">
                <a16:creationId xmlns:a16="http://schemas.microsoft.com/office/drawing/2014/main" id="{A52DBF44-87DD-6141-8462-4830C4051BB0}"/>
              </a:ext>
            </a:extLst>
          </p:cNvPr>
          <p:cNvSpPr>
            <a:spLocks noGrp="1"/>
          </p:cNvSpPr>
          <p:nvPr>
            <p:ph type="body" sz="quarter" idx="21" hasCustomPrompt="1"/>
          </p:nvPr>
        </p:nvSpPr>
        <p:spPr>
          <a:xfrm>
            <a:off x="576001" y="2464310"/>
            <a:ext cx="3481650" cy="3665028"/>
          </a:xfrm>
        </p:spPr>
        <p:txBody>
          <a:bodyPr numCol="1" spcCol="288000"/>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noProof="0"/>
              <a:t>Click to add body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3" name="Text Placeholder 7">
            <a:extLst>
              <a:ext uri="{FF2B5EF4-FFF2-40B4-BE49-F238E27FC236}">
                <a16:creationId xmlns:a16="http://schemas.microsoft.com/office/drawing/2014/main" id="{F70341C1-0EEE-554E-9131-0B4D0A42CC19}"/>
              </a:ext>
            </a:extLst>
          </p:cNvPr>
          <p:cNvSpPr>
            <a:spLocks noGrp="1"/>
          </p:cNvSpPr>
          <p:nvPr>
            <p:ph type="body" sz="quarter" idx="22" hasCustomPrompt="1"/>
          </p:nvPr>
        </p:nvSpPr>
        <p:spPr>
          <a:xfrm>
            <a:off x="4360821" y="2098800"/>
            <a:ext cx="3481650" cy="278640"/>
          </a:xfrm>
        </p:spPr>
        <p:txBody>
          <a:bodyPr numCol="1"/>
          <a:lstStyle>
            <a:lvl1pPr marL="0" indent="0">
              <a:lnSpc>
                <a:spcPct val="100000"/>
              </a:lnSpc>
              <a:spcBef>
                <a:spcPts val="0"/>
              </a:spcBef>
              <a:spcAft>
                <a:spcPts val="1000"/>
              </a:spcAft>
              <a:buNone/>
              <a:defRPr sz="1600" b="1" spc="40" baseline="0">
                <a:solidFill>
                  <a:schemeClr val="tx2"/>
                </a:solidFill>
              </a:defRPr>
            </a:lvl1pPr>
            <a:lvl2pPr marL="14288" indent="0">
              <a:lnSpc>
                <a:spcPct val="100000"/>
              </a:lnSpc>
              <a:spcBef>
                <a:spcPts val="0"/>
              </a:spcBef>
              <a:spcAft>
                <a:spcPts val="1000"/>
              </a:spcAft>
              <a:buNone/>
              <a:tabLst/>
              <a:defRPr sz="1600" spc="40" baseline="0">
                <a:solidFill>
                  <a:schemeClr val="tx1"/>
                </a:solidFill>
              </a:defRPr>
            </a:lvl2pPr>
            <a:lvl3pPr marL="223838" indent="-179388">
              <a:tabLst/>
              <a:defRPr sz="1600" spc="40" baseline="0">
                <a:solidFill>
                  <a:schemeClr val="tx1"/>
                </a:solidFill>
              </a:defRPr>
            </a:lvl3pPr>
            <a:lvl4pPr marL="357188" indent="-133350">
              <a:tabLst/>
              <a:defRPr sz="1400" spc="40" baseline="0">
                <a:solidFill>
                  <a:schemeClr val="tx1"/>
                </a:solidFill>
              </a:defRPr>
            </a:lvl4pPr>
            <a:lvl5pPr marL="627063" indent="-179388">
              <a:tabLst/>
              <a:defRPr sz="1200" spc="40" baseline="0">
                <a:solidFill>
                  <a:schemeClr val="tx1"/>
                </a:solidFill>
              </a:defRPr>
            </a:lvl5pPr>
          </a:lstStyle>
          <a:p>
            <a:pPr lvl="0"/>
            <a:r>
              <a:rPr lang="en-US" noProof="0"/>
              <a:t>Click to add a short headline</a:t>
            </a:r>
          </a:p>
        </p:txBody>
      </p:sp>
      <p:sp>
        <p:nvSpPr>
          <p:cNvPr id="34" name="Platshållare för text 2">
            <a:extLst>
              <a:ext uri="{FF2B5EF4-FFF2-40B4-BE49-F238E27FC236}">
                <a16:creationId xmlns:a16="http://schemas.microsoft.com/office/drawing/2014/main" id="{4C7842FC-98C2-8449-93BB-EBDC67C9F18E}"/>
              </a:ext>
            </a:extLst>
          </p:cNvPr>
          <p:cNvSpPr>
            <a:spLocks noGrp="1"/>
          </p:cNvSpPr>
          <p:nvPr>
            <p:ph type="body" sz="quarter" idx="23" hasCustomPrompt="1"/>
          </p:nvPr>
        </p:nvSpPr>
        <p:spPr>
          <a:xfrm>
            <a:off x="4360821" y="2464310"/>
            <a:ext cx="3481650" cy="3665028"/>
          </a:xfrm>
        </p:spPr>
        <p:txBody>
          <a:bodyPr numCol="1" spcCol="288000"/>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noProof="0"/>
              <a:t>Click to add body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5" name="Text Placeholder 7">
            <a:extLst>
              <a:ext uri="{FF2B5EF4-FFF2-40B4-BE49-F238E27FC236}">
                <a16:creationId xmlns:a16="http://schemas.microsoft.com/office/drawing/2014/main" id="{5DB97D42-38E5-9240-82E9-87CB672A060D}"/>
              </a:ext>
            </a:extLst>
          </p:cNvPr>
          <p:cNvSpPr>
            <a:spLocks noGrp="1"/>
          </p:cNvSpPr>
          <p:nvPr>
            <p:ph type="body" sz="quarter" idx="24" hasCustomPrompt="1"/>
          </p:nvPr>
        </p:nvSpPr>
        <p:spPr>
          <a:xfrm>
            <a:off x="8137688" y="2098800"/>
            <a:ext cx="3481650" cy="278640"/>
          </a:xfrm>
        </p:spPr>
        <p:txBody>
          <a:bodyPr numCol="1"/>
          <a:lstStyle>
            <a:lvl1pPr marL="0" indent="0">
              <a:lnSpc>
                <a:spcPct val="100000"/>
              </a:lnSpc>
              <a:spcBef>
                <a:spcPts val="0"/>
              </a:spcBef>
              <a:spcAft>
                <a:spcPts val="1000"/>
              </a:spcAft>
              <a:buNone/>
              <a:defRPr sz="1600" b="1" spc="40" baseline="0">
                <a:solidFill>
                  <a:schemeClr val="tx2"/>
                </a:solidFill>
              </a:defRPr>
            </a:lvl1pPr>
            <a:lvl2pPr marL="14288" indent="0">
              <a:lnSpc>
                <a:spcPct val="100000"/>
              </a:lnSpc>
              <a:spcBef>
                <a:spcPts val="0"/>
              </a:spcBef>
              <a:spcAft>
                <a:spcPts val="1000"/>
              </a:spcAft>
              <a:buNone/>
              <a:tabLst/>
              <a:defRPr sz="1600" spc="40" baseline="0">
                <a:solidFill>
                  <a:schemeClr val="tx1"/>
                </a:solidFill>
              </a:defRPr>
            </a:lvl2pPr>
            <a:lvl3pPr marL="223838" indent="-179388">
              <a:tabLst/>
              <a:defRPr sz="1600" spc="40" baseline="0">
                <a:solidFill>
                  <a:schemeClr val="tx1"/>
                </a:solidFill>
              </a:defRPr>
            </a:lvl3pPr>
            <a:lvl4pPr marL="357188" indent="-133350">
              <a:tabLst/>
              <a:defRPr sz="1400" spc="40" baseline="0">
                <a:solidFill>
                  <a:schemeClr val="tx1"/>
                </a:solidFill>
              </a:defRPr>
            </a:lvl4pPr>
            <a:lvl5pPr marL="627063" indent="-179388">
              <a:tabLst/>
              <a:defRPr sz="1200" spc="40" baseline="0">
                <a:solidFill>
                  <a:schemeClr val="tx1"/>
                </a:solidFill>
              </a:defRPr>
            </a:lvl5pPr>
          </a:lstStyle>
          <a:p>
            <a:pPr lvl="0"/>
            <a:r>
              <a:rPr lang="en-US" noProof="0"/>
              <a:t>Click to add a short headline</a:t>
            </a:r>
          </a:p>
        </p:txBody>
      </p:sp>
      <p:sp>
        <p:nvSpPr>
          <p:cNvPr id="36" name="Platshållare för text 2">
            <a:extLst>
              <a:ext uri="{FF2B5EF4-FFF2-40B4-BE49-F238E27FC236}">
                <a16:creationId xmlns:a16="http://schemas.microsoft.com/office/drawing/2014/main" id="{CB9E4808-1FD3-9D40-9DD0-EC81CD7AF001}"/>
              </a:ext>
            </a:extLst>
          </p:cNvPr>
          <p:cNvSpPr>
            <a:spLocks noGrp="1"/>
          </p:cNvSpPr>
          <p:nvPr>
            <p:ph type="body" sz="quarter" idx="25" hasCustomPrompt="1"/>
          </p:nvPr>
        </p:nvSpPr>
        <p:spPr>
          <a:xfrm>
            <a:off x="8137688" y="2464310"/>
            <a:ext cx="3481650" cy="3665028"/>
          </a:xfrm>
        </p:spPr>
        <p:txBody>
          <a:bodyPr numCol="1" spcCol="288000"/>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noProof="0"/>
              <a:t>Click to add body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2" name="Platshållare för datum 3">
            <a:extLst>
              <a:ext uri="{FF2B5EF4-FFF2-40B4-BE49-F238E27FC236}">
                <a16:creationId xmlns:a16="http://schemas.microsoft.com/office/drawing/2014/main" id="{D7C27E1A-AEB2-1C4C-855D-F16F336969F0}"/>
              </a:ext>
            </a:extLst>
          </p:cNvPr>
          <p:cNvSpPr>
            <a:spLocks noGrp="1"/>
          </p:cNvSpPr>
          <p:nvPr>
            <p:ph type="dt" sz="half" idx="2"/>
          </p:nvPr>
        </p:nvSpPr>
        <p:spPr>
          <a:xfrm>
            <a:off x="2185246" y="6454800"/>
            <a:ext cx="1878120" cy="112593"/>
          </a:xfrm>
          <a:prstGeom prst="rect">
            <a:avLst/>
          </a:prstGeom>
        </p:spPr>
        <p:txBody>
          <a:bodyPr vert="horz" lIns="0" tIns="0" rIns="0" bIns="0" rtlCol="0" anchor="b"/>
          <a:lstStyle>
            <a:lvl1pPr algn="l">
              <a:defRPr sz="800">
                <a:solidFill>
                  <a:schemeClr val="tx2"/>
                </a:solidFill>
              </a:defRPr>
            </a:lvl1pPr>
          </a:lstStyle>
          <a:p>
            <a:fld id="{72863970-E853-F74E-B386-2DE5A779D478}" type="datetime1">
              <a:rPr lang="en-US" smtClean="0"/>
              <a:pPr/>
              <a:t>10/17/2023</a:t>
            </a:fld>
            <a:endParaRPr lang="en-US"/>
          </a:p>
        </p:txBody>
      </p:sp>
      <p:sp>
        <p:nvSpPr>
          <p:cNvPr id="23" name="Platshållare för sidfot 4">
            <a:extLst>
              <a:ext uri="{FF2B5EF4-FFF2-40B4-BE49-F238E27FC236}">
                <a16:creationId xmlns:a16="http://schemas.microsoft.com/office/drawing/2014/main" id="{54BAEB81-CDBB-614C-B2D9-67118DB486C9}"/>
              </a:ext>
            </a:extLst>
          </p:cNvPr>
          <p:cNvSpPr>
            <a:spLocks noGrp="1"/>
          </p:cNvSpPr>
          <p:nvPr>
            <p:ph type="ftr" sz="quarter" idx="3"/>
          </p:nvPr>
        </p:nvSpPr>
        <p:spPr>
          <a:xfrm>
            <a:off x="4359276" y="6454800"/>
            <a:ext cx="3470274" cy="112593"/>
          </a:xfrm>
          <a:prstGeom prst="rect">
            <a:avLst/>
          </a:prstGeom>
        </p:spPr>
        <p:txBody>
          <a:bodyPr vert="horz" lIns="0" tIns="0" rIns="0" bIns="0" rtlCol="0" anchor="b"/>
          <a:lstStyle>
            <a:lvl1pPr algn="l">
              <a:defRPr sz="800">
                <a:solidFill>
                  <a:schemeClr val="tx2"/>
                </a:solidFill>
              </a:defRPr>
            </a:lvl1pPr>
          </a:lstStyle>
          <a:p>
            <a:r>
              <a:rPr lang="en-US"/>
              <a:t>Go to header/footer to change text </a:t>
            </a:r>
          </a:p>
        </p:txBody>
      </p:sp>
      <p:sp>
        <p:nvSpPr>
          <p:cNvPr id="24" name="Platshållare för bildnummer 5">
            <a:extLst>
              <a:ext uri="{FF2B5EF4-FFF2-40B4-BE49-F238E27FC236}">
                <a16:creationId xmlns:a16="http://schemas.microsoft.com/office/drawing/2014/main" id="{85620CA1-EBD3-C54E-B86E-309B5DC4F4E8}"/>
              </a:ext>
            </a:extLst>
          </p:cNvPr>
          <p:cNvSpPr>
            <a:spLocks noGrp="1"/>
          </p:cNvSpPr>
          <p:nvPr>
            <p:ph type="sldNum" sz="quarter" idx="4"/>
          </p:nvPr>
        </p:nvSpPr>
        <p:spPr>
          <a:xfrm>
            <a:off x="10013315" y="6454800"/>
            <a:ext cx="1590676" cy="112593"/>
          </a:xfrm>
          <a:prstGeom prst="rect">
            <a:avLst/>
          </a:prstGeom>
        </p:spPr>
        <p:txBody>
          <a:bodyPr vert="horz" lIns="0" tIns="0" rIns="0" bIns="0" rtlCol="0" anchor="b"/>
          <a:lstStyle>
            <a:lvl1pPr algn="r">
              <a:defRPr sz="800">
                <a:solidFill>
                  <a:schemeClr val="tx2"/>
                </a:solidFill>
              </a:defRPr>
            </a:lvl1pPr>
          </a:lstStyle>
          <a:p>
            <a:fld id="{EF8DBD5B-30F9-4F9C-AE39-E065C1AC514D}" type="slidenum">
              <a:rPr lang="en-US" smtClean="0"/>
              <a:pPr/>
              <a:t>‹#›</a:t>
            </a:fld>
            <a:endParaRPr lang="en-US"/>
          </a:p>
        </p:txBody>
      </p:sp>
    </p:spTree>
    <p:extLst>
      <p:ext uri="{BB962C8B-B14F-4D97-AF65-F5344CB8AC3E}">
        <p14:creationId xmlns:p14="http://schemas.microsoft.com/office/powerpoint/2010/main" val="999010267"/>
      </p:ext>
    </p:extLst>
  </p:cSld>
  <p:clrMapOvr>
    <a:overrideClrMapping bg1="lt1" tx1="dk1" bg2="lt2" tx2="dk2" accent1="accent1" accent2="accent2" accent3="accent3" accent4="accent4" accent5="accent5" accent6="accent6" hlink="hlink" folHlink="folHlink"/>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 Text Two Columns Image">
    <p:bg>
      <p:bgRef idx="1001">
        <a:schemeClr val="bg1"/>
      </p:bgRef>
    </p:bg>
    <p:spTree>
      <p:nvGrpSpPr>
        <p:cNvPr id="1" name=""/>
        <p:cNvGrpSpPr/>
        <p:nvPr/>
      </p:nvGrpSpPr>
      <p:grpSpPr>
        <a:xfrm>
          <a:off x="0" y="0"/>
          <a:ext cx="0" cy="0"/>
          <a:chOff x="0" y="0"/>
          <a:chExt cx="0" cy="0"/>
        </a:xfrm>
      </p:grpSpPr>
      <p:sp>
        <p:nvSpPr>
          <p:cNvPr id="23" name="Picture Placeholder 10">
            <a:extLst>
              <a:ext uri="{FF2B5EF4-FFF2-40B4-BE49-F238E27FC236}">
                <a16:creationId xmlns:a16="http://schemas.microsoft.com/office/drawing/2014/main" id="{86E476F6-89CC-3C44-93CC-6B5D2DF6CACA}"/>
              </a:ext>
            </a:extLst>
          </p:cNvPr>
          <p:cNvSpPr>
            <a:spLocks noGrp="1"/>
          </p:cNvSpPr>
          <p:nvPr>
            <p:ph type="pic" sz="quarter" idx="18" hasCustomPrompt="1"/>
          </p:nvPr>
        </p:nvSpPr>
        <p:spPr>
          <a:xfrm>
            <a:off x="8139600" y="-1"/>
            <a:ext cx="4050000" cy="6868800"/>
          </a:xfrm>
          <a:custGeom>
            <a:avLst/>
            <a:gdLst>
              <a:gd name="connsiteX0" fmla="*/ 0 w 6095997"/>
              <a:gd name="connsiteY0" fmla="*/ 0 h 6857997"/>
              <a:gd name="connsiteX1" fmla="*/ 6095997 w 6095997"/>
              <a:gd name="connsiteY1" fmla="*/ 0 h 6857997"/>
              <a:gd name="connsiteX2" fmla="*/ 6095997 w 6095997"/>
              <a:gd name="connsiteY2" fmla="*/ 3157535 h 6857997"/>
              <a:gd name="connsiteX3" fmla="*/ 6095997 w 6095997"/>
              <a:gd name="connsiteY3" fmla="*/ 3428998 h 6857997"/>
              <a:gd name="connsiteX4" fmla="*/ 6095997 w 6095997"/>
              <a:gd name="connsiteY4" fmla="*/ 6857997 h 6857997"/>
              <a:gd name="connsiteX5" fmla="*/ 0 w 6095997"/>
              <a:gd name="connsiteY5" fmla="*/ 6857997 h 6857997"/>
              <a:gd name="connsiteX6" fmla="*/ 0 w 6095997"/>
              <a:gd name="connsiteY6" fmla="*/ 3428998 h 6857997"/>
              <a:gd name="connsiteX7" fmla="*/ 0 w 6095997"/>
              <a:gd name="connsiteY7" fmla="*/ 3157535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5997" h="6857997">
                <a:moveTo>
                  <a:pt x="0" y="0"/>
                </a:moveTo>
                <a:lnTo>
                  <a:pt x="6095997" y="0"/>
                </a:lnTo>
                <a:lnTo>
                  <a:pt x="6095997" y="3157535"/>
                </a:lnTo>
                <a:lnTo>
                  <a:pt x="6095997" y="3428998"/>
                </a:lnTo>
                <a:lnTo>
                  <a:pt x="6095997" y="6857997"/>
                </a:lnTo>
                <a:lnTo>
                  <a:pt x="0" y="6857997"/>
                </a:lnTo>
                <a:lnTo>
                  <a:pt x="0" y="3428998"/>
                </a:lnTo>
                <a:lnTo>
                  <a:pt x="0" y="3157535"/>
                </a:lnTo>
                <a:close/>
              </a:path>
            </a:pathLst>
          </a:custGeom>
          <a:solidFill>
            <a:schemeClr val="accent6"/>
          </a:solidFill>
        </p:spPr>
        <p:txBody>
          <a:bodyPr wrap="square" lIns="36000" tIns="36000" rIns="36000" bIns="36000">
            <a:noAutofit/>
          </a:bodyPr>
          <a:lstStyle>
            <a:lvl1pPr marL="0" indent="0" algn="ctr">
              <a:buNone/>
              <a:defRPr sz="1300">
                <a:solidFill>
                  <a:schemeClr val="bg1"/>
                </a:solidFill>
              </a:defRPr>
            </a:lvl1pPr>
          </a:lstStyle>
          <a:p>
            <a:r>
              <a:rPr lang="en-US" noProof="0"/>
              <a:t>Click on the icon to add an image</a:t>
            </a:r>
          </a:p>
        </p:txBody>
      </p:sp>
      <p:sp>
        <p:nvSpPr>
          <p:cNvPr id="19" name="Text Placeholder 18">
            <a:extLst>
              <a:ext uri="{FF2B5EF4-FFF2-40B4-BE49-F238E27FC236}">
                <a16:creationId xmlns:a16="http://schemas.microsoft.com/office/drawing/2014/main" id="{696CCD45-BBC3-4242-B2B8-F5604A1D97BB}"/>
              </a:ext>
            </a:extLst>
          </p:cNvPr>
          <p:cNvSpPr>
            <a:spLocks noGrp="1"/>
          </p:cNvSpPr>
          <p:nvPr>
            <p:ph type="body" sz="quarter" idx="14" hasCustomPrompt="1"/>
          </p:nvPr>
        </p:nvSpPr>
        <p:spPr>
          <a:xfrm>
            <a:off x="576000" y="720001"/>
            <a:ext cx="7253550" cy="860400"/>
          </a:xfrm>
          <a:prstGeom prst="rect">
            <a:avLst/>
          </a:prstGeom>
        </p:spPr>
        <p:txBody>
          <a:bodyPr anchor="t">
            <a:noAutofit/>
          </a:bodyPr>
          <a:lstStyle>
            <a:lvl1pPr marL="0" indent="0">
              <a:lnSpc>
                <a:spcPct val="85000"/>
              </a:lnSpc>
              <a:spcBef>
                <a:spcPts val="0"/>
              </a:spcBef>
              <a:buNone/>
              <a:defRPr sz="3600" spc="40" baseline="0">
                <a:solidFill>
                  <a:schemeClr val="tx2"/>
                </a:solidFill>
                <a:latin typeface="+mj-lt"/>
              </a:defRPr>
            </a:lvl1pPr>
          </a:lstStyle>
          <a:p>
            <a:pPr lvl="0"/>
            <a:r>
              <a:rPr lang="en-US" noProof="0"/>
              <a:t>Click to add a headline of maximum two lines</a:t>
            </a:r>
          </a:p>
          <a:p>
            <a:pPr lvl="0"/>
            <a:endParaRPr lang="en-US" noProof="0"/>
          </a:p>
        </p:txBody>
      </p:sp>
      <p:grpSp>
        <p:nvGrpSpPr>
          <p:cNvPr id="24" name="Grupp 32">
            <a:extLst>
              <a:ext uri="{FF2B5EF4-FFF2-40B4-BE49-F238E27FC236}">
                <a16:creationId xmlns:a16="http://schemas.microsoft.com/office/drawing/2014/main" id="{FB010A54-7C48-EF4A-84C3-FAE5AA233226}"/>
              </a:ext>
            </a:extLst>
          </p:cNvPr>
          <p:cNvGrpSpPr/>
          <p:nvPr userDrawn="1"/>
        </p:nvGrpSpPr>
        <p:grpSpPr>
          <a:xfrm>
            <a:off x="576140" y="6451484"/>
            <a:ext cx="615478" cy="91194"/>
            <a:chOff x="576140" y="6451484"/>
            <a:chExt cx="615478" cy="91194"/>
          </a:xfrm>
          <a:solidFill>
            <a:schemeClr val="tx2"/>
          </a:solidFill>
        </p:grpSpPr>
        <p:sp>
          <p:nvSpPr>
            <p:cNvPr id="25" name="Bild 2">
              <a:extLst>
                <a:ext uri="{FF2B5EF4-FFF2-40B4-BE49-F238E27FC236}">
                  <a16:creationId xmlns:a16="http://schemas.microsoft.com/office/drawing/2014/main" id="{FDD108A7-FFF3-7442-ADE8-F67CC0DDDF6F}"/>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noProof="0">
                <a:solidFill>
                  <a:schemeClr val="tx2"/>
                </a:solidFill>
              </a:endParaRPr>
            </a:p>
          </p:txBody>
        </p:sp>
        <p:sp>
          <p:nvSpPr>
            <p:cNvPr id="26" name="Bild 2">
              <a:extLst>
                <a:ext uri="{FF2B5EF4-FFF2-40B4-BE49-F238E27FC236}">
                  <a16:creationId xmlns:a16="http://schemas.microsoft.com/office/drawing/2014/main" id="{8B4FB10A-5C2B-5948-B590-9A84CE8E33A7}"/>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7" name="Bild 2">
              <a:extLst>
                <a:ext uri="{FF2B5EF4-FFF2-40B4-BE49-F238E27FC236}">
                  <a16:creationId xmlns:a16="http://schemas.microsoft.com/office/drawing/2014/main" id="{D112D6AC-58A9-7143-83B4-24902E33E131}"/>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28" name="Bild 2">
              <a:extLst>
                <a:ext uri="{FF2B5EF4-FFF2-40B4-BE49-F238E27FC236}">
                  <a16:creationId xmlns:a16="http://schemas.microsoft.com/office/drawing/2014/main" id="{B6A9EED0-34BF-E94A-A1FC-36FE9ABCFF8A}"/>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9" name="Bild 2">
              <a:extLst>
                <a:ext uri="{FF2B5EF4-FFF2-40B4-BE49-F238E27FC236}">
                  <a16:creationId xmlns:a16="http://schemas.microsoft.com/office/drawing/2014/main" id="{ED3A1B06-D911-E144-A785-746BAEFB2B8B}"/>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noProof="0">
                <a:solidFill>
                  <a:schemeClr val="tx2"/>
                </a:solidFill>
              </a:endParaRPr>
            </a:p>
          </p:txBody>
        </p:sp>
        <p:sp>
          <p:nvSpPr>
            <p:cNvPr id="30" name="Bild 2">
              <a:extLst>
                <a:ext uri="{FF2B5EF4-FFF2-40B4-BE49-F238E27FC236}">
                  <a16:creationId xmlns:a16="http://schemas.microsoft.com/office/drawing/2014/main" id="{2127C4C6-736B-6F44-A437-6BF2373D80E2}"/>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31" name="Bild 2">
              <a:extLst>
                <a:ext uri="{FF2B5EF4-FFF2-40B4-BE49-F238E27FC236}">
                  <a16:creationId xmlns:a16="http://schemas.microsoft.com/office/drawing/2014/main" id="{879F44AC-CA2A-664F-B1B5-1655176E5A09}"/>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grpSp>
      <p:sp>
        <p:nvSpPr>
          <p:cNvPr id="16" name="Platshållare för text 2">
            <a:extLst>
              <a:ext uri="{FF2B5EF4-FFF2-40B4-BE49-F238E27FC236}">
                <a16:creationId xmlns:a16="http://schemas.microsoft.com/office/drawing/2014/main" id="{A6FCAC05-56E0-3641-AF25-73BF5DF0EE2E}"/>
              </a:ext>
            </a:extLst>
          </p:cNvPr>
          <p:cNvSpPr>
            <a:spLocks noGrp="1"/>
          </p:cNvSpPr>
          <p:nvPr>
            <p:ph type="body" sz="quarter" idx="20" hasCustomPrompt="1"/>
          </p:nvPr>
        </p:nvSpPr>
        <p:spPr>
          <a:xfrm>
            <a:off x="576000" y="2098800"/>
            <a:ext cx="7253550" cy="4030663"/>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noProof="0"/>
              <a:t>Click to add body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Platshållare för datum 3">
            <a:extLst>
              <a:ext uri="{FF2B5EF4-FFF2-40B4-BE49-F238E27FC236}">
                <a16:creationId xmlns:a16="http://schemas.microsoft.com/office/drawing/2014/main" id="{F0F55998-3D74-8741-A2E4-6EE4C909491E}"/>
              </a:ext>
            </a:extLst>
          </p:cNvPr>
          <p:cNvSpPr>
            <a:spLocks noGrp="1"/>
          </p:cNvSpPr>
          <p:nvPr>
            <p:ph type="dt" sz="half" idx="2"/>
          </p:nvPr>
        </p:nvSpPr>
        <p:spPr>
          <a:xfrm>
            <a:off x="2185246" y="6454800"/>
            <a:ext cx="1878120" cy="112593"/>
          </a:xfrm>
          <a:prstGeom prst="rect">
            <a:avLst/>
          </a:prstGeom>
        </p:spPr>
        <p:txBody>
          <a:bodyPr vert="horz" lIns="0" tIns="0" rIns="0" bIns="0" rtlCol="0" anchor="b"/>
          <a:lstStyle>
            <a:lvl1pPr algn="l">
              <a:defRPr sz="800">
                <a:solidFill>
                  <a:schemeClr val="tx2"/>
                </a:solidFill>
              </a:defRPr>
            </a:lvl1pPr>
          </a:lstStyle>
          <a:p>
            <a:fld id="{72863970-E853-F74E-B386-2DE5A779D478}" type="datetime1">
              <a:rPr lang="en-US" noProof="0" smtClean="0"/>
              <a:t>10/17/2023</a:t>
            </a:fld>
            <a:endParaRPr lang="en-US" noProof="0"/>
          </a:p>
        </p:txBody>
      </p:sp>
      <p:sp>
        <p:nvSpPr>
          <p:cNvPr id="18" name="Platshållare för sidfot 4">
            <a:extLst>
              <a:ext uri="{FF2B5EF4-FFF2-40B4-BE49-F238E27FC236}">
                <a16:creationId xmlns:a16="http://schemas.microsoft.com/office/drawing/2014/main" id="{8D4ABA0C-6528-1E45-AF48-FAF192C7F5EA}"/>
              </a:ext>
            </a:extLst>
          </p:cNvPr>
          <p:cNvSpPr>
            <a:spLocks noGrp="1"/>
          </p:cNvSpPr>
          <p:nvPr>
            <p:ph type="ftr" sz="quarter" idx="3"/>
          </p:nvPr>
        </p:nvSpPr>
        <p:spPr>
          <a:xfrm>
            <a:off x="4359276" y="6454800"/>
            <a:ext cx="3470274" cy="112593"/>
          </a:xfrm>
          <a:prstGeom prst="rect">
            <a:avLst/>
          </a:prstGeom>
        </p:spPr>
        <p:txBody>
          <a:bodyPr vert="horz" lIns="0" tIns="0" rIns="0" bIns="0" rtlCol="0" anchor="b"/>
          <a:lstStyle>
            <a:lvl1pPr algn="l">
              <a:defRPr sz="800">
                <a:solidFill>
                  <a:schemeClr val="tx2"/>
                </a:solidFill>
              </a:defRPr>
            </a:lvl1pPr>
          </a:lstStyle>
          <a:p>
            <a:r>
              <a:rPr lang="en-US" noProof="0"/>
              <a:t>Go to header/footer to change text </a:t>
            </a:r>
          </a:p>
        </p:txBody>
      </p:sp>
      <p:sp>
        <p:nvSpPr>
          <p:cNvPr id="20" name="Platshållare för bildnummer 5">
            <a:extLst>
              <a:ext uri="{FF2B5EF4-FFF2-40B4-BE49-F238E27FC236}">
                <a16:creationId xmlns:a16="http://schemas.microsoft.com/office/drawing/2014/main" id="{078CB68B-435F-DC45-BF57-6C806435216E}"/>
              </a:ext>
            </a:extLst>
          </p:cNvPr>
          <p:cNvSpPr>
            <a:spLocks noGrp="1"/>
          </p:cNvSpPr>
          <p:nvPr>
            <p:ph type="sldNum" sz="quarter" idx="4"/>
          </p:nvPr>
        </p:nvSpPr>
        <p:spPr>
          <a:xfrm>
            <a:off x="10013315" y="6454800"/>
            <a:ext cx="1590676" cy="112593"/>
          </a:xfrm>
          <a:prstGeom prst="rect">
            <a:avLst/>
          </a:prstGeom>
        </p:spPr>
        <p:txBody>
          <a:bodyPr vert="horz" lIns="0" tIns="0" rIns="0" bIns="0" rtlCol="0" anchor="b"/>
          <a:lstStyle>
            <a:lvl1pPr algn="r">
              <a:defRPr sz="800">
                <a:solidFill>
                  <a:schemeClr val="bg1"/>
                </a:solidFill>
              </a:defRPr>
            </a:lvl1pPr>
          </a:lstStyle>
          <a:p>
            <a:fld id="{EF8DBD5B-30F9-4F9C-AE39-E065C1AC514D}" type="slidenum">
              <a:rPr lang="en-US" smtClean="0"/>
              <a:pPr/>
              <a:t>‹#›</a:t>
            </a:fld>
            <a:endParaRPr lang="en-US"/>
          </a:p>
        </p:txBody>
      </p:sp>
      <p:sp>
        <p:nvSpPr>
          <p:cNvPr id="22" name="Text Placeholder 4">
            <a:extLst>
              <a:ext uri="{FF2B5EF4-FFF2-40B4-BE49-F238E27FC236}">
                <a16:creationId xmlns:a16="http://schemas.microsoft.com/office/drawing/2014/main" id="{0F763C9D-544A-CE41-857C-BA3F78E072EA}"/>
              </a:ext>
            </a:extLst>
          </p:cNvPr>
          <p:cNvSpPr>
            <a:spLocks noGrp="1"/>
          </p:cNvSpPr>
          <p:nvPr>
            <p:ph type="body" sz="quarter" idx="16" hasCustomPrompt="1"/>
          </p:nvPr>
        </p:nvSpPr>
        <p:spPr>
          <a:xfrm rot="5400000">
            <a:off x="10901730" y="803644"/>
            <a:ext cx="2093913" cy="486626"/>
          </a:xfrm>
        </p:spPr>
        <p:txBody>
          <a:bodyPr lIns="180000" tIns="180000" rIns="0" bIns="180000" anchor="ctr">
            <a:spAutoFit/>
          </a:bodyPr>
          <a:lstStyle>
            <a:lvl1pPr marL="6350" indent="0" algn="l">
              <a:buNone/>
              <a:defRPr sz="800">
                <a:solidFill>
                  <a:schemeClr val="bg1"/>
                </a:solidFill>
              </a:defRPr>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Tree>
    <p:extLst>
      <p:ext uri="{BB962C8B-B14F-4D97-AF65-F5344CB8AC3E}">
        <p14:creationId xmlns:p14="http://schemas.microsoft.com/office/powerpoint/2010/main" val="10461382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 Title Start Graphic/Image">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83718FC5-379A-3343-904E-06A5A117D84C}"/>
              </a:ext>
            </a:extLst>
          </p:cNvPr>
          <p:cNvSpPr>
            <a:spLocks noGrp="1"/>
          </p:cNvSpPr>
          <p:nvPr>
            <p:ph type="pic" sz="quarter" idx="18" hasCustomPrompt="1"/>
          </p:nvPr>
        </p:nvSpPr>
        <p:spPr>
          <a:xfrm>
            <a:off x="6094413" y="0"/>
            <a:ext cx="6097587" cy="6857997"/>
          </a:xfrm>
          <a:custGeom>
            <a:avLst/>
            <a:gdLst>
              <a:gd name="connsiteX0" fmla="*/ 0 w 6095997"/>
              <a:gd name="connsiteY0" fmla="*/ 0 h 6857997"/>
              <a:gd name="connsiteX1" fmla="*/ 6095997 w 6095997"/>
              <a:gd name="connsiteY1" fmla="*/ 0 h 6857997"/>
              <a:gd name="connsiteX2" fmla="*/ 6095997 w 6095997"/>
              <a:gd name="connsiteY2" fmla="*/ 3157535 h 6857997"/>
              <a:gd name="connsiteX3" fmla="*/ 6095997 w 6095997"/>
              <a:gd name="connsiteY3" fmla="*/ 3428998 h 6857997"/>
              <a:gd name="connsiteX4" fmla="*/ 6095997 w 6095997"/>
              <a:gd name="connsiteY4" fmla="*/ 6857997 h 6857997"/>
              <a:gd name="connsiteX5" fmla="*/ 0 w 6095997"/>
              <a:gd name="connsiteY5" fmla="*/ 6857997 h 6857997"/>
              <a:gd name="connsiteX6" fmla="*/ 0 w 6095997"/>
              <a:gd name="connsiteY6" fmla="*/ 3428998 h 6857997"/>
              <a:gd name="connsiteX7" fmla="*/ 0 w 6095997"/>
              <a:gd name="connsiteY7" fmla="*/ 3157535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5997" h="6857997">
                <a:moveTo>
                  <a:pt x="0" y="0"/>
                </a:moveTo>
                <a:lnTo>
                  <a:pt x="6095997" y="0"/>
                </a:lnTo>
                <a:lnTo>
                  <a:pt x="6095997" y="3157535"/>
                </a:lnTo>
                <a:lnTo>
                  <a:pt x="6095997" y="3428998"/>
                </a:lnTo>
                <a:lnTo>
                  <a:pt x="6095997" y="6857997"/>
                </a:lnTo>
                <a:lnTo>
                  <a:pt x="0" y="6857997"/>
                </a:lnTo>
                <a:lnTo>
                  <a:pt x="0" y="3428998"/>
                </a:lnTo>
                <a:lnTo>
                  <a:pt x="0" y="3157535"/>
                </a:lnTo>
                <a:close/>
              </a:path>
            </a:pathLst>
          </a:custGeom>
          <a:solidFill>
            <a:srgbClr val="ECECEC"/>
          </a:solidFill>
        </p:spPr>
        <p:txBody>
          <a:bodyPr wrap="square" lIns="36000" tIns="36000" rIns="36000" bIns="36000">
            <a:noAutofit/>
          </a:bodyPr>
          <a:lstStyle>
            <a:lvl1pPr marL="0" indent="0" algn="ctr">
              <a:buNone/>
              <a:defRPr sz="1300">
                <a:solidFill>
                  <a:schemeClr val="tx2"/>
                </a:solidFill>
              </a:defRPr>
            </a:lvl1pPr>
          </a:lstStyle>
          <a:p>
            <a:r>
              <a:rPr lang="en-GB"/>
              <a:t>Click on the icon to add an image</a:t>
            </a:r>
          </a:p>
        </p:txBody>
      </p:sp>
      <p:sp>
        <p:nvSpPr>
          <p:cNvPr id="3" name="Rectangle 2">
            <a:extLst>
              <a:ext uri="{FF2B5EF4-FFF2-40B4-BE49-F238E27FC236}">
                <a16:creationId xmlns:a16="http://schemas.microsoft.com/office/drawing/2014/main" id="{7ABD8C07-48FE-CE42-BAC1-8E71230A09D6}"/>
              </a:ext>
            </a:extLst>
          </p:cNvPr>
          <p:cNvSpPr/>
          <p:nvPr userDrawn="1"/>
        </p:nvSpPr>
        <p:spPr>
          <a:xfrm>
            <a:off x="0" y="0"/>
            <a:ext cx="6096000" cy="342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ext Placeholder 18">
            <a:extLst>
              <a:ext uri="{FF2B5EF4-FFF2-40B4-BE49-F238E27FC236}">
                <a16:creationId xmlns:a16="http://schemas.microsoft.com/office/drawing/2014/main" id="{696CCD45-BBC3-4242-B2B8-F5604A1D97BB}"/>
              </a:ext>
            </a:extLst>
          </p:cNvPr>
          <p:cNvSpPr>
            <a:spLocks noGrp="1"/>
          </p:cNvSpPr>
          <p:nvPr>
            <p:ph type="body" sz="quarter" idx="14" hasCustomPrompt="1"/>
          </p:nvPr>
        </p:nvSpPr>
        <p:spPr>
          <a:xfrm>
            <a:off x="585947" y="1022400"/>
            <a:ext cx="5367178" cy="1069200"/>
          </a:xfrm>
          <a:prstGeom prst="rect">
            <a:avLst/>
          </a:prstGeom>
        </p:spPr>
        <p:txBody>
          <a:bodyPr anchor="b">
            <a:noAutofit/>
          </a:bodyPr>
          <a:lstStyle>
            <a:lvl1pPr marL="0" indent="0">
              <a:lnSpc>
                <a:spcPct val="85000"/>
              </a:lnSpc>
              <a:spcBef>
                <a:spcPts val="0"/>
              </a:spcBef>
              <a:buNone/>
              <a:defRPr sz="3600" spc="40" baseline="0">
                <a:solidFill>
                  <a:schemeClr val="tx2"/>
                </a:solidFill>
                <a:latin typeface="+mj-lt"/>
              </a:defRPr>
            </a:lvl1pPr>
          </a:lstStyle>
          <a:p>
            <a:pPr lvl="0"/>
            <a:r>
              <a:rPr lang="en-GB"/>
              <a:t>Click to add a headline </a:t>
            </a:r>
            <a:br>
              <a:rPr lang="en-GB"/>
            </a:br>
            <a:r>
              <a:rPr lang="en-GB"/>
              <a:t>of maximum two lines</a:t>
            </a:r>
          </a:p>
        </p:txBody>
      </p:sp>
      <p:sp>
        <p:nvSpPr>
          <p:cNvPr id="20" name="Text Placeholder 18">
            <a:extLst>
              <a:ext uri="{FF2B5EF4-FFF2-40B4-BE49-F238E27FC236}">
                <a16:creationId xmlns:a16="http://schemas.microsoft.com/office/drawing/2014/main" id="{01A6A6FB-6FA2-F143-90DF-C849DA3D5701}"/>
              </a:ext>
            </a:extLst>
          </p:cNvPr>
          <p:cNvSpPr>
            <a:spLocks noGrp="1"/>
          </p:cNvSpPr>
          <p:nvPr>
            <p:ph type="body" sz="quarter" idx="15" hasCustomPrompt="1"/>
          </p:nvPr>
        </p:nvSpPr>
        <p:spPr>
          <a:xfrm>
            <a:off x="588222" y="2228854"/>
            <a:ext cx="3755854" cy="771519"/>
          </a:xfrm>
          <a:prstGeom prst="rect">
            <a:avLst/>
          </a:prstGeom>
        </p:spPr>
        <p:txBody>
          <a:bodyPr anchor="t">
            <a:noAutofit/>
          </a:bodyPr>
          <a:lstStyle>
            <a:lvl1pPr marL="0" indent="0">
              <a:lnSpc>
                <a:spcPct val="100000"/>
              </a:lnSpc>
              <a:spcBef>
                <a:spcPts val="0"/>
              </a:spcBef>
              <a:buNone/>
              <a:defRPr sz="1400" spc="70" baseline="0">
                <a:solidFill>
                  <a:schemeClr val="tx2"/>
                </a:solidFill>
              </a:defRPr>
            </a:lvl1pPr>
          </a:lstStyle>
          <a:p>
            <a:pPr lvl="0"/>
            <a:r>
              <a:rPr lang="en-GB"/>
              <a:t>Click to add name </a:t>
            </a:r>
            <a:br>
              <a:rPr lang="en-GB"/>
            </a:br>
            <a:r>
              <a:rPr lang="en-GB"/>
              <a:t>Title, Business Unit</a:t>
            </a:r>
          </a:p>
          <a:p>
            <a:pPr lvl="0"/>
            <a:r>
              <a:rPr lang="en-GB"/>
              <a:t>And Date</a:t>
            </a:r>
          </a:p>
        </p:txBody>
      </p:sp>
      <p:grpSp>
        <p:nvGrpSpPr>
          <p:cNvPr id="61" name="Grupp 12">
            <a:extLst>
              <a:ext uri="{FF2B5EF4-FFF2-40B4-BE49-F238E27FC236}">
                <a16:creationId xmlns:a16="http://schemas.microsoft.com/office/drawing/2014/main" id="{11C1EE99-A90A-8E42-9EF6-ABC92B42C61F}"/>
              </a:ext>
            </a:extLst>
          </p:cNvPr>
          <p:cNvGrpSpPr/>
          <p:nvPr userDrawn="1"/>
        </p:nvGrpSpPr>
        <p:grpSpPr>
          <a:xfrm>
            <a:off x="576139" y="356679"/>
            <a:ext cx="1060123" cy="157076"/>
            <a:chOff x="576140" y="6451484"/>
            <a:chExt cx="615478" cy="91194"/>
          </a:xfrm>
          <a:solidFill>
            <a:schemeClr val="tx2"/>
          </a:solidFill>
        </p:grpSpPr>
        <p:sp>
          <p:nvSpPr>
            <p:cNvPr id="62" name="Bild 2">
              <a:extLst>
                <a:ext uri="{FF2B5EF4-FFF2-40B4-BE49-F238E27FC236}">
                  <a16:creationId xmlns:a16="http://schemas.microsoft.com/office/drawing/2014/main" id="{34B0D9DD-7C10-5F44-BF90-E4725CC02B7F}"/>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sv-SE">
                <a:solidFill>
                  <a:schemeClr val="tx2"/>
                </a:solidFill>
              </a:endParaRPr>
            </a:p>
          </p:txBody>
        </p:sp>
        <p:sp>
          <p:nvSpPr>
            <p:cNvPr id="63" name="Bild 2">
              <a:extLst>
                <a:ext uri="{FF2B5EF4-FFF2-40B4-BE49-F238E27FC236}">
                  <a16:creationId xmlns:a16="http://schemas.microsoft.com/office/drawing/2014/main" id="{9333FAAF-3916-C84B-A4CC-472A10E5FD21}"/>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sv-SE">
                <a:solidFill>
                  <a:schemeClr val="tx2"/>
                </a:solidFill>
              </a:endParaRPr>
            </a:p>
          </p:txBody>
        </p:sp>
        <p:sp>
          <p:nvSpPr>
            <p:cNvPr id="64" name="Bild 2">
              <a:extLst>
                <a:ext uri="{FF2B5EF4-FFF2-40B4-BE49-F238E27FC236}">
                  <a16:creationId xmlns:a16="http://schemas.microsoft.com/office/drawing/2014/main" id="{E3DA2BDA-82F6-C640-9E27-537DA60E22D2}"/>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sv-SE">
                <a:solidFill>
                  <a:schemeClr val="tx2"/>
                </a:solidFill>
              </a:endParaRPr>
            </a:p>
          </p:txBody>
        </p:sp>
        <p:sp>
          <p:nvSpPr>
            <p:cNvPr id="65" name="Bild 2">
              <a:extLst>
                <a:ext uri="{FF2B5EF4-FFF2-40B4-BE49-F238E27FC236}">
                  <a16:creationId xmlns:a16="http://schemas.microsoft.com/office/drawing/2014/main" id="{E456F497-D9F5-4E4F-9AF3-A1A4A44D26D4}"/>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sv-SE">
                <a:solidFill>
                  <a:schemeClr val="tx2"/>
                </a:solidFill>
              </a:endParaRPr>
            </a:p>
          </p:txBody>
        </p:sp>
        <p:sp>
          <p:nvSpPr>
            <p:cNvPr id="66" name="Bild 2">
              <a:extLst>
                <a:ext uri="{FF2B5EF4-FFF2-40B4-BE49-F238E27FC236}">
                  <a16:creationId xmlns:a16="http://schemas.microsoft.com/office/drawing/2014/main" id="{B670A634-218B-6946-94C9-5A68C0A0443C}"/>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sv-SE">
                <a:solidFill>
                  <a:schemeClr val="tx2"/>
                </a:solidFill>
              </a:endParaRPr>
            </a:p>
          </p:txBody>
        </p:sp>
        <p:sp>
          <p:nvSpPr>
            <p:cNvPr id="67" name="Bild 2">
              <a:extLst>
                <a:ext uri="{FF2B5EF4-FFF2-40B4-BE49-F238E27FC236}">
                  <a16:creationId xmlns:a16="http://schemas.microsoft.com/office/drawing/2014/main" id="{FC7D2288-841A-C443-80D1-8E0BE90E0171}"/>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sv-SE">
                <a:solidFill>
                  <a:schemeClr val="tx2"/>
                </a:solidFill>
              </a:endParaRPr>
            </a:p>
          </p:txBody>
        </p:sp>
        <p:sp>
          <p:nvSpPr>
            <p:cNvPr id="68" name="Bild 2">
              <a:extLst>
                <a:ext uri="{FF2B5EF4-FFF2-40B4-BE49-F238E27FC236}">
                  <a16:creationId xmlns:a16="http://schemas.microsoft.com/office/drawing/2014/main" id="{FA828F5C-03A9-8649-9199-869425B6C0B6}"/>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sv-SE">
                <a:solidFill>
                  <a:schemeClr val="tx2"/>
                </a:solidFill>
              </a:endParaRPr>
            </a:p>
          </p:txBody>
        </p:sp>
      </p:grpSp>
      <p:pic>
        <p:nvPicPr>
          <p:cNvPr id="4" name="Picture 3">
            <a:extLst>
              <a:ext uri="{FF2B5EF4-FFF2-40B4-BE49-F238E27FC236}">
                <a16:creationId xmlns:a16="http://schemas.microsoft.com/office/drawing/2014/main" id="{5C1AE774-2D36-A94D-AAEE-5D6B6412685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3429892"/>
            <a:ext cx="6094413" cy="3428107"/>
          </a:xfrm>
          <a:prstGeom prst="rect">
            <a:avLst/>
          </a:prstGeom>
        </p:spPr>
      </p:pic>
      <p:sp>
        <p:nvSpPr>
          <p:cNvPr id="16" name="Text Placeholder 4">
            <a:extLst>
              <a:ext uri="{FF2B5EF4-FFF2-40B4-BE49-F238E27FC236}">
                <a16:creationId xmlns:a16="http://schemas.microsoft.com/office/drawing/2014/main" id="{2E3C9CEE-5237-A84E-AB7E-0657C69C9212}"/>
              </a:ext>
            </a:extLst>
          </p:cNvPr>
          <p:cNvSpPr>
            <a:spLocks noGrp="1"/>
          </p:cNvSpPr>
          <p:nvPr>
            <p:ph type="body" sz="quarter" idx="19" hasCustomPrompt="1"/>
          </p:nvPr>
        </p:nvSpPr>
        <p:spPr>
          <a:xfrm rot="5400000">
            <a:off x="10901730" y="803644"/>
            <a:ext cx="2093913" cy="486626"/>
          </a:xfrm>
        </p:spPr>
        <p:txBody>
          <a:bodyPr lIns="180000" tIns="180000" rIns="0" bIns="180000" anchor="ctr">
            <a:spAutoFit/>
          </a:bodyPr>
          <a:lstStyle>
            <a:lvl1pPr marL="6350" indent="0" algn="l">
              <a:buNone/>
              <a:defRPr sz="800">
                <a:solidFill>
                  <a:schemeClr val="bg1"/>
                </a:solidFill>
              </a:defRPr>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Tree>
    <p:extLst>
      <p:ext uri="{BB962C8B-B14F-4D97-AF65-F5344CB8AC3E}">
        <p14:creationId xmlns:p14="http://schemas.microsoft.com/office/powerpoint/2010/main" val="87854894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4 Table Image">
    <p:bg>
      <p:bgRef idx="1001">
        <a:schemeClr val="bg1"/>
      </p:bgRef>
    </p:bg>
    <p:spTree>
      <p:nvGrpSpPr>
        <p:cNvPr id="1" name=""/>
        <p:cNvGrpSpPr/>
        <p:nvPr/>
      </p:nvGrpSpPr>
      <p:grpSpPr>
        <a:xfrm>
          <a:off x="0" y="0"/>
          <a:ext cx="0" cy="0"/>
          <a:chOff x="0" y="0"/>
          <a:chExt cx="0" cy="0"/>
        </a:xfrm>
      </p:grpSpPr>
      <p:sp>
        <p:nvSpPr>
          <p:cNvPr id="23" name="Picture Placeholder 10">
            <a:extLst>
              <a:ext uri="{FF2B5EF4-FFF2-40B4-BE49-F238E27FC236}">
                <a16:creationId xmlns:a16="http://schemas.microsoft.com/office/drawing/2014/main" id="{86E476F6-89CC-3C44-93CC-6B5D2DF6CACA}"/>
              </a:ext>
            </a:extLst>
          </p:cNvPr>
          <p:cNvSpPr>
            <a:spLocks noGrp="1"/>
          </p:cNvSpPr>
          <p:nvPr>
            <p:ph type="pic" sz="quarter" idx="18" hasCustomPrompt="1"/>
          </p:nvPr>
        </p:nvSpPr>
        <p:spPr>
          <a:xfrm>
            <a:off x="8139600" y="-1"/>
            <a:ext cx="4050000" cy="6868800"/>
          </a:xfrm>
          <a:custGeom>
            <a:avLst/>
            <a:gdLst>
              <a:gd name="connsiteX0" fmla="*/ 0 w 6095997"/>
              <a:gd name="connsiteY0" fmla="*/ 0 h 6857997"/>
              <a:gd name="connsiteX1" fmla="*/ 6095997 w 6095997"/>
              <a:gd name="connsiteY1" fmla="*/ 0 h 6857997"/>
              <a:gd name="connsiteX2" fmla="*/ 6095997 w 6095997"/>
              <a:gd name="connsiteY2" fmla="*/ 3157535 h 6857997"/>
              <a:gd name="connsiteX3" fmla="*/ 6095997 w 6095997"/>
              <a:gd name="connsiteY3" fmla="*/ 3428998 h 6857997"/>
              <a:gd name="connsiteX4" fmla="*/ 6095997 w 6095997"/>
              <a:gd name="connsiteY4" fmla="*/ 6857997 h 6857997"/>
              <a:gd name="connsiteX5" fmla="*/ 0 w 6095997"/>
              <a:gd name="connsiteY5" fmla="*/ 6857997 h 6857997"/>
              <a:gd name="connsiteX6" fmla="*/ 0 w 6095997"/>
              <a:gd name="connsiteY6" fmla="*/ 3428998 h 6857997"/>
              <a:gd name="connsiteX7" fmla="*/ 0 w 6095997"/>
              <a:gd name="connsiteY7" fmla="*/ 3157535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5997" h="6857997">
                <a:moveTo>
                  <a:pt x="0" y="0"/>
                </a:moveTo>
                <a:lnTo>
                  <a:pt x="6095997" y="0"/>
                </a:lnTo>
                <a:lnTo>
                  <a:pt x="6095997" y="3157535"/>
                </a:lnTo>
                <a:lnTo>
                  <a:pt x="6095997" y="3428998"/>
                </a:lnTo>
                <a:lnTo>
                  <a:pt x="6095997" y="6857997"/>
                </a:lnTo>
                <a:lnTo>
                  <a:pt x="0" y="6857997"/>
                </a:lnTo>
                <a:lnTo>
                  <a:pt x="0" y="3428998"/>
                </a:lnTo>
                <a:lnTo>
                  <a:pt x="0" y="3157535"/>
                </a:lnTo>
                <a:close/>
              </a:path>
            </a:pathLst>
          </a:custGeom>
          <a:solidFill>
            <a:schemeClr val="accent6"/>
          </a:solidFill>
        </p:spPr>
        <p:txBody>
          <a:bodyPr wrap="square" lIns="36000" tIns="36000" rIns="36000" bIns="36000">
            <a:noAutofit/>
          </a:bodyPr>
          <a:lstStyle>
            <a:lvl1pPr marL="0" indent="0" algn="ctr">
              <a:buNone/>
              <a:defRPr sz="1300">
                <a:solidFill>
                  <a:schemeClr val="bg1"/>
                </a:solidFill>
              </a:defRPr>
            </a:lvl1pPr>
          </a:lstStyle>
          <a:p>
            <a:r>
              <a:rPr lang="en-US" noProof="0"/>
              <a:t>Click on the icon to add an image</a:t>
            </a:r>
          </a:p>
        </p:txBody>
      </p:sp>
      <p:sp>
        <p:nvSpPr>
          <p:cNvPr id="19" name="Text Placeholder 18">
            <a:extLst>
              <a:ext uri="{FF2B5EF4-FFF2-40B4-BE49-F238E27FC236}">
                <a16:creationId xmlns:a16="http://schemas.microsoft.com/office/drawing/2014/main" id="{696CCD45-BBC3-4242-B2B8-F5604A1D97BB}"/>
              </a:ext>
            </a:extLst>
          </p:cNvPr>
          <p:cNvSpPr>
            <a:spLocks noGrp="1"/>
          </p:cNvSpPr>
          <p:nvPr>
            <p:ph type="body" sz="quarter" idx="14" hasCustomPrompt="1"/>
          </p:nvPr>
        </p:nvSpPr>
        <p:spPr>
          <a:xfrm>
            <a:off x="576000" y="720001"/>
            <a:ext cx="7253550" cy="860400"/>
          </a:xfrm>
          <a:prstGeom prst="rect">
            <a:avLst/>
          </a:prstGeom>
        </p:spPr>
        <p:txBody>
          <a:bodyPr anchor="t">
            <a:noAutofit/>
          </a:bodyPr>
          <a:lstStyle>
            <a:lvl1pPr marL="0" indent="0">
              <a:lnSpc>
                <a:spcPct val="85000"/>
              </a:lnSpc>
              <a:spcBef>
                <a:spcPts val="0"/>
              </a:spcBef>
              <a:buNone/>
              <a:defRPr sz="3600" spc="40" baseline="0">
                <a:solidFill>
                  <a:schemeClr val="tx2"/>
                </a:solidFill>
                <a:latin typeface="+mj-lt"/>
              </a:defRPr>
            </a:lvl1pPr>
          </a:lstStyle>
          <a:p>
            <a:pPr lvl="0"/>
            <a:r>
              <a:rPr lang="en-US" noProof="0"/>
              <a:t>Click to add a headline of maximum two lines</a:t>
            </a:r>
          </a:p>
          <a:p>
            <a:pPr lvl="0"/>
            <a:endParaRPr lang="en-US" noProof="0"/>
          </a:p>
        </p:txBody>
      </p:sp>
      <p:sp>
        <p:nvSpPr>
          <p:cNvPr id="26" name="Table Placeholder 5">
            <a:extLst>
              <a:ext uri="{FF2B5EF4-FFF2-40B4-BE49-F238E27FC236}">
                <a16:creationId xmlns:a16="http://schemas.microsoft.com/office/drawing/2014/main" id="{3BFD68C4-B563-2D4A-A4B9-CA7F194CE4D4}"/>
              </a:ext>
            </a:extLst>
          </p:cNvPr>
          <p:cNvSpPr>
            <a:spLocks noGrp="1"/>
          </p:cNvSpPr>
          <p:nvPr>
            <p:ph type="tbl" sz="quarter" idx="19" hasCustomPrompt="1"/>
          </p:nvPr>
        </p:nvSpPr>
        <p:spPr>
          <a:xfrm>
            <a:off x="576264" y="2098801"/>
            <a:ext cx="7261806" cy="4037362"/>
          </a:xfrm>
        </p:spPr>
        <p:txBody>
          <a:bodyPr/>
          <a:lstStyle>
            <a:lvl1pPr marL="12700" indent="0" algn="ctr">
              <a:buNone/>
              <a:defRPr sz="1300">
                <a:solidFill>
                  <a:schemeClr val="tx2"/>
                </a:solidFill>
              </a:defRPr>
            </a:lvl1pPr>
          </a:lstStyle>
          <a:p>
            <a:r>
              <a:rPr lang="en-US" noProof="0"/>
              <a:t>Click to add a table</a:t>
            </a:r>
          </a:p>
        </p:txBody>
      </p:sp>
      <p:grpSp>
        <p:nvGrpSpPr>
          <p:cNvPr id="27" name="Grupp 32">
            <a:extLst>
              <a:ext uri="{FF2B5EF4-FFF2-40B4-BE49-F238E27FC236}">
                <a16:creationId xmlns:a16="http://schemas.microsoft.com/office/drawing/2014/main" id="{CDF3AAB1-9B53-9142-B44F-6AFAA7DD1A49}"/>
              </a:ext>
            </a:extLst>
          </p:cNvPr>
          <p:cNvGrpSpPr/>
          <p:nvPr userDrawn="1"/>
        </p:nvGrpSpPr>
        <p:grpSpPr>
          <a:xfrm>
            <a:off x="576140" y="6451484"/>
            <a:ext cx="615478" cy="91194"/>
            <a:chOff x="576140" y="6451484"/>
            <a:chExt cx="615478" cy="91194"/>
          </a:xfrm>
          <a:solidFill>
            <a:schemeClr val="tx2"/>
          </a:solidFill>
        </p:grpSpPr>
        <p:sp>
          <p:nvSpPr>
            <p:cNvPr id="28" name="Bild 2">
              <a:extLst>
                <a:ext uri="{FF2B5EF4-FFF2-40B4-BE49-F238E27FC236}">
                  <a16:creationId xmlns:a16="http://schemas.microsoft.com/office/drawing/2014/main" id="{064C2612-9C8A-2E4D-896F-841A074FD97F}"/>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noProof="0">
                <a:solidFill>
                  <a:schemeClr val="tx2"/>
                </a:solidFill>
              </a:endParaRPr>
            </a:p>
          </p:txBody>
        </p:sp>
        <p:sp>
          <p:nvSpPr>
            <p:cNvPr id="29" name="Bild 2">
              <a:extLst>
                <a:ext uri="{FF2B5EF4-FFF2-40B4-BE49-F238E27FC236}">
                  <a16:creationId xmlns:a16="http://schemas.microsoft.com/office/drawing/2014/main" id="{A6F81152-FC00-CC44-914D-BF003ADC226B}"/>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noProof="0">
                <a:solidFill>
                  <a:schemeClr val="tx2"/>
                </a:solidFill>
              </a:endParaRPr>
            </a:p>
          </p:txBody>
        </p:sp>
        <p:sp>
          <p:nvSpPr>
            <p:cNvPr id="30" name="Bild 2">
              <a:extLst>
                <a:ext uri="{FF2B5EF4-FFF2-40B4-BE49-F238E27FC236}">
                  <a16:creationId xmlns:a16="http://schemas.microsoft.com/office/drawing/2014/main" id="{965AA447-8B48-C943-9B8F-852728B99677}"/>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31" name="Bild 2">
              <a:extLst>
                <a:ext uri="{FF2B5EF4-FFF2-40B4-BE49-F238E27FC236}">
                  <a16:creationId xmlns:a16="http://schemas.microsoft.com/office/drawing/2014/main" id="{934AFAF3-F792-D54A-A80B-6300A67845F9}"/>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sp>
          <p:nvSpPr>
            <p:cNvPr id="32" name="Bild 2">
              <a:extLst>
                <a:ext uri="{FF2B5EF4-FFF2-40B4-BE49-F238E27FC236}">
                  <a16:creationId xmlns:a16="http://schemas.microsoft.com/office/drawing/2014/main" id="{632C7458-9491-174C-A2C2-97FA4F0CF56B}"/>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noProof="0">
                <a:solidFill>
                  <a:schemeClr val="tx2"/>
                </a:solidFill>
              </a:endParaRPr>
            </a:p>
          </p:txBody>
        </p:sp>
        <p:sp>
          <p:nvSpPr>
            <p:cNvPr id="33" name="Bild 2">
              <a:extLst>
                <a:ext uri="{FF2B5EF4-FFF2-40B4-BE49-F238E27FC236}">
                  <a16:creationId xmlns:a16="http://schemas.microsoft.com/office/drawing/2014/main" id="{35BB9C56-848D-354C-82C4-33DB049EA1FE}"/>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34" name="Bild 2">
              <a:extLst>
                <a:ext uri="{FF2B5EF4-FFF2-40B4-BE49-F238E27FC236}">
                  <a16:creationId xmlns:a16="http://schemas.microsoft.com/office/drawing/2014/main" id="{A7B1DB06-ECDC-C34D-ADF0-DBB2AA1235E7}"/>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grpSp>
      <p:sp>
        <p:nvSpPr>
          <p:cNvPr id="16" name="Platshållare för datum 3">
            <a:extLst>
              <a:ext uri="{FF2B5EF4-FFF2-40B4-BE49-F238E27FC236}">
                <a16:creationId xmlns:a16="http://schemas.microsoft.com/office/drawing/2014/main" id="{5320E7CA-8D70-E44F-8DFE-8C3981CAA84E}"/>
              </a:ext>
            </a:extLst>
          </p:cNvPr>
          <p:cNvSpPr>
            <a:spLocks noGrp="1"/>
          </p:cNvSpPr>
          <p:nvPr>
            <p:ph type="dt" sz="half" idx="2"/>
          </p:nvPr>
        </p:nvSpPr>
        <p:spPr>
          <a:xfrm>
            <a:off x="2185246" y="6454800"/>
            <a:ext cx="1878120" cy="112593"/>
          </a:xfrm>
          <a:prstGeom prst="rect">
            <a:avLst/>
          </a:prstGeom>
        </p:spPr>
        <p:txBody>
          <a:bodyPr vert="horz" lIns="0" tIns="0" rIns="0" bIns="0" rtlCol="0" anchor="b"/>
          <a:lstStyle>
            <a:lvl1pPr algn="l">
              <a:defRPr sz="800">
                <a:solidFill>
                  <a:schemeClr val="tx2"/>
                </a:solidFill>
              </a:defRPr>
            </a:lvl1pPr>
          </a:lstStyle>
          <a:p>
            <a:fld id="{72863970-E853-F74E-B386-2DE5A779D478}" type="datetime1">
              <a:rPr lang="en-US" noProof="0" smtClean="0"/>
              <a:t>10/17/2023</a:t>
            </a:fld>
            <a:endParaRPr lang="en-US" noProof="0"/>
          </a:p>
        </p:txBody>
      </p:sp>
      <p:sp>
        <p:nvSpPr>
          <p:cNvPr id="17" name="Platshållare för sidfot 4">
            <a:extLst>
              <a:ext uri="{FF2B5EF4-FFF2-40B4-BE49-F238E27FC236}">
                <a16:creationId xmlns:a16="http://schemas.microsoft.com/office/drawing/2014/main" id="{8D2FF2F5-AC11-694F-A712-C42D5E30142A}"/>
              </a:ext>
            </a:extLst>
          </p:cNvPr>
          <p:cNvSpPr>
            <a:spLocks noGrp="1"/>
          </p:cNvSpPr>
          <p:nvPr>
            <p:ph type="ftr" sz="quarter" idx="3"/>
          </p:nvPr>
        </p:nvSpPr>
        <p:spPr>
          <a:xfrm>
            <a:off x="4359276" y="6454800"/>
            <a:ext cx="3470274" cy="112593"/>
          </a:xfrm>
          <a:prstGeom prst="rect">
            <a:avLst/>
          </a:prstGeom>
        </p:spPr>
        <p:txBody>
          <a:bodyPr vert="horz" lIns="0" tIns="0" rIns="0" bIns="0" rtlCol="0" anchor="b"/>
          <a:lstStyle>
            <a:lvl1pPr algn="l">
              <a:defRPr sz="800">
                <a:solidFill>
                  <a:schemeClr val="tx2"/>
                </a:solidFill>
              </a:defRPr>
            </a:lvl1pPr>
          </a:lstStyle>
          <a:p>
            <a:r>
              <a:rPr lang="en-US" noProof="0"/>
              <a:t>Go to header/footer to change text </a:t>
            </a:r>
          </a:p>
        </p:txBody>
      </p:sp>
      <p:sp>
        <p:nvSpPr>
          <p:cNvPr id="18" name="Platshållare för bildnummer 5">
            <a:extLst>
              <a:ext uri="{FF2B5EF4-FFF2-40B4-BE49-F238E27FC236}">
                <a16:creationId xmlns:a16="http://schemas.microsoft.com/office/drawing/2014/main" id="{90D11FAC-8BEF-B848-B09B-9581BA38EB7D}"/>
              </a:ext>
            </a:extLst>
          </p:cNvPr>
          <p:cNvSpPr>
            <a:spLocks noGrp="1"/>
          </p:cNvSpPr>
          <p:nvPr>
            <p:ph type="sldNum" sz="quarter" idx="4"/>
          </p:nvPr>
        </p:nvSpPr>
        <p:spPr>
          <a:xfrm>
            <a:off x="10013315" y="6454800"/>
            <a:ext cx="1590676" cy="112593"/>
          </a:xfrm>
          <a:prstGeom prst="rect">
            <a:avLst/>
          </a:prstGeom>
        </p:spPr>
        <p:txBody>
          <a:bodyPr vert="horz" lIns="0" tIns="0" rIns="0" bIns="0" rtlCol="0" anchor="b"/>
          <a:lstStyle>
            <a:lvl1pPr algn="r">
              <a:defRPr sz="800">
                <a:solidFill>
                  <a:schemeClr val="bg1"/>
                </a:solidFill>
              </a:defRPr>
            </a:lvl1pPr>
          </a:lstStyle>
          <a:p>
            <a:fld id="{EF8DBD5B-30F9-4F9C-AE39-E065C1AC514D}" type="slidenum">
              <a:rPr lang="en-US" smtClean="0"/>
              <a:pPr/>
              <a:t>‹#›</a:t>
            </a:fld>
            <a:endParaRPr lang="en-US"/>
          </a:p>
        </p:txBody>
      </p:sp>
      <p:sp>
        <p:nvSpPr>
          <p:cNvPr id="21" name="Text Placeholder 4">
            <a:extLst>
              <a:ext uri="{FF2B5EF4-FFF2-40B4-BE49-F238E27FC236}">
                <a16:creationId xmlns:a16="http://schemas.microsoft.com/office/drawing/2014/main" id="{D83B98AF-7DED-4046-B050-23BFAD35D3DE}"/>
              </a:ext>
            </a:extLst>
          </p:cNvPr>
          <p:cNvSpPr>
            <a:spLocks noGrp="1"/>
          </p:cNvSpPr>
          <p:nvPr>
            <p:ph type="body" sz="quarter" idx="16" hasCustomPrompt="1"/>
          </p:nvPr>
        </p:nvSpPr>
        <p:spPr>
          <a:xfrm rot="5400000">
            <a:off x="10901730" y="803644"/>
            <a:ext cx="2093913" cy="486626"/>
          </a:xfrm>
        </p:spPr>
        <p:txBody>
          <a:bodyPr lIns="180000" tIns="180000" rIns="0" bIns="180000" anchor="ctr">
            <a:spAutoFit/>
          </a:bodyPr>
          <a:lstStyle>
            <a:lvl1pPr marL="6350" indent="0" algn="l">
              <a:buNone/>
              <a:defRPr sz="800">
                <a:solidFill>
                  <a:schemeClr val="bg1"/>
                </a:solidFill>
              </a:defRPr>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Tree>
    <p:extLst>
      <p:ext uri="{BB962C8B-B14F-4D97-AF65-F5344CB8AC3E}">
        <p14:creationId xmlns:p14="http://schemas.microsoft.com/office/powerpoint/2010/main" val="228654123"/>
      </p:ext>
    </p:extLst>
  </p:cSld>
  <p:clrMapOvr>
    <a:overrideClrMapping bg1="lt1" tx1="dk1" bg2="lt2" tx2="dk2" accent1="accent1" accent2="accent2" accent3="accent3" accent4="accent4" accent5="accent5" accent6="accent6" hlink="hlink" folHlink="folHlink"/>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4 Chart Image">
    <p:bg>
      <p:bgRef idx="1001">
        <a:schemeClr val="bg1"/>
      </p:bgRef>
    </p:bg>
    <p:spTree>
      <p:nvGrpSpPr>
        <p:cNvPr id="1" name=""/>
        <p:cNvGrpSpPr/>
        <p:nvPr/>
      </p:nvGrpSpPr>
      <p:grpSpPr>
        <a:xfrm>
          <a:off x="0" y="0"/>
          <a:ext cx="0" cy="0"/>
          <a:chOff x="0" y="0"/>
          <a:chExt cx="0" cy="0"/>
        </a:xfrm>
      </p:grpSpPr>
      <p:sp>
        <p:nvSpPr>
          <p:cNvPr id="23" name="Picture Placeholder 10">
            <a:extLst>
              <a:ext uri="{FF2B5EF4-FFF2-40B4-BE49-F238E27FC236}">
                <a16:creationId xmlns:a16="http://schemas.microsoft.com/office/drawing/2014/main" id="{86E476F6-89CC-3C44-93CC-6B5D2DF6CACA}"/>
              </a:ext>
            </a:extLst>
          </p:cNvPr>
          <p:cNvSpPr>
            <a:spLocks noGrp="1"/>
          </p:cNvSpPr>
          <p:nvPr>
            <p:ph type="pic" sz="quarter" idx="18" hasCustomPrompt="1"/>
          </p:nvPr>
        </p:nvSpPr>
        <p:spPr>
          <a:xfrm>
            <a:off x="8139600" y="-1"/>
            <a:ext cx="4050000" cy="6868800"/>
          </a:xfrm>
          <a:custGeom>
            <a:avLst/>
            <a:gdLst>
              <a:gd name="connsiteX0" fmla="*/ 0 w 6095997"/>
              <a:gd name="connsiteY0" fmla="*/ 0 h 6857997"/>
              <a:gd name="connsiteX1" fmla="*/ 6095997 w 6095997"/>
              <a:gd name="connsiteY1" fmla="*/ 0 h 6857997"/>
              <a:gd name="connsiteX2" fmla="*/ 6095997 w 6095997"/>
              <a:gd name="connsiteY2" fmla="*/ 3157535 h 6857997"/>
              <a:gd name="connsiteX3" fmla="*/ 6095997 w 6095997"/>
              <a:gd name="connsiteY3" fmla="*/ 3428998 h 6857997"/>
              <a:gd name="connsiteX4" fmla="*/ 6095997 w 6095997"/>
              <a:gd name="connsiteY4" fmla="*/ 6857997 h 6857997"/>
              <a:gd name="connsiteX5" fmla="*/ 0 w 6095997"/>
              <a:gd name="connsiteY5" fmla="*/ 6857997 h 6857997"/>
              <a:gd name="connsiteX6" fmla="*/ 0 w 6095997"/>
              <a:gd name="connsiteY6" fmla="*/ 3428998 h 6857997"/>
              <a:gd name="connsiteX7" fmla="*/ 0 w 6095997"/>
              <a:gd name="connsiteY7" fmla="*/ 3157535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5997" h="6857997">
                <a:moveTo>
                  <a:pt x="0" y="0"/>
                </a:moveTo>
                <a:lnTo>
                  <a:pt x="6095997" y="0"/>
                </a:lnTo>
                <a:lnTo>
                  <a:pt x="6095997" y="3157535"/>
                </a:lnTo>
                <a:lnTo>
                  <a:pt x="6095997" y="3428998"/>
                </a:lnTo>
                <a:lnTo>
                  <a:pt x="6095997" y="6857997"/>
                </a:lnTo>
                <a:lnTo>
                  <a:pt x="0" y="6857997"/>
                </a:lnTo>
                <a:lnTo>
                  <a:pt x="0" y="3428998"/>
                </a:lnTo>
                <a:lnTo>
                  <a:pt x="0" y="3157535"/>
                </a:lnTo>
                <a:close/>
              </a:path>
            </a:pathLst>
          </a:custGeom>
          <a:solidFill>
            <a:schemeClr val="accent6"/>
          </a:solidFill>
        </p:spPr>
        <p:txBody>
          <a:bodyPr wrap="square" lIns="36000" tIns="36000" rIns="36000" bIns="36000">
            <a:noAutofit/>
          </a:bodyPr>
          <a:lstStyle>
            <a:lvl1pPr marL="0" indent="0" algn="ctr">
              <a:buNone/>
              <a:defRPr sz="1300">
                <a:solidFill>
                  <a:schemeClr val="bg1"/>
                </a:solidFill>
              </a:defRPr>
            </a:lvl1pPr>
          </a:lstStyle>
          <a:p>
            <a:r>
              <a:rPr lang="en-US" noProof="0"/>
              <a:t>Click on the icon to add an image</a:t>
            </a:r>
          </a:p>
        </p:txBody>
      </p:sp>
      <p:sp>
        <p:nvSpPr>
          <p:cNvPr id="19" name="Text Placeholder 18">
            <a:extLst>
              <a:ext uri="{FF2B5EF4-FFF2-40B4-BE49-F238E27FC236}">
                <a16:creationId xmlns:a16="http://schemas.microsoft.com/office/drawing/2014/main" id="{696CCD45-BBC3-4242-B2B8-F5604A1D97BB}"/>
              </a:ext>
            </a:extLst>
          </p:cNvPr>
          <p:cNvSpPr>
            <a:spLocks noGrp="1"/>
          </p:cNvSpPr>
          <p:nvPr>
            <p:ph type="body" sz="quarter" idx="14" hasCustomPrompt="1"/>
          </p:nvPr>
        </p:nvSpPr>
        <p:spPr>
          <a:xfrm>
            <a:off x="576000" y="720001"/>
            <a:ext cx="7253550" cy="860400"/>
          </a:xfrm>
          <a:prstGeom prst="rect">
            <a:avLst/>
          </a:prstGeom>
        </p:spPr>
        <p:txBody>
          <a:bodyPr anchor="t">
            <a:noAutofit/>
          </a:bodyPr>
          <a:lstStyle>
            <a:lvl1pPr marL="0" indent="0">
              <a:lnSpc>
                <a:spcPct val="85000"/>
              </a:lnSpc>
              <a:spcBef>
                <a:spcPts val="0"/>
              </a:spcBef>
              <a:buNone/>
              <a:defRPr sz="3600" spc="40" baseline="0">
                <a:solidFill>
                  <a:schemeClr val="tx2"/>
                </a:solidFill>
                <a:latin typeface="+mj-lt"/>
              </a:defRPr>
            </a:lvl1pPr>
          </a:lstStyle>
          <a:p>
            <a:pPr lvl="0"/>
            <a:r>
              <a:rPr lang="en-US" noProof="0"/>
              <a:t>Click to add a headline of maximum two lines</a:t>
            </a:r>
          </a:p>
          <a:p>
            <a:pPr lvl="0"/>
            <a:endParaRPr lang="en-US" noProof="0"/>
          </a:p>
        </p:txBody>
      </p:sp>
      <p:sp>
        <p:nvSpPr>
          <p:cNvPr id="22" name="Chart Placeholder 4">
            <a:extLst>
              <a:ext uri="{FF2B5EF4-FFF2-40B4-BE49-F238E27FC236}">
                <a16:creationId xmlns:a16="http://schemas.microsoft.com/office/drawing/2014/main" id="{C3D3CB84-4C51-4944-9D93-F993A25F730B}"/>
              </a:ext>
            </a:extLst>
          </p:cNvPr>
          <p:cNvSpPr>
            <a:spLocks noGrp="1"/>
          </p:cNvSpPr>
          <p:nvPr>
            <p:ph type="chart" sz="quarter" idx="20" hasCustomPrompt="1"/>
          </p:nvPr>
        </p:nvSpPr>
        <p:spPr>
          <a:xfrm>
            <a:off x="576264" y="2098674"/>
            <a:ext cx="7253286" cy="4037487"/>
          </a:xfrm>
        </p:spPr>
        <p:txBody>
          <a:bodyPr/>
          <a:lstStyle>
            <a:lvl1pPr marL="12700" indent="0" algn="ctr">
              <a:buNone/>
              <a:defRPr sz="1300">
                <a:solidFill>
                  <a:schemeClr val="tx2"/>
                </a:solidFill>
              </a:defRPr>
            </a:lvl1pPr>
          </a:lstStyle>
          <a:p>
            <a:r>
              <a:rPr lang="en-US" noProof="0"/>
              <a:t>Click to add a chart</a:t>
            </a:r>
          </a:p>
        </p:txBody>
      </p:sp>
      <p:grpSp>
        <p:nvGrpSpPr>
          <p:cNvPr id="24" name="Grupp 32">
            <a:extLst>
              <a:ext uri="{FF2B5EF4-FFF2-40B4-BE49-F238E27FC236}">
                <a16:creationId xmlns:a16="http://schemas.microsoft.com/office/drawing/2014/main" id="{0166D808-3CB7-884E-95C7-EA74E9B4F048}"/>
              </a:ext>
            </a:extLst>
          </p:cNvPr>
          <p:cNvGrpSpPr/>
          <p:nvPr userDrawn="1"/>
        </p:nvGrpSpPr>
        <p:grpSpPr>
          <a:xfrm>
            <a:off x="576140" y="6451484"/>
            <a:ext cx="615478" cy="91194"/>
            <a:chOff x="576140" y="6451484"/>
            <a:chExt cx="615478" cy="91194"/>
          </a:xfrm>
          <a:solidFill>
            <a:schemeClr val="tx2"/>
          </a:solidFill>
        </p:grpSpPr>
        <p:sp>
          <p:nvSpPr>
            <p:cNvPr id="25" name="Bild 2">
              <a:extLst>
                <a:ext uri="{FF2B5EF4-FFF2-40B4-BE49-F238E27FC236}">
                  <a16:creationId xmlns:a16="http://schemas.microsoft.com/office/drawing/2014/main" id="{E6026D09-5D94-2047-81A1-BDED6F7CDCFD}"/>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noProof="0">
                <a:solidFill>
                  <a:schemeClr val="tx2"/>
                </a:solidFill>
              </a:endParaRPr>
            </a:p>
          </p:txBody>
        </p:sp>
        <p:sp>
          <p:nvSpPr>
            <p:cNvPr id="27" name="Bild 2">
              <a:extLst>
                <a:ext uri="{FF2B5EF4-FFF2-40B4-BE49-F238E27FC236}">
                  <a16:creationId xmlns:a16="http://schemas.microsoft.com/office/drawing/2014/main" id="{09D15658-F29E-EE41-AE3A-1E438ADAB93C}"/>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8" name="Bild 2">
              <a:extLst>
                <a:ext uri="{FF2B5EF4-FFF2-40B4-BE49-F238E27FC236}">
                  <a16:creationId xmlns:a16="http://schemas.microsoft.com/office/drawing/2014/main" id="{9A3DDF5D-46F5-B344-8DAD-D5914874C3D5}"/>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29" name="Bild 2">
              <a:extLst>
                <a:ext uri="{FF2B5EF4-FFF2-40B4-BE49-F238E27FC236}">
                  <a16:creationId xmlns:a16="http://schemas.microsoft.com/office/drawing/2014/main" id="{3A509201-ECF6-B64B-A0A7-231FAA504AB9}"/>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sp>
          <p:nvSpPr>
            <p:cNvPr id="30" name="Bild 2">
              <a:extLst>
                <a:ext uri="{FF2B5EF4-FFF2-40B4-BE49-F238E27FC236}">
                  <a16:creationId xmlns:a16="http://schemas.microsoft.com/office/drawing/2014/main" id="{A8421D0D-3339-7742-993A-EC5B51EBE591}"/>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noProof="0">
                <a:solidFill>
                  <a:schemeClr val="tx2"/>
                </a:solidFill>
              </a:endParaRPr>
            </a:p>
          </p:txBody>
        </p:sp>
        <p:sp>
          <p:nvSpPr>
            <p:cNvPr id="31" name="Bild 2">
              <a:extLst>
                <a:ext uri="{FF2B5EF4-FFF2-40B4-BE49-F238E27FC236}">
                  <a16:creationId xmlns:a16="http://schemas.microsoft.com/office/drawing/2014/main" id="{D82288C4-6EC8-9547-AC38-3AE9F31FE908}"/>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32" name="Bild 2">
              <a:extLst>
                <a:ext uri="{FF2B5EF4-FFF2-40B4-BE49-F238E27FC236}">
                  <a16:creationId xmlns:a16="http://schemas.microsoft.com/office/drawing/2014/main" id="{66082E5D-4163-2F49-AA1C-B2405257920A}"/>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grpSp>
      <p:sp>
        <p:nvSpPr>
          <p:cNvPr id="16" name="Platshållare för datum 3">
            <a:extLst>
              <a:ext uri="{FF2B5EF4-FFF2-40B4-BE49-F238E27FC236}">
                <a16:creationId xmlns:a16="http://schemas.microsoft.com/office/drawing/2014/main" id="{8ADFF0B7-3A32-2C4B-BDF1-ECD3EE00D215}"/>
              </a:ext>
            </a:extLst>
          </p:cNvPr>
          <p:cNvSpPr>
            <a:spLocks noGrp="1"/>
          </p:cNvSpPr>
          <p:nvPr>
            <p:ph type="dt" sz="half" idx="2"/>
          </p:nvPr>
        </p:nvSpPr>
        <p:spPr>
          <a:xfrm>
            <a:off x="2185246" y="6454800"/>
            <a:ext cx="1878120" cy="112593"/>
          </a:xfrm>
          <a:prstGeom prst="rect">
            <a:avLst/>
          </a:prstGeom>
        </p:spPr>
        <p:txBody>
          <a:bodyPr vert="horz" lIns="0" tIns="0" rIns="0" bIns="0" rtlCol="0" anchor="b"/>
          <a:lstStyle>
            <a:lvl1pPr algn="l">
              <a:defRPr sz="800">
                <a:solidFill>
                  <a:schemeClr val="tx2"/>
                </a:solidFill>
              </a:defRPr>
            </a:lvl1pPr>
          </a:lstStyle>
          <a:p>
            <a:fld id="{72863970-E853-F74E-B386-2DE5A779D478}" type="datetime1">
              <a:rPr lang="en-US" noProof="0" smtClean="0"/>
              <a:t>10/17/2023</a:t>
            </a:fld>
            <a:endParaRPr lang="en-US" noProof="0"/>
          </a:p>
        </p:txBody>
      </p:sp>
      <p:sp>
        <p:nvSpPr>
          <p:cNvPr id="17" name="Platshållare för sidfot 4">
            <a:extLst>
              <a:ext uri="{FF2B5EF4-FFF2-40B4-BE49-F238E27FC236}">
                <a16:creationId xmlns:a16="http://schemas.microsoft.com/office/drawing/2014/main" id="{EEEE660B-80A1-2741-8402-38F2598A8CA3}"/>
              </a:ext>
            </a:extLst>
          </p:cNvPr>
          <p:cNvSpPr>
            <a:spLocks noGrp="1"/>
          </p:cNvSpPr>
          <p:nvPr>
            <p:ph type="ftr" sz="quarter" idx="3"/>
          </p:nvPr>
        </p:nvSpPr>
        <p:spPr>
          <a:xfrm>
            <a:off x="4359276" y="6454800"/>
            <a:ext cx="3470274" cy="112593"/>
          </a:xfrm>
          <a:prstGeom prst="rect">
            <a:avLst/>
          </a:prstGeom>
        </p:spPr>
        <p:txBody>
          <a:bodyPr vert="horz" lIns="0" tIns="0" rIns="0" bIns="0" rtlCol="0" anchor="b"/>
          <a:lstStyle>
            <a:lvl1pPr algn="l">
              <a:defRPr sz="800">
                <a:solidFill>
                  <a:schemeClr val="tx2"/>
                </a:solidFill>
              </a:defRPr>
            </a:lvl1pPr>
          </a:lstStyle>
          <a:p>
            <a:r>
              <a:rPr lang="en-US" noProof="0"/>
              <a:t>Go to header/footer to change text </a:t>
            </a:r>
          </a:p>
        </p:txBody>
      </p:sp>
      <p:sp>
        <p:nvSpPr>
          <p:cNvPr id="18" name="Platshållare för bildnummer 5">
            <a:extLst>
              <a:ext uri="{FF2B5EF4-FFF2-40B4-BE49-F238E27FC236}">
                <a16:creationId xmlns:a16="http://schemas.microsoft.com/office/drawing/2014/main" id="{921A1170-AB66-574D-93A2-A29BD448CFD2}"/>
              </a:ext>
            </a:extLst>
          </p:cNvPr>
          <p:cNvSpPr>
            <a:spLocks noGrp="1"/>
          </p:cNvSpPr>
          <p:nvPr>
            <p:ph type="sldNum" sz="quarter" idx="4"/>
          </p:nvPr>
        </p:nvSpPr>
        <p:spPr>
          <a:xfrm>
            <a:off x="10013315" y="6454800"/>
            <a:ext cx="1590676" cy="112593"/>
          </a:xfrm>
          <a:prstGeom prst="rect">
            <a:avLst/>
          </a:prstGeom>
        </p:spPr>
        <p:txBody>
          <a:bodyPr vert="horz" lIns="0" tIns="0" rIns="0" bIns="0" rtlCol="0" anchor="b"/>
          <a:lstStyle>
            <a:lvl1pPr algn="r">
              <a:defRPr sz="800">
                <a:solidFill>
                  <a:schemeClr val="bg1"/>
                </a:solidFill>
              </a:defRPr>
            </a:lvl1pPr>
          </a:lstStyle>
          <a:p>
            <a:fld id="{EF8DBD5B-30F9-4F9C-AE39-E065C1AC514D}" type="slidenum">
              <a:rPr lang="en-US" smtClean="0"/>
              <a:pPr/>
              <a:t>‹#›</a:t>
            </a:fld>
            <a:endParaRPr lang="en-US"/>
          </a:p>
        </p:txBody>
      </p:sp>
      <p:sp>
        <p:nvSpPr>
          <p:cNvPr id="21" name="Text Placeholder 4">
            <a:extLst>
              <a:ext uri="{FF2B5EF4-FFF2-40B4-BE49-F238E27FC236}">
                <a16:creationId xmlns:a16="http://schemas.microsoft.com/office/drawing/2014/main" id="{1ADD6777-A5E1-8143-BB10-30B94A4DA550}"/>
              </a:ext>
            </a:extLst>
          </p:cNvPr>
          <p:cNvSpPr>
            <a:spLocks noGrp="1"/>
          </p:cNvSpPr>
          <p:nvPr>
            <p:ph type="body" sz="quarter" idx="16" hasCustomPrompt="1"/>
          </p:nvPr>
        </p:nvSpPr>
        <p:spPr>
          <a:xfrm rot="5400000">
            <a:off x="10901730" y="803644"/>
            <a:ext cx="2093913" cy="486626"/>
          </a:xfrm>
        </p:spPr>
        <p:txBody>
          <a:bodyPr lIns="180000" tIns="180000" rIns="0" bIns="180000" anchor="ctr">
            <a:spAutoFit/>
          </a:bodyPr>
          <a:lstStyle>
            <a:lvl1pPr marL="6350" indent="0" algn="l">
              <a:buNone/>
              <a:defRPr sz="800">
                <a:solidFill>
                  <a:schemeClr val="bg1"/>
                </a:solidFill>
              </a:defRPr>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Tree>
    <p:extLst>
      <p:ext uri="{BB962C8B-B14F-4D97-AF65-F5344CB8AC3E}">
        <p14:creationId xmlns:p14="http://schemas.microsoft.com/office/powerpoint/2010/main" val="1416287141"/>
      </p:ext>
    </p:extLst>
  </p:cSld>
  <p:clrMapOvr>
    <a:overrideClrMapping bg1="lt1" tx1="dk1" bg2="lt2" tx2="dk2" accent1="accent1" accent2="accent2" accent3="accent3" accent4="accent4" accent5="accent5" accent6="accent6" hlink="hlink" folHlink="folHlink"/>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4 Text Charts Image">
    <p:bg>
      <p:bgRef idx="1001">
        <a:schemeClr val="bg1"/>
      </p:bgRef>
    </p:bg>
    <p:spTree>
      <p:nvGrpSpPr>
        <p:cNvPr id="1" name=""/>
        <p:cNvGrpSpPr/>
        <p:nvPr/>
      </p:nvGrpSpPr>
      <p:grpSpPr>
        <a:xfrm>
          <a:off x="0" y="0"/>
          <a:ext cx="0" cy="0"/>
          <a:chOff x="0" y="0"/>
          <a:chExt cx="0" cy="0"/>
        </a:xfrm>
      </p:grpSpPr>
      <p:sp>
        <p:nvSpPr>
          <p:cNvPr id="23" name="Picture Placeholder 10">
            <a:extLst>
              <a:ext uri="{FF2B5EF4-FFF2-40B4-BE49-F238E27FC236}">
                <a16:creationId xmlns:a16="http://schemas.microsoft.com/office/drawing/2014/main" id="{86E476F6-89CC-3C44-93CC-6B5D2DF6CACA}"/>
              </a:ext>
            </a:extLst>
          </p:cNvPr>
          <p:cNvSpPr>
            <a:spLocks noGrp="1"/>
          </p:cNvSpPr>
          <p:nvPr>
            <p:ph type="pic" sz="quarter" idx="18" hasCustomPrompt="1"/>
          </p:nvPr>
        </p:nvSpPr>
        <p:spPr>
          <a:xfrm>
            <a:off x="8139600" y="-1"/>
            <a:ext cx="4050000" cy="6868800"/>
          </a:xfrm>
          <a:custGeom>
            <a:avLst/>
            <a:gdLst>
              <a:gd name="connsiteX0" fmla="*/ 0 w 6095997"/>
              <a:gd name="connsiteY0" fmla="*/ 0 h 6857997"/>
              <a:gd name="connsiteX1" fmla="*/ 6095997 w 6095997"/>
              <a:gd name="connsiteY1" fmla="*/ 0 h 6857997"/>
              <a:gd name="connsiteX2" fmla="*/ 6095997 w 6095997"/>
              <a:gd name="connsiteY2" fmla="*/ 3157535 h 6857997"/>
              <a:gd name="connsiteX3" fmla="*/ 6095997 w 6095997"/>
              <a:gd name="connsiteY3" fmla="*/ 3428998 h 6857997"/>
              <a:gd name="connsiteX4" fmla="*/ 6095997 w 6095997"/>
              <a:gd name="connsiteY4" fmla="*/ 6857997 h 6857997"/>
              <a:gd name="connsiteX5" fmla="*/ 0 w 6095997"/>
              <a:gd name="connsiteY5" fmla="*/ 6857997 h 6857997"/>
              <a:gd name="connsiteX6" fmla="*/ 0 w 6095997"/>
              <a:gd name="connsiteY6" fmla="*/ 3428998 h 6857997"/>
              <a:gd name="connsiteX7" fmla="*/ 0 w 6095997"/>
              <a:gd name="connsiteY7" fmla="*/ 3157535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5997" h="6857997">
                <a:moveTo>
                  <a:pt x="0" y="0"/>
                </a:moveTo>
                <a:lnTo>
                  <a:pt x="6095997" y="0"/>
                </a:lnTo>
                <a:lnTo>
                  <a:pt x="6095997" y="3157535"/>
                </a:lnTo>
                <a:lnTo>
                  <a:pt x="6095997" y="3428998"/>
                </a:lnTo>
                <a:lnTo>
                  <a:pt x="6095997" y="6857997"/>
                </a:lnTo>
                <a:lnTo>
                  <a:pt x="0" y="6857997"/>
                </a:lnTo>
                <a:lnTo>
                  <a:pt x="0" y="3428998"/>
                </a:lnTo>
                <a:lnTo>
                  <a:pt x="0" y="3157535"/>
                </a:lnTo>
                <a:close/>
              </a:path>
            </a:pathLst>
          </a:custGeom>
          <a:solidFill>
            <a:schemeClr val="accent6"/>
          </a:solidFill>
        </p:spPr>
        <p:txBody>
          <a:bodyPr wrap="square" lIns="36000" tIns="36000" rIns="36000" bIns="36000">
            <a:noAutofit/>
          </a:bodyPr>
          <a:lstStyle>
            <a:lvl1pPr marL="0" indent="0" algn="ctr">
              <a:buNone/>
              <a:defRPr sz="1300">
                <a:solidFill>
                  <a:schemeClr val="bg1"/>
                </a:solidFill>
              </a:defRPr>
            </a:lvl1pPr>
          </a:lstStyle>
          <a:p>
            <a:r>
              <a:rPr lang="en-US" noProof="0"/>
              <a:t>Click on the icon to add an image</a:t>
            </a:r>
          </a:p>
        </p:txBody>
      </p:sp>
      <p:sp>
        <p:nvSpPr>
          <p:cNvPr id="19" name="Text Placeholder 18">
            <a:extLst>
              <a:ext uri="{FF2B5EF4-FFF2-40B4-BE49-F238E27FC236}">
                <a16:creationId xmlns:a16="http://schemas.microsoft.com/office/drawing/2014/main" id="{696CCD45-BBC3-4242-B2B8-F5604A1D97BB}"/>
              </a:ext>
            </a:extLst>
          </p:cNvPr>
          <p:cNvSpPr>
            <a:spLocks noGrp="1"/>
          </p:cNvSpPr>
          <p:nvPr>
            <p:ph type="body" sz="quarter" idx="14" hasCustomPrompt="1"/>
          </p:nvPr>
        </p:nvSpPr>
        <p:spPr>
          <a:xfrm>
            <a:off x="576000" y="720001"/>
            <a:ext cx="7253550" cy="860400"/>
          </a:xfrm>
          <a:prstGeom prst="rect">
            <a:avLst/>
          </a:prstGeom>
        </p:spPr>
        <p:txBody>
          <a:bodyPr anchor="t">
            <a:noAutofit/>
          </a:bodyPr>
          <a:lstStyle>
            <a:lvl1pPr marL="0" indent="0">
              <a:lnSpc>
                <a:spcPct val="85000"/>
              </a:lnSpc>
              <a:spcBef>
                <a:spcPts val="0"/>
              </a:spcBef>
              <a:buNone/>
              <a:defRPr sz="3600" spc="40" baseline="0">
                <a:solidFill>
                  <a:schemeClr val="tx2"/>
                </a:solidFill>
                <a:latin typeface="+mj-lt"/>
              </a:defRPr>
            </a:lvl1pPr>
          </a:lstStyle>
          <a:p>
            <a:pPr lvl="0"/>
            <a:r>
              <a:rPr lang="en-US" noProof="0"/>
              <a:t>Click to add a headline of maximum two lines</a:t>
            </a:r>
          </a:p>
          <a:p>
            <a:pPr lvl="0"/>
            <a:endParaRPr lang="en-US" noProof="0"/>
          </a:p>
        </p:txBody>
      </p:sp>
      <p:sp>
        <p:nvSpPr>
          <p:cNvPr id="22" name="Chart Placeholder 4">
            <a:extLst>
              <a:ext uri="{FF2B5EF4-FFF2-40B4-BE49-F238E27FC236}">
                <a16:creationId xmlns:a16="http://schemas.microsoft.com/office/drawing/2014/main" id="{C3D3CB84-4C51-4944-9D93-F993A25F730B}"/>
              </a:ext>
            </a:extLst>
          </p:cNvPr>
          <p:cNvSpPr>
            <a:spLocks noGrp="1"/>
          </p:cNvSpPr>
          <p:nvPr>
            <p:ph type="chart" sz="quarter" idx="20" hasCustomPrompt="1"/>
          </p:nvPr>
        </p:nvSpPr>
        <p:spPr>
          <a:xfrm>
            <a:off x="4359274" y="2098674"/>
            <a:ext cx="3470275" cy="1857091"/>
          </a:xfrm>
        </p:spPr>
        <p:txBody>
          <a:bodyPr/>
          <a:lstStyle>
            <a:lvl1pPr marL="12700" indent="0" algn="ctr">
              <a:buNone/>
              <a:defRPr sz="1300">
                <a:solidFill>
                  <a:schemeClr val="tx2"/>
                </a:solidFill>
              </a:defRPr>
            </a:lvl1pPr>
          </a:lstStyle>
          <a:p>
            <a:r>
              <a:rPr lang="en-US" noProof="0"/>
              <a:t>Click to add a chart</a:t>
            </a:r>
          </a:p>
        </p:txBody>
      </p:sp>
      <p:sp>
        <p:nvSpPr>
          <p:cNvPr id="25" name="Chart Placeholder 4">
            <a:extLst>
              <a:ext uri="{FF2B5EF4-FFF2-40B4-BE49-F238E27FC236}">
                <a16:creationId xmlns:a16="http://schemas.microsoft.com/office/drawing/2014/main" id="{DF83F763-96A7-2C49-9F33-C70E5E5252C4}"/>
              </a:ext>
            </a:extLst>
          </p:cNvPr>
          <p:cNvSpPr>
            <a:spLocks noGrp="1"/>
          </p:cNvSpPr>
          <p:nvPr>
            <p:ph type="chart" sz="quarter" idx="21" hasCustomPrompt="1"/>
          </p:nvPr>
        </p:nvSpPr>
        <p:spPr>
          <a:xfrm>
            <a:off x="4359274" y="4272247"/>
            <a:ext cx="3470275" cy="1857091"/>
          </a:xfrm>
        </p:spPr>
        <p:txBody>
          <a:bodyPr/>
          <a:lstStyle>
            <a:lvl1pPr marL="12700" indent="0" algn="ctr">
              <a:buNone/>
              <a:defRPr sz="1300">
                <a:solidFill>
                  <a:schemeClr val="tx2"/>
                </a:solidFill>
              </a:defRPr>
            </a:lvl1pPr>
          </a:lstStyle>
          <a:p>
            <a:r>
              <a:rPr lang="en-US" noProof="0"/>
              <a:t>Click to add a chart</a:t>
            </a:r>
          </a:p>
        </p:txBody>
      </p:sp>
      <p:grpSp>
        <p:nvGrpSpPr>
          <p:cNvPr id="26" name="Grupp 32">
            <a:extLst>
              <a:ext uri="{FF2B5EF4-FFF2-40B4-BE49-F238E27FC236}">
                <a16:creationId xmlns:a16="http://schemas.microsoft.com/office/drawing/2014/main" id="{F4809FD5-BC37-DF45-B113-51A6E08D9DB3}"/>
              </a:ext>
            </a:extLst>
          </p:cNvPr>
          <p:cNvGrpSpPr/>
          <p:nvPr userDrawn="1"/>
        </p:nvGrpSpPr>
        <p:grpSpPr>
          <a:xfrm>
            <a:off x="576140" y="6451484"/>
            <a:ext cx="615478" cy="91194"/>
            <a:chOff x="576140" y="6451484"/>
            <a:chExt cx="615478" cy="91194"/>
          </a:xfrm>
          <a:solidFill>
            <a:schemeClr val="tx2"/>
          </a:solidFill>
        </p:grpSpPr>
        <p:sp>
          <p:nvSpPr>
            <p:cNvPr id="27" name="Bild 2">
              <a:extLst>
                <a:ext uri="{FF2B5EF4-FFF2-40B4-BE49-F238E27FC236}">
                  <a16:creationId xmlns:a16="http://schemas.microsoft.com/office/drawing/2014/main" id="{2CD505AA-3C70-3041-AE10-654DE95DCF09}"/>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noProof="0">
                <a:solidFill>
                  <a:schemeClr val="tx2"/>
                </a:solidFill>
              </a:endParaRPr>
            </a:p>
          </p:txBody>
        </p:sp>
        <p:sp>
          <p:nvSpPr>
            <p:cNvPr id="28" name="Bild 2">
              <a:extLst>
                <a:ext uri="{FF2B5EF4-FFF2-40B4-BE49-F238E27FC236}">
                  <a16:creationId xmlns:a16="http://schemas.microsoft.com/office/drawing/2014/main" id="{9491251B-C224-5749-AF60-131665804638}"/>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9" name="Bild 2">
              <a:extLst>
                <a:ext uri="{FF2B5EF4-FFF2-40B4-BE49-F238E27FC236}">
                  <a16:creationId xmlns:a16="http://schemas.microsoft.com/office/drawing/2014/main" id="{F2FE2244-A4A9-2A4A-BF24-12B0B6B0D1B8}"/>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30" name="Bild 2">
              <a:extLst>
                <a:ext uri="{FF2B5EF4-FFF2-40B4-BE49-F238E27FC236}">
                  <a16:creationId xmlns:a16="http://schemas.microsoft.com/office/drawing/2014/main" id="{EC2EE902-1226-E94C-824B-6551750B12F3}"/>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sp>
          <p:nvSpPr>
            <p:cNvPr id="31" name="Bild 2">
              <a:extLst>
                <a:ext uri="{FF2B5EF4-FFF2-40B4-BE49-F238E27FC236}">
                  <a16:creationId xmlns:a16="http://schemas.microsoft.com/office/drawing/2014/main" id="{5EF0DE2E-98D4-D640-B82D-505C1343D3B2}"/>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noProof="0">
                <a:solidFill>
                  <a:schemeClr val="tx2"/>
                </a:solidFill>
              </a:endParaRPr>
            </a:p>
          </p:txBody>
        </p:sp>
        <p:sp>
          <p:nvSpPr>
            <p:cNvPr id="32" name="Bild 2">
              <a:extLst>
                <a:ext uri="{FF2B5EF4-FFF2-40B4-BE49-F238E27FC236}">
                  <a16:creationId xmlns:a16="http://schemas.microsoft.com/office/drawing/2014/main" id="{B04BCCC7-6148-5B49-B281-9BA4B7E90DD8}"/>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33" name="Bild 2">
              <a:extLst>
                <a:ext uri="{FF2B5EF4-FFF2-40B4-BE49-F238E27FC236}">
                  <a16:creationId xmlns:a16="http://schemas.microsoft.com/office/drawing/2014/main" id="{0F0CAFBD-C94C-9D48-8626-E2A438B3A8DE}"/>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grpSp>
      <p:sp>
        <p:nvSpPr>
          <p:cNvPr id="18" name="Platshållare för text 2">
            <a:extLst>
              <a:ext uri="{FF2B5EF4-FFF2-40B4-BE49-F238E27FC236}">
                <a16:creationId xmlns:a16="http://schemas.microsoft.com/office/drawing/2014/main" id="{C574831C-AC1A-BA45-BC5F-91DA4CC9D63F}"/>
              </a:ext>
            </a:extLst>
          </p:cNvPr>
          <p:cNvSpPr>
            <a:spLocks noGrp="1"/>
          </p:cNvSpPr>
          <p:nvPr>
            <p:ph type="body" sz="quarter" idx="22" hasCustomPrompt="1"/>
          </p:nvPr>
        </p:nvSpPr>
        <p:spPr>
          <a:xfrm>
            <a:off x="576000" y="2098800"/>
            <a:ext cx="3484823" cy="4030663"/>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noProof="0"/>
              <a:t>Click to add body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0" name="Platshållare för datum 3">
            <a:extLst>
              <a:ext uri="{FF2B5EF4-FFF2-40B4-BE49-F238E27FC236}">
                <a16:creationId xmlns:a16="http://schemas.microsoft.com/office/drawing/2014/main" id="{40FE4A6B-BB8F-8044-A2CA-73AE60999574}"/>
              </a:ext>
            </a:extLst>
          </p:cNvPr>
          <p:cNvSpPr>
            <a:spLocks noGrp="1"/>
          </p:cNvSpPr>
          <p:nvPr>
            <p:ph type="dt" sz="half" idx="2"/>
          </p:nvPr>
        </p:nvSpPr>
        <p:spPr>
          <a:xfrm>
            <a:off x="2185246" y="6454800"/>
            <a:ext cx="1878120" cy="112593"/>
          </a:xfrm>
          <a:prstGeom prst="rect">
            <a:avLst/>
          </a:prstGeom>
        </p:spPr>
        <p:txBody>
          <a:bodyPr vert="horz" lIns="0" tIns="0" rIns="0" bIns="0" rtlCol="0" anchor="b"/>
          <a:lstStyle>
            <a:lvl1pPr algn="l">
              <a:defRPr sz="800">
                <a:solidFill>
                  <a:schemeClr val="tx2"/>
                </a:solidFill>
              </a:defRPr>
            </a:lvl1pPr>
          </a:lstStyle>
          <a:p>
            <a:fld id="{72863970-E853-F74E-B386-2DE5A779D478}" type="datetime1">
              <a:rPr lang="en-US" noProof="0" smtClean="0"/>
              <a:t>10/17/2023</a:t>
            </a:fld>
            <a:endParaRPr lang="en-US" noProof="0"/>
          </a:p>
        </p:txBody>
      </p:sp>
      <p:sp>
        <p:nvSpPr>
          <p:cNvPr id="21" name="Platshållare för sidfot 4">
            <a:extLst>
              <a:ext uri="{FF2B5EF4-FFF2-40B4-BE49-F238E27FC236}">
                <a16:creationId xmlns:a16="http://schemas.microsoft.com/office/drawing/2014/main" id="{EEE175E7-97F8-F642-AD80-BD4B720251F4}"/>
              </a:ext>
            </a:extLst>
          </p:cNvPr>
          <p:cNvSpPr>
            <a:spLocks noGrp="1"/>
          </p:cNvSpPr>
          <p:nvPr>
            <p:ph type="ftr" sz="quarter" idx="3"/>
          </p:nvPr>
        </p:nvSpPr>
        <p:spPr>
          <a:xfrm>
            <a:off x="4359276" y="6454800"/>
            <a:ext cx="3470274" cy="112593"/>
          </a:xfrm>
          <a:prstGeom prst="rect">
            <a:avLst/>
          </a:prstGeom>
        </p:spPr>
        <p:txBody>
          <a:bodyPr vert="horz" lIns="0" tIns="0" rIns="0" bIns="0" rtlCol="0" anchor="b"/>
          <a:lstStyle>
            <a:lvl1pPr algn="l">
              <a:defRPr sz="800">
                <a:solidFill>
                  <a:schemeClr val="tx2"/>
                </a:solidFill>
              </a:defRPr>
            </a:lvl1pPr>
          </a:lstStyle>
          <a:p>
            <a:r>
              <a:rPr lang="en-US" noProof="0"/>
              <a:t>Go to header/footer to change text </a:t>
            </a:r>
          </a:p>
        </p:txBody>
      </p:sp>
      <p:sp>
        <p:nvSpPr>
          <p:cNvPr id="24" name="Platshållare för bildnummer 5">
            <a:extLst>
              <a:ext uri="{FF2B5EF4-FFF2-40B4-BE49-F238E27FC236}">
                <a16:creationId xmlns:a16="http://schemas.microsoft.com/office/drawing/2014/main" id="{5E7D3B9D-5814-FD4A-AFF7-87FA1316A623}"/>
              </a:ext>
            </a:extLst>
          </p:cNvPr>
          <p:cNvSpPr>
            <a:spLocks noGrp="1"/>
          </p:cNvSpPr>
          <p:nvPr>
            <p:ph type="sldNum" sz="quarter" idx="4"/>
          </p:nvPr>
        </p:nvSpPr>
        <p:spPr>
          <a:xfrm>
            <a:off x="10013315" y="6454800"/>
            <a:ext cx="1590676" cy="112593"/>
          </a:xfrm>
          <a:prstGeom prst="rect">
            <a:avLst/>
          </a:prstGeom>
        </p:spPr>
        <p:txBody>
          <a:bodyPr vert="horz" lIns="0" tIns="0" rIns="0" bIns="0" rtlCol="0" anchor="b"/>
          <a:lstStyle>
            <a:lvl1pPr algn="r">
              <a:defRPr sz="800">
                <a:solidFill>
                  <a:schemeClr val="bg1"/>
                </a:solidFill>
              </a:defRPr>
            </a:lvl1pPr>
          </a:lstStyle>
          <a:p>
            <a:fld id="{EF8DBD5B-30F9-4F9C-AE39-E065C1AC514D}" type="slidenum">
              <a:rPr lang="en-US" smtClean="0"/>
              <a:pPr/>
              <a:t>‹#›</a:t>
            </a:fld>
            <a:endParaRPr lang="en-US"/>
          </a:p>
        </p:txBody>
      </p:sp>
      <p:sp>
        <p:nvSpPr>
          <p:cNvPr id="35" name="Text Placeholder 4">
            <a:extLst>
              <a:ext uri="{FF2B5EF4-FFF2-40B4-BE49-F238E27FC236}">
                <a16:creationId xmlns:a16="http://schemas.microsoft.com/office/drawing/2014/main" id="{9C805E04-BA5F-EB4F-95AF-95CA6B8E7B39}"/>
              </a:ext>
            </a:extLst>
          </p:cNvPr>
          <p:cNvSpPr>
            <a:spLocks noGrp="1"/>
          </p:cNvSpPr>
          <p:nvPr>
            <p:ph type="body" sz="quarter" idx="16" hasCustomPrompt="1"/>
          </p:nvPr>
        </p:nvSpPr>
        <p:spPr>
          <a:xfrm rot="5400000">
            <a:off x="10901730" y="803644"/>
            <a:ext cx="2093913" cy="486626"/>
          </a:xfrm>
        </p:spPr>
        <p:txBody>
          <a:bodyPr lIns="180000" tIns="180000" rIns="0" bIns="180000" anchor="ctr">
            <a:spAutoFit/>
          </a:bodyPr>
          <a:lstStyle>
            <a:lvl1pPr marL="6350" indent="0" algn="l">
              <a:buNone/>
              <a:defRPr sz="800">
                <a:solidFill>
                  <a:schemeClr val="bg1"/>
                </a:solidFill>
              </a:defRPr>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Tree>
    <p:extLst>
      <p:ext uri="{BB962C8B-B14F-4D97-AF65-F5344CB8AC3E}">
        <p14:creationId xmlns:p14="http://schemas.microsoft.com/office/powerpoint/2010/main" val="2986595916"/>
      </p:ext>
    </p:extLst>
  </p:cSld>
  <p:clrMapOvr>
    <a:overrideClrMapping bg1="lt1" tx1="dk1" bg2="lt2" tx2="dk2" accent1="accent1" accent2="accent2" accent3="accent3" accent4="accent4" accent5="accent5" accent6="accent6" hlink="hlink" folHlink="folHlink"/>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4 Text Chart">
    <p:bg>
      <p:bgRef idx="1001">
        <a:schemeClr val="bg1"/>
      </p:bgRef>
    </p:bg>
    <p:spTree>
      <p:nvGrpSpPr>
        <p:cNvPr id="1" name=""/>
        <p:cNvGrpSpPr/>
        <p:nvPr/>
      </p:nvGrpSpPr>
      <p:grpSpPr>
        <a:xfrm>
          <a:off x="0" y="0"/>
          <a:ext cx="0" cy="0"/>
          <a:chOff x="0" y="0"/>
          <a:chExt cx="0" cy="0"/>
        </a:xfrm>
      </p:grpSpPr>
      <p:sp>
        <p:nvSpPr>
          <p:cNvPr id="19" name="Text Placeholder 18">
            <a:extLst>
              <a:ext uri="{FF2B5EF4-FFF2-40B4-BE49-F238E27FC236}">
                <a16:creationId xmlns:a16="http://schemas.microsoft.com/office/drawing/2014/main" id="{696CCD45-BBC3-4242-B2B8-F5604A1D97BB}"/>
              </a:ext>
            </a:extLst>
          </p:cNvPr>
          <p:cNvSpPr>
            <a:spLocks noGrp="1"/>
          </p:cNvSpPr>
          <p:nvPr>
            <p:ph type="body" sz="quarter" idx="14" hasCustomPrompt="1"/>
          </p:nvPr>
        </p:nvSpPr>
        <p:spPr>
          <a:xfrm>
            <a:off x="576000" y="720001"/>
            <a:ext cx="11039738" cy="860400"/>
          </a:xfrm>
          <a:prstGeom prst="rect">
            <a:avLst/>
          </a:prstGeom>
        </p:spPr>
        <p:txBody>
          <a:bodyPr anchor="t">
            <a:noAutofit/>
          </a:bodyPr>
          <a:lstStyle>
            <a:lvl1pPr marL="0" indent="0">
              <a:lnSpc>
                <a:spcPct val="85000"/>
              </a:lnSpc>
              <a:spcBef>
                <a:spcPts val="0"/>
              </a:spcBef>
              <a:buNone/>
              <a:defRPr sz="3600" spc="40" baseline="0">
                <a:solidFill>
                  <a:schemeClr val="tx2"/>
                </a:solidFill>
                <a:latin typeface="+mj-lt"/>
              </a:defRPr>
            </a:lvl1pPr>
          </a:lstStyle>
          <a:p>
            <a:pPr lvl="0"/>
            <a:r>
              <a:rPr lang="en-US" noProof="0"/>
              <a:t>Click to add a headline of maximum two lines</a:t>
            </a:r>
          </a:p>
          <a:p>
            <a:pPr lvl="0"/>
            <a:endParaRPr lang="en-US" noProof="0"/>
          </a:p>
        </p:txBody>
      </p:sp>
      <p:sp>
        <p:nvSpPr>
          <p:cNvPr id="22" name="Chart Placeholder 4">
            <a:extLst>
              <a:ext uri="{FF2B5EF4-FFF2-40B4-BE49-F238E27FC236}">
                <a16:creationId xmlns:a16="http://schemas.microsoft.com/office/drawing/2014/main" id="{C3D3CB84-4C51-4944-9D93-F993A25F730B}"/>
              </a:ext>
            </a:extLst>
          </p:cNvPr>
          <p:cNvSpPr>
            <a:spLocks noGrp="1"/>
          </p:cNvSpPr>
          <p:nvPr>
            <p:ph type="chart" sz="quarter" idx="20" hasCustomPrompt="1"/>
          </p:nvPr>
        </p:nvSpPr>
        <p:spPr>
          <a:xfrm>
            <a:off x="6249988" y="2098674"/>
            <a:ext cx="5354003" cy="4030663"/>
          </a:xfrm>
        </p:spPr>
        <p:txBody>
          <a:bodyPr/>
          <a:lstStyle>
            <a:lvl1pPr marL="12700" indent="0" algn="ctr">
              <a:buNone/>
              <a:defRPr sz="1300">
                <a:solidFill>
                  <a:schemeClr val="tx2"/>
                </a:solidFill>
              </a:defRPr>
            </a:lvl1pPr>
          </a:lstStyle>
          <a:p>
            <a:r>
              <a:rPr lang="en-US" noProof="0"/>
              <a:t>Click to add a chart</a:t>
            </a:r>
          </a:p>
        </p:txBody>
      </p:sp>
      <p:grpSp>
        <p:nvGrpSpPr>
          <p:cNvPr id="26" name="Grupp 32">
            <a:extLst>
              <a:ext uri="{FF2B5EF4-FFF2-40B4-BE49-F238E27FC236}">
                <a16:creationId xmlns:a16="http://schemas.microsoft.com/office/drawing/2014/main" id="{F4809FD5-BC37-DF45-B113-51A6E08D9DB3}"/>
              </a:ext>
            </a:extLst>
          </p:cNvPr>
          <p:cNvGrpSpPr/>
          <p:nvPr userDrawn="1"/>
        </p:nvGrpSpPr>
        <p:grpSpPr>
          <a:xfrm>
            <a:off x="576140" y="6451484"/>
            <a:ext cx="615478" cy="91194"/>
            <a:chOff x="576140" y="6451484"/>
            <a:chExt cx="615478" cy="91194"/>
          </a:xfrm>
          <a:solidFill>
            <a:schemeClr val="tx2"/>
          </a:solidFill>
        </p:grpSpPr>
        <p:sp>
          <p:nvSpPr>
            <p:cNvPr id="27" name="Bild 2">
              <a:extLst>
                <a:ext uri="{FF2B5EF4-FFF2-40B4-BE49-F238E27FC236}">
                  <a16:creationId xmlns:a16="http://schemas.microsoft.com/office/drawing/2014/main" id="{2CD505AA-3C70-3041-AE10-654DE95DCF09}"/>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noProof="0">
                <a:solidFill>
                  <a:schemeClr val="tx2"/>
                </a:solidFill>
              </a:endParaRPr>
            </a:p>
          </p:txBody>
        </p:sp>
        <p:sp>
          <p:nvSpPr>
            <p:cNvPr id="28" name="Bild 2">
              <a:extLst>
                <a:ext uri="{FF2B5EF4-FFF2-40B4-BE49-F238E27FC236}">
                  <a16:creationId xmlns:a16="http://schemas.microsoft.com/office/drawing/2014/main" id="{9491251B-C224-5749-AF60-131665804638}"/>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9" name="Bild 2">
              <a:extLst>
                <a:ext uri="{FF2B5EF4-FFF2-40B4-BE49-F238E27FC236}">
                  <a16:creationId xmlns:a16="http://schemas.microsoft.com/office/drawing/2014/main" id="{F2FE2244-A4A9-2A4A-BF24-12B0B6B0D1B8}"/>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30" name="Bild 2">
              <a:extLst>
                <a:ext uri="{FF2B5EF4-FFF2-40B4-BE49-F238E27FC236}">
                  <a16:creationId xmlns:a16="http://schemas.microsoft.com/office/drawing/2014/main" id="{EC2EE902-1226-E94C-824B-6551750B12F3}"/>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sp>
          <p:nvSpPr>
            <p:cNvPr id="31" name="Bild 2">
              <a:extLst>
                <a:ext uri="{FF2B5EF4-FFF2-40B4-BE49-F238E27FC236}">
                  <a16:creationId xmlns:a16="http://schemas.microsoft.com/office/drawing/2014/main" id="{5EF0DE2E-98D4-D640-B82D-505C1343D3B2}"/>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noProof="0">
                <a:solidFill>
                  <a:schemeClr val="tx2"/>
                </a:solidFill>
              </a:endParaRPr>
            </a:p>
          </p:txBody>
        </p:sp>
        <p:sp>
          <p:nvSpPr>
            <p:cNvPr id="32" name="Bild 2">
              <a:extLst>
                <a:ext uri="{FF2B5EF4-FFF2-40B4-BE49-F238E27FC236}">
                  <a16:creationId xmlns:a16="http://schemas.microsoft.com/office/drawing/2014/main" id="{B04BCCC7-6148-5B49-B281-9BA4B7E90DD8}"/>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33" name="Bild 2">
              <a:extLst>
                <a:ext uri="{FF2B5EF4-FFF2-40B4-BE49-F238E27FC236}">
                  <a16:creationId xmlns:a16="http://schemas.microsoft.com/office/drawing/2014/main" id="{0F0CAFBD-C94C-9D48-8626-E2A438B3A8DE}"/>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grpSp>
      <p:sp>
        <p:nvSpPr>
          <p:cNvPr id="18" name="Platshållare för text 2">
            <a:extLst>
              <a:ext uri="{FF2B5EF4-FFF2-40B4-BE49-F238E27FC236}">
                <a16:creationId xmlns:a16="http://schemas.microsoft.com/office/drawing/2014/main" id="{C574831C-AC1A-BA45-BC5F-91DA4CC9D63F}"/>
              </a:ext>
            </a:extLst>
          </p:cNvPr>
          <p:cNvSpPr>
            <a:spLocks noGrp="1"/>
          </p:cNvSpPr>
          <p:nvPr>
            <p:ph type="body" sz="quarter" idx="22" hasCustomPrompt="1"/>
          </p:nvPr>
        </p:nvSpPr>
        <p:spPr>
          <a:xfrm>
            <a:off x="576000" y="2098800"/>
            <a:ext cx="5377125" cy="4030663"/>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noProof="0"/>
              <a:t>Click to add body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0" name="Platshållare för datum 3">
            <a:extLst>
              <a:ext uri="{FF2B5EF4-FFF2-40B4-BE49-F238E27FC236}">
                <a16:creationId xmlns:a16="http://schemas.microsoft.com/office/drawing/2014/main" id="{40FE4A6B-BB8F-8044-A2CA-73AE60999574}"/>
              </a:ext>
            </a:extLst>
          </p:cNvPr>
          <p:cNvSpPr>
            <a:spLocks noGrp="1"/>
          </p:cNvSpPr>
          <p:nvPr>
            <p:ph type="dt" sz="half" idx="2"/>
          </p:nvPr>
        </p:nvSpPr>
        <p:spPr>
          <a:xfrm>
            <a:off x="2185246" y="6454800"/>
            <a:ext cx="1878120" cy="112593"/>
          </a:xfrm>
          <a:prstGeom prst="rect">
            <a:avLst/>
          </a:prstGeom>
        </p:spPr>
        <p:txBody>
          <a:bodyPr vert="horz" lIns="0" tIns="0" rIns="0" bIns="0" rtlCol="0" anchor="b"/>
          <a:lstStyle>
            <a:lvl1pPr algn="l">
              <a:defRPr sz="800">
                <a:solidFill>
                  <a:schemeClr val="tx2"/>
                </a:solidFill>
              </a:defRPr>
            </a:lvl1pPr>
          </a:lstStyle>
          <a:p>
            <a:fld id="{72863970-E853-F74E-B386-2DE5A779D478}" type="datetime1">
              <a:rPr lang="en-US" noProof="0" smtClean="0"/>
              <a:t>10/17/2023</a:t>
            </a:fld>
            <a:endParaRPr lang="en-US" noProof="0"/>
          </a:p>
        </p:txBody>
      </p:sp>
      <p:sp>
        <p:nvSpPr>
          <p:cNvPr id="21" name="Platshållare för sidfot 4">
            <a:extLst>
              <a:ext uri="{FF2B5EF4-FFF2-40B4-BE49-F238E27FC236}">
                <a16:creationId xmlns:a16="http://schemas.microsoft.com/office/drawing/2014/main" id="{EEE175E7-97F8-F642-AD80-BD4B720251F4}"/>
              </a:ext>
            </a:extLst>
          </p:cNvPr>
          <p:cNvSpPr>
            <a:spLocks noGrp="1"/>
          </p:cNvSpPr>
          <p:nvPr>
            <p:ph type="ftr" sz="quarter" idx="3"/>
          </p:nvPr>
        </p:nvSpPr>
        <p:spPr>
          <a:xfrm>
            <a:off x="4359276" y="6454800"/>
            <a:ext cx="3470274" cy="112593"/>
          </a:xfrm>
          <a:prstGeom prst="rect">
            <a:avLst/>
          </a:prstGeom>
        </p:spPr>
        <p:txBody>
          <a:bodyPr vert="horz" lIns="0" tIns="0" rIns="0" bIns="0" rtlCol="0" anchor="b"/>
          <a:lstStyle>
            <a:lvl1pPr algn="l">
              <a:defRPr sz="800">
                <a:solidFill>
                  <a:schemeClr val="tx2"/>
                </a:solidFill>
              </a:defRPr>
            </a:lvl1pPr>
          </a:lstStyle>
          <a:p>
            <a:r>
              <a:rPr lang="en-US" noProof="0"/>
              <a:t>Go to header/footer to change text </a:t>
            </a:r>
          </a:p>
        </p:txBody>
      </p:sp>
      <p:sp>
        <p:nvSpPr>
          <p:cNvPr id="24" name="Platshållare för bildnummer 5">
            <a:extLst>
              <a:ext uri="{FF2B5EF4-FFF2-40B4-BE49-F238E27FC236}">
                <a16:creationId xmlns:a16="http://schemas.microsoft.com/office/drawing/2014/main" id="{5E7D3B9D-5814-FD4A-AFF7-87FA1316A623}"/>
              </a:ext>
            </a:extLst>
          </p:cNvPr>
          <p:cNvSpPr>
            <a:spLocks noGrp="1"/>
          </p:cNvSpPr>
          <p:nvPr>
            <p:ph type="sldNum" sz="quarter" idx="4"/>
          </p:nvPr>
        </p:nvSpPr>
        <p:spPr>
          <a:xfrm>
            <a:off x="10013315" y="6454800"/>
            <a:ext cx="1590676" cy="112593"/>
          </a:xfrm>
          <a:prstGeom prst="rect">
            <a:avLst/>
          </a:prstGeom>
        </p:spPr>
        <p:txBody>
          <a:bodyPr vert="horz" lIns="0" tIns="0" rIns="0" bIns="0" rtlCol="0" anchor="b"/>
          <a:lstStyle>
            <a:lvl1pPr algn="r">
              <a:defRPr sz="800">
                <a:solidFill>
                  <a:schemeClr val="tx2"/>
                </a:solidFill>
              </a:defRPr>
            </a:lvl1pPr>
          </a:lstStyle>
          <a:p>
            <a:fld id="{EF8DBD5B-30F9-4F9C-AE39-E065C1AC514D}" type="slidenum">
              <a:rPr lang="en-US" smtClean="0"/>
              <a:pPr/>
              <a:t>‹#›</a:t>
            </a:fld>
            <a:endParaRPr lang="en-US"/>
          </a:p>
        </p:txBody>
      </p:sp>
    </p:spTree>
    <p:extLst>
      <p:ext uri="{BB962C8B-B14F-4D97-AF65-F5344CB8AC3E}">
        <p14:creationId xmlns:p14="http://schemas.microsoft.com/office/powerpoint/2010/main" val="1192814272"/>
      </p:ext>
    </p:extLst>
  </p:cSld>
  <p:clrMapOvr>
    <a:overrideClrMapping bg1="lt1" tx1="dk1" bg2="lt2" tx2="dk2" accent1="accent1" accent2="accent2" accent3="accent3" accent4="accent4" accent5="accent5" accent6="accent6" hlink="hlink" folHlink="folHlink"/>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4 Three Columns Text Chart">
    <p:bg>
      <p:bgRef idx="1001">
        <a:schemeClr val="bg1"/>
      </p:bgRef>
    </p:bg>
    <p:spTree>
      <p:nvGrpSpPr>
        <p:cNvPr id="1" name=""/>
        <p:cNvGrpSpPr/>
        <p:nvPr/>
      </p:nvGrpSpPr>
      <p:grpSpPr>
        <a:xfrm>
          <a:off x="0" y="0"/>
          <a:ext cx="0" cy="0"/>
          <a:chOff x="0" y="0"/>
          <a:chExt cx="0" cy="0"/>
        </a:xfrm>
      </p:grpSpPr>
      <p:sp>
        <p:nvSpPr>
          <p:cNvPr id="19" name="Text Placeholder 18">
            <a:extLst>
              <a:ext uri="{FF2B5EF4-FFF2-40B4-BE49-F238E27FC236}">
                <a16:creationId xmlns:a16="http://schemas.microsoft.com/office/drawing/2014/main" id="{696CCD45-BBC3-4242-B2B8-F5604A1D97BB}"/>
              </a:ext>
            </a:extLst>
          </p:cNvPr>
          <p:cNvSpPr>
            <a:spLocks noGrp="1"/>
          </p:cNvSpPr>
          <p:nvPr>
            <p:ph type="body" sz="quarter" idx="14" hasCustomPrompt="1"/>
          </p:nvPr>
        </p:nvSpPr>
        <p:spPr>
          <a:xfrm>
            <a:off x="576000" y="720001"/>
            <a:ext cx="11039738" cy="860400"/>
          </a:xfrm>
          <a:prstGeom prst="rect">
            <a:avLst/>
          </a:prstGeom>
        </p:spPr>
        <p:txBody>
          <a:bodyPr anchor="t">
            <a:noAutofit/>
          </a:bodyPr>
          <a:lstStyle>
            <a:lvl1pPr marL="0" indent="0">
              <a:lnSpc>
                <a:spcPct val="85000"/>
              </a:lnSpc>
              <a:spcBef>
                <a:spcPts val="0"/>
              </a:spcBef>
              <a:buNone/>
              <a:defRPr sz="3600" spc="40" baseline="0">
                <a:solidFill>
                  <a:schemeClr val="tx2"/>
                </a:solidFill>
                <a:latin typeface="+mj-lt"/>
              </a:defRPr>
            </a:lvl1pPr>
          </a:lstStyle>
          <a:p>
            <a:pPr lvl="0"/>
            <a:r>
              <a:rPr lang="en-US" noProof="0"/>
              <a:t>Click to add a headline of maximum two lines</a:t>
            </a:r>
          </a:p>
          <a:p>
            <a:pPr lvl="0"/>
            <a:endParaRPr lang="en-US" noProof="0"/>
          </a:p>
        </p:txBody>
      </p:sp>
      <p:sp>
        <p:nvSpPr>
          <p:cNvPr id="25" name="Chart Placeholder 4">
            <a:extLst>
              <a:ext uri="{FF2B5EF4-FFF2-40B4-BE49-F238E27FC236}">
                <a16:creationId xmlns:a16="http://schemas.microsoft.com/office/drawing/2014/main" id="{6FF95646-AD27-8440-B493-6779ED154EB6}"/>
              </a:ext>
            </a:extLst>
          </p:cNvPr>
          <p:cNvSpPr>
            <a:spLocks noGrp="1"/>
          </p:cNvSpPr>
          <p:nvPr>
            <p:ph type="chart" sz="quarter" idx="21" hasCustomPrompt="1"/>
          </p:nvPr>
        </p:nvSpPr>
        <p:spPr>
          <a:xfrm>
            <a:off x="8145463" y="2098674"/>
            <a:ext cx="3470275" cy="1857091"/>
          </a:xfrm>
        </p:spPr>
        <p:txBody>
          <a:bodyPr/>
          <a:lstStyle>
            <a:lvl1pPr marL="12700" indent="0" algn="ctr">
              <a:buNone/>
              <a:defRPr sz="1300">
                <a:solidFill>
                  <a:schemeClr val="tx2"/>
                </a:solidFill>
              </a:defRPr>
            </a:lvl1pPr>
          </a:lstStyle>
          <a:p>
            <a:r>
              <a:rPr lang="en-US" noProof="0"/>
              <a:t>Click to add a chart</a:t>
            </a:r>
          </a:p>
        </p:txBody>
      </p:sp>
      <p:sp>
        <p:nvSpPr>
          <p:cNvPr id="26" name="Chart Placeholder 4">
            <a:extLst>
              <a:ext uri="{FF2B5EF4-FFF2-40B4-BE49-F238E27FC236}">
                <a16:creationId xmlns:a16="http://schemas.microsoft.com/office/drawing/2014/main" id="{4B757421-2FBC-E741-A174-86B2942AFE57}"/>
              </a:ext>
            </a:extLst>
          </p:cNvPr>
          <p:cNvSpPr>
            <a:spLocks noGrp="1"/>
          </p:cNvSpPr>
          <p:nvPr>
            <p:ph type="chart" sz="quarter" idx="22" hasCustomPrompt="1"/>
          </p:nvPr>
        </p:nvSpPr>
        <p:spPr>
          <a:xfrm>
            <a:off x="8145463" y="4272247"/>
            <a:ext cx="3470275" cy="1857091"/>
          </a:xfrm>
        </p:spPr>
        <p:txBody>
          <a:bodyPr/>
          <a:lstStyle>
            <a:lvl1pPr marL="12700" indent="0" algn="ctr">
              <a:buNone/>
              <a:defRPr sz="1300">
                <a:solidFill>
                  <a:schemeClr val="tx2"/>
                </a:solidFill>
              </a:defRPr>
            </a:lvl1pPr>
          </a:lstStyle>
          <a:p>
            <a:r>
              <a:rPr lang="en-US" noProof="0"/>
              <a:t>Click to add a chart</a:t>
            </a:r>
          </a:p>
        </p:txBody>
      </p:sp>
      <p:grpSp>
        <p:nvGrpSpPr>
          <p:cNvPr id="27" name="Grupp 32">
            <a:extLst>
              <a:ext uri="{FF2B5EF4-FFF2-40B4-BE49-F238E27FC236}">
                <a16:creationId xmlns:a16="http://schemas.microsoft.com/office/drawing/2014/main" id="{2299BFFD-8D76-2B49-B434-B9878C23FBAE}"/>
              </a:ext>
            </a:extLst>
          </p:cNvPr>
          <p:cNvGrpSpPr/>
          <p:nvPr userDrawn="1"/>
        </p:nvGrpSpPr>
        <p:grpSpPr>
          <a:xfrm>
            <a:off x="576140" y="6451484"/>
            <a:ext cx="615478" cy="91194"/>
            <a:chOff x="576140" y="6451484"/>
            <a:chExt cx="615478" cy="91194"/>
          </a:xfrm>
          <a:solidFill>
            <a:schemeClr val="tx2"/>
          </a:solidFill>
        </p:grpSpPr>
        <p:sp>
          <p:nvSpPr>
            <p:cNvPr id="28" name="Bild 2">
              <a:extLst>
                <a:ext uri="{FF2B5EF4-FFF2-40B4-BE49-F238E27FC236}">
                  <a16:creationId xmlns:a16="http://schemas.microsoft.com/office/drawing/2014/main" id="{CEBE1B54-B6FB-B740-8B56-3B8AAEC1EC85}"/>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noProof="0">
                <a:solidFill>
                  <a:schemeClr val="tx2"/>
                </a:solidFill>
              </a:endParaRPr>
            </a:p>
          </p:txBody>
        </p:sp>
        <p:sp>
          <p:nvSpPr>
            <p:cNvPr id="29" name="Bild 2">
              <a:extLst>
                <a:ext uri="{FF2B5EF4-FFF2-40B4-BE49-F238E27FC236}">
                  <a16:creationId xmlns:a16="http://schemas.microsoft.com/office/drawing/2014/main" id="{EEA3F33C-E9E0-DD4C-BBEA-2C0B61145220}"/>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noProof="0">
                <a:solidFill>
                  <a:schemeClr val="tx2"/>
                </a:solidFill>
              </a:endParaRPr>
            </a:p>
          </p:txBody>
        </p:sp>
        <p:sp>
          <p:nvSpPr>
            <p:cNvPr id="30" name="Bild 2">
              <a:extLst>
                <a:ext uri="{FF2B5EF4-FFF2-40B4-BE49-F238E27FC236}">
                  <a16:creationId xmlns:a16="http://schemas.microsoft.com/office/drawing/2014/main" id="{5B11D485-06F7-1548-89B6-C85BD0EC567B}"/>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31" name="Bild 2">
              <a:extLst>
                <a:ext uri="{FF2B5EF4-FFF2-40B4-BE49-F238E27FC236}">
                  <a16:creationId xmlns:a16="http://schemas.microsoft.com/office/drawing/2014/main" id="{FE6DB499-8CE4-9741-9C94-C79478F18068}"/>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sp>
          <p:nvSpPr>
            <p:cNvPr id="32" name="Bild 2">
              <a:extLst>
                <a:ext uri="{FF2B5EF4-FFF2-40B4-BE49-F238E27FC236}">
                  <a16:creationId xmlns:a16="http://schemas.microsoft.com/office/drawing/2014/main" id="{2EBABB22-6F1D-4643-9B74-FD71012EB63A}"/>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noProof="0">
                <a:solidFill>
                  <a:schemeClr val="tx2"/>
                </a:solidFill>
              </a:endParaRPr>
            </a:p>
          </p:txBody>
        </p:sp>
        <p:sp>
          <p:nvSpPr>
            <p:cNvPr id="33" name="Bild 2">
              <a:extLst>
                <a:ext uri="{FF2B5EF4-FFF2-40B4-BE49-F238E27FC236}">
                  <a16:creationId xmlns:a16="http://schemas.microsoft.com/office/drawing/2014/main" id="{1E29AA56-2A38-0144-924A-9E08CF1CF399}"/>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34" name="Bild 2">
              <a:extLst>
                <a:ext uri="{FF2B5EF4-FFF2-40B4-BE49-F238E27FC236}">
                  <a16:creationId xmlns:a16="http://schemas.microsoft.com/office/drawing/2014/main" id="{D3C5CA02-6820-9A46-994C-6A82C4DDA759}"/>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grpSp>
      <p:sp>
        <p:nvSpPr>
          <p:cNvPr id="18" name="Text Placeholder 7">
            <a:extLst>
              <a:ext uri="{FF2B5EF4-FFF2-40B4-BE49-F238E27FC236}">
                <a16:creationId xmlns:a16="http://schemas.microsoft.com/office/drawing/2014/main" id="{CCF0A91F-C49F-E041-B82D-A6DDF705351D}"/>
              </a:ext>
            </a:extLst>
          </p:cNvPr>
          <p:cNvSpPr>
            <a:spLocks noGrp="1"/>
          </p:cNvSpPr>
          <p:nvPr>
            <p:ph type="body" sz="quarter" idx="19" hasCustomPrompt="1"/>
          </p:nvPr>
        </p:nvSpPr>
        <p:spPr>
          <a:xfrm>
            <a:off x="576001" y="2098800"/>
            <a:ext cx="3481650" cy="278640"/>
          </a:xfrm>
        </p:spPr>
        <p:txBody>
          <a:bodyPr numCol="1"/>
          <a:lstStyle>
            <a:lvl1pPr marL="0" indent="0">
              <a:lnSpc>
                <a:spcPct val="100000"/>
              </a:lnSpc>
              <a:spcBef>
                <a:spcPts val="0"/>
              </a:spcBef>
              <a:spcAft>
                <a:spcPts val="1000"/>
              </a:spcAft>
              <a:buNone/>
              <a:defRPr sz="1600" b="1" spc="40" baseline="0">
                <a:solidFill>
                  <a:schemeClr val="tx2"/>
                </a:solidFill>
              </a:defRPr>
            </a:lvl1pPr>
            <a:lvl2pPr marL="14288" indent="0">
              <a:lnSpc>
                <a:spcPct val="100000"/>
              </a:lnSpc>
              <a:spcBef>
                <a:spcPts val="0"/>
              </a:spcBef>
              <a:spcAft>
                <a:spcPts val="1000"/>
              </a:spcAft>
              <a:buNone/>
              <a:tabLst/>
              <a:defRPr sz="1600" spc="40" baseline="0">
                <a:solidFill>
                  <a:schemeClr val="tx1"/>
                </a:solidFill>
              </a:defRPr>
            </a:lvl2pPr>
            <a:lvl3pPr marL="223838" indent="-179388">
              <a:tabLst/>
              <a:defRPr sz="1600" spc="40" baseline="0">
                <a:solidFill>
                  <a:schemeClr val="tx1"/>
                </a:solidFill>
              </a:defRPr>
            </a:lvl3pPr>
            <a:lvl4pPr marL="357188" indent="-133350">
              <a:tabLst/>
              <a:defRPr sz="1400" spc="40" baseline="0">
                <a:solidFill>
                  <a:schemeClr val="tx1"/>
                </a:solidFill>
              </a:defRPr>
            </a:lvl4pPr>
            <a:lvl5pPr marL="627063" indent="-179388">
              <a:tabLst/>
              <a:defRPr sz="1200" spc="40" baseline="0">
                <a:solidFill>
                  <a:schemeClr val="tx1"/>
                </a:solidFill>
              </a:defRPr>
            </a:lvl5pPr>
          </a:lstStyle>
          <a:p>
            <a:pPr lvl="0"/>
            <a:r>
              <a:rPr lang="en-US" noProof="0"/>
              <a:t>Click to add a short headline</a:t>
            </a:r>
          </a:p>
        </p:txBody>
      </p:sp>
      <p:sp>
        <p:nvSpPr>
          <p:cNvPr id="20" name="Platshållare för text 2">
            <a:extLst>
              <a:ext uri="{FF2B5EF4-FFF2-40B4-BE49-F238E27FC236}">
                <a16:creationId xmlns:a16="http://schemas.microsoft.com/office/drawing/2014/main" id="{C66EF980-A725-2949-B97A-749850FCDB51}"/>
              </a:ext>
            </a:extLst>
          </p:cNvPr>
          <p:cNvSpPr>
            <a:spLocks noGrp="1"/>
          </p:cNvSpPr>
          <p:nvPr>
            <p:ph type="body" sz="quarter" idx="23" hasCustomPrompt="1"/>
          </p:nvPr>
        </p:nvSpPr>
        <p:spPr>
          <a:xfrm>
            <a:off x="576001" y="2464310"/>
            <a:ext cx="3481650" cy="3665028"/>
          </a:xfrm>
        </p:spPr>
        <p:txBody>
          <a:bodyPr numCol="1" spcCol="288000"/>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noProof="0"/>
              <a:t>Click to add body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1" name="Text Placeholder 7">
            <a:extLst>
              <a:ext uri="{FF2B5EF4-FFF2-40B4-BE49-F238E27FC236}">
                <a16:creationId xmlns:a16="http://schemas.microsoft.com/office/drawing/2014/main" id="{C002EC38-A2CD-9441-A63D-21CB0A77532B}"/>
              </a:ext>
            </a:extLst>
          </p:cNvPr>
          <p:cNvSpPr>
            <a:spLocks noGrp="1"/>
          </p:cNvSpPr>
          <p:nvPr>
            <p:ph type="body" sz="quarter" idx="24" hasCustomPrompt="1"/>
          </p:nvPr>
        </p:nvSpPr>
        <p:spPr>
          <a:xfrm>
            <a:off x="4360822" y="2098800"/>
            <a:ext cx="3481650" cy="278640"/>
          </a:xfrm>
        </p:spPr>
        <p:txBody>
          <a:bodyPr numCol="1"/>
          <a:lstStyle>
            <a:lvl1pPr marL="0" indent="0">
              <a:lnSpc>
                <a:spcPct val="100000"/>
              </a:lnSpc>
              <a:spcBef>
                <a:spcPts val="0"/>
              </a:spcBef>
              <a:spcAft>
                <a:spcPts val="1000"/>
              </a:spcAft>
              <a:buNone/>
              <a:defRPr sz="1600" b="1" spc="40" baseline="0">
                <a:solidFill>
                  <a:schemeClr val="tx2"/>
                </a:solidFill>
              </a:defRPr>
            </a:lvl1pPr>
            <a:lvl2pPr marL="14288" indent="0">
              <a:lnSpc>
                <a:spcPct val="100000"/>
              </a:lnSpc>
              <a:spcBef>
                <a:spcPts val="0"/>
              </a:spcBef>
              <a:spcAft>
                <a:spcPts val="1000"/>
              </a:spcAft>
              <a:buNone/>
              <a:tabLst/>
              <a:defRPr sz="1600" spc="40" baseline="0">
                <a:solidFill>
                  <a:schemeClr val="tx1"/>
                </a:solidFill>
              </a:defRPr>
            </a:lvl2pPr>
            <a:lvl3pPr marL="223838" indent="-179388">
              <a:tabLst/>
              <a:defRPr sz="1600" spc="40" baseline="0">
                <a:solidFill>
                  <a:schemeClr val="tx1"/>
                </a:solidFill>
              </a:defRPr>
            </a:lvl3pPr>
            <a:lvl4pPr marL="357188" indent="-133350">
              <a:tabLst/>
              <a:defRPr sz="1400" spc="40" baseline="0">
                <a:solidFill>
                  <a:schemeClr val="tx1"/>
                </a:solidFill>
              </a:defRPr>
            </a:lvl4pPr>
            <a:lvl5pPr marL="627063" indent="-179388">
              <a:tabLst/>
              <a:defRPr sz="1200" spc="40" baseline="0">
                <a:solidFill>
                  <a:schemeClr val="tx1"/>
                </a:solidFill>
              </a:defRPr>
            </a:lvl5pPr>
          </a:lstStyle>
          <a:p>
            <a:pPr lvl="0"/>
            <a:r>
              <a:rPr lang="en-US" noProof="0"/>
              <a:t>Click to add a short headline</a:t>
            </a:r>
          </a:p>
        </p:txBody>
      </p:sp>
      <p:sp>
        <p:nvSpPr>
          <p:cNvPr id="24" name="Platshållare för text 2">
            <a:extLst>
              <a:ext uri="{FF2B5EF4-FFF2-40B4-BE49-F238E27FC236}">
                <a16:creationId xmlns:a16="http://schemas.microsoft.com/office/drawing/2014/main" id="{68F64643-0934-E544-8EF3-DDF27D23990C}"/>
              </a:ext>
            </a:extLst>
          </p:cNvPr>
          <p:cNvSpPr>
            <a:spLocks noGrp="1"/>
          </p:cNvSpPr>
          <p:nvPr>
            <p:ph type="body" sz="quarter" idx="25" hasCustomPrompt="1"/>
          </p:nvPr>
        </p:nvSpPr>
        <p:spPr>
          <a:xfrm>
            <a:off x="4360822" y="2464310"/>
            <a:ext cx="3481650" cy="3665028"/>
          </a:xfrm>
        </p:spPr>
        <p:txBody>
          <a:bodyPr numCol="1" spcCol="288000"/>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noProof="0"/>
              <a:t>Click to add body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2" name="Platshållare för datum 3">
            <a:extLst>
              <a:ext uri="{FF2B5EF4-FFF2-40B4-BE49-F238E27FC236}">
                <a16:creationId xmlns:a16="http://schemas.microsoft.com/office/drawing/2014/main" id="{25B9466E-1561-3A43-B7CC-D96C48832D30}"/>
              </a:ext>
            </a:extLst>
          </p:cNvPr>
          <p:cNvSpPr>
            <a:spLocks noGrp="1"/>
          </p:cNvSpPr>
          <p:nvPr>
            <p:ph type="dt" sz="half" idx="2"/>
          </p:nvPr>
        </p:nvSpPr>
        <p:spPr>
          <a:xfrm>
            <a:off x="2185246" y="6454800"/>
            <a:ext cx="1878120" cy="112593"/>
          </a:xfrm>
          <a:prstGeom prst="rect">
            <a:avLst/>
          </a:prstGeom>
        </p:spPr>
        <p:txBody>
          <a:bodyPr vert="horz" lIns="0" tIns="0" rIns="0" bIns="0" rtlCol="0" anchor="b"/>
          <a:lstStyle>
            <a:lvl1pPr algn="l">
              <a:defRPr sz="800">
                <a:solidFill>
                  <a:schemeClr val="tx2"/>
                </a:solidFill>
              </a:defRPr>
            </a:lvl1pPr>
          </a:lstStyle>
          <a:p>
            <a:fld id="{72863970-E853-F74E-B386-2DE5A779D478}" type="datetime1">
              <a:rPr lang="en-US" noProof="0" smtClean="0"/>
              <a:t>10/17/2023</a:t>
            </a:fld>
            <a:endParaRPr lang="en-US" noProof="0"/>
          </a:p>
        </p:txBody>
      </p:sp>
      <p:sp>
        <p:nvSpPr>
          <p:cNvPr id="23" name="Platshållare för sidfot 4">
            <a:extLst>
              <a:ext uri="{FF2B5EF4-FFF2-40B4-BE49-F238E27FC236}">
                <a16:creationId xmlns:a16="http://schemas.microsoft.com/office/drawing/2014/main" id="{2F9F85FB-38B2-B648-A272-CF8F228D6995}"/>
              </a:ext>
            </a:extLst>
          </p:cNvPr>
          <p:cNvSpPr>
            <a:spLocks noGrp="1"/>
          </p:cNvSpPr>
          <p:nvPr>
            <p:ph type="ftr" sz="quarter" idx="3"/>
          </p:nvPr>
        </p:nvSpPr>
        <p:spPr>
          <a:xfrm>
            <a:off x="4359276" y="6454800"/>
            <a:ext cx="3470274" cy="112593"/>
          </a:xfrm>
          <a:prstGeom prst="rect">
            <a:avLst/>
          </a:prstGeom>
        </p:spPr>
        <p:txBody>
          <a:bodyPr vert="horz" lIns="0" tIns="0" rIns="0" bIns="0" rtlCol="0" anchor="b"/>
          <a:lstStyle>
            <a:lvl1pPr algn="l">
              <a:defRPr sz="800">
                <a:solidFill>
                  <a:schemeClr val="tx2"/>
                </a:solidFill>
              </a:defRPr>
            </a:lvl1pPr>
          </a:lstStyle>
          <a:p>
            <a:r>
              <a:rPr lang="en-US" noProof="0"/>
              <a:t>Go to header/footer to change text </a:t>
            </a:r>
          </a:p>
        </p:txBody>
      </p:sp>
      <p:sp>
        <p:nvSpPr>
          <p:cNvPr id="35" name="Platshållare för bildnummer 5">
            <a:extLst>
              <a:ext uri="{FF2B5EF4-FFF2-40B4-BE49-F238E27FC236}">
                <a16:creationId xmlns:a16="http://schemas.microsoft.com/office/drawing/2014/main" id="{E6C74B85-D904-6740-B752-391BA959E1A2}"/>
              </a:ext>
            </a:extLst>
          </p:cNvPr>
          <p:cNvSpPr>
            <a:spLocks noGrp="1"/>
          </p:cNvSpPr>
          <p:nvPr>
            <p:ph type="sldNum" sz="quarter" idx="4"/>
          </p:nvPr>
        </p:nvSpPr>
        <p:spPr>
          <a:xfrm>
            <a:off x="10013315" y="6454800"/>
            <a:ext cx="1590676" cy="112593"/>
          </a:xfrm>
          <a:prstGeom prst="rect">
            <a:avLst/>
          </a:prstGeom>
        </p:spPr>
        <p:txBody>
          <a:bodyPr vert="horz" lIns="0" tIns="0" rIns="0" bIns="0" rtlCol="0" anchor="b"/>
          <a:lstStyle>
            <a:lvl1pPr algn="r">
              <a:defRPr sz="800">
                <a:solidFill>
                  <a:schemeClr val="tx2"/>
                </a:solidFill>
              </a:defRPr>
            </a:lvl1pPr>
          </a:lstStyle>
          <a:p>
            <a:fld id="{EF8DBD5B-30F9-4F9C-AE39-E065C1AC514D}" type="slidenum">
              <a:rPr lang="en-US" noProof="0" smtClean="0"/>
              <a:pPr/>
              <a:t>‹#›</a:t>
            </a:fld>
            <a:endParaRPr lang="en-US" noProof="0"/>
          </a:p>
        </p:txBody>
      </p:sp>
    </p:spTree>
    <p:extLst>
      <p:ext uri="{BB962C8B-B14F-4D97-AF65-F5344CB8AC3E}">
        <p14:creationId xmlns:p14="http://schemas.microsoft.com/office/powerpoint/2010/main" val="904696652"/>
      </p:ext>
    </p:extLst>
  </p:cSld>
  <p:clrMapOvr>
    <a:overrideClrMapping bg1="lt1" tx1="dk1" bg2="lt2" tx2="dk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4 Chart ">
    <p:bg>
      <p:bgRef idx="1001">
        <a:schemeClr val="bg1"/>
      </p:bgRef>
    </p:bg>
    <p:spTree>
      <p:nvGrpSpPr>
        <p:cNvPr id="1" name=""/>
        <p:cNvGrpSpPr/>
        <p:nvPr/>
      </p:nvGrpSpPr>
      <p:grpSpPr>
        <a:xfrm>
          <a:off x="0" y="0"/>
          <a:ext cx="0" cy="0"/>
          <a:chOff x="0" y="0"/>
          <a:chExt cx="0" cy="0"/>
        </a:xfrm>
      </p:grpSpPr>
      <p:sp>
        <p:nvSpPr>
          <p:cNvPr id="19" name="Text Placeholder 18">
            <a:extLst>
              <a:ext uri="{FF2B5EF4-FFF2-40B4-BE49-F238E27FC236}">
                <a16:creationId xmlns:a16="http://schemas.microsoft.com/office/drawing/2014/main" id="{696CCD45-BBC3-4242-B2B8-F5604A1D97BB}"/>
              </a:ext>
            </a:extLst>
          </p:cNvPr>
          <p:cNvSpPr>
            <a:spLocks noGrp="1"/>
          </p:cNvSpPr>
          <p:nvPr>
            <p:ph type="body" sz="quarter" idx="14" hasCustomPrompt="1"/>
          </p:nvPr>
        </p:nvSpPr>
        <p:spPr>
          <a:xfrm>
            <a:off x="576000" y="720001"/>
            <a:ext cx="11039738" cy="860400"/>
          </a:xfrm>
          <a:prstGeom prst="rect">
            <a:avLst/>
          </a:prstGeom>
        </p:spPr>
        <p:txBody>
          <a:bodyPr anchor="t">
            <a:noAutofit/>
          </a:bodyPr>
          <a:lstStyle>
            <a:lvl1pPr marL="0" indent="0">
              <a:lnSpc>
                <a:spcPct val="85000"/>
              </a:lnSpc>
              <a:spcBef>
                <a:spcPts val="0"/>
              </a:spcBef>
              <a:buNone/>
              <a:defRPr sz="3600" spc="40" baseline="0">
                <a:solidFill>
                  <a:schemeClr val="tx2"/>
                </a:solidFill>
                <a:latin typeface="+mj-lt"/>
              </a:defRPr>
            </a:lvl1pPr>
          </a:lstStyle>
          <a:p>
            <a:pPr lvl="0"/>
            <a:r>
              <a:rPr lang="en-US" noProof="0"/>
              <a:t>Click to add a headline of maximum two lines</a:t>
            </a:r>
          </a:p>
          <a:p>
            <a:pPr lvl="0"/>
            <a:endParaRPr lang="en-US" noProof="0"/>
          </a:p>
        </p:txBody>
      </p:sp>
      <p:sp>
        <p:nvSpPr>
          <p:cNvPr id="22" name="Chart Placeholder 4">
            <a:extLst>
              <a:ext uri="{FF2B5EF4-FFF2-40B4-BE49-F238E27FC236}">
                <a16:creationId xmlns:a16="http://schemas.microsoft.com/office/drawing/2014/main" id="{C3D3CB84-4C51-4944-9D93-F993A25F730B}"/>
              </a:ext>
            </a:extLst>
          </p:cNvPr>
          <p:cNvSpPr>
            <a:spLocks noGrp="1"/>
          </p:cNvSpPr>
          <p:nvPr>
            <p:ph type="chart" sz="quarter" idx="20" hasCustomPrompt="1"/>
          </p:nvPr>
        </p:nvSpPr>
        <p:spPr>
          <a:xfrm>
            <a:off x="576264" y="2098674"/>
            <a:ext cx="11039474" cy="4037487"/>
          </a:xfrm>
        </p:spPr>
        <p:txBody>
          <a:bodyPr/>
          <a:lstStyle>
            <a:lvl1pPr marL="12700" indent="0" algn="ctr">
              <a:buNone/>
              <a:defRPr sz="1300">
                <a:solidFill>
                  <a:schemeClr val="tx2"/>
                </a:solidFill>
              </a:defRPr>
            </a:lvl1pPr>
          </a:lstStyle>
          <a:p>
            <a:r>
              <a:rPr lang="en-US" noProof="0"/>
              <a:t>Click to add a chart</a:t>
            </a:r>
          </a:p>
        </p:txBody>
      </p:sp>
      <p:grpSp>
        <p:nvGrpSpPr>
          <p:cNvPr id="24" name="Grupp 32">
            <a:extLst>
              <a:ext uri="{FF2B5EF4-FFF2-40B4-BE49-F238E27FC236}">
                <a16:creationId xmlns:a16="http://schemas.microsoft.com/office/drawing/2014/main" id="{0166D808-3CB7-884E-95C7-EA74E9B4F048}"/>
              </a:ext>
            </a:extLst>
          </p:cNvPr>
          <p:cNvGrpSpPr/>
          <p:nvPr userDrawn="1"/>
        </p:nvGrpSpPr>
        <p:grpSpPr>
          <a:xfrm>
            <a:off x="576140" y="6451484"/>
            <a:ext cx="615478" cy="91194"/>
            <a:chOff x="576140" y="6451484"/>
            <a:chExt cx="615478" cy="91194"/>
          </a:xfrm>
          <a:solidFill>
            <a:schemeClr val="tx2"/>
          </a:solidFill>
        </p:grpSpPr>
        <p:sp>
          <p:nvSpPr>
            <p:cNvPr id="25" name="Bild 2">
              <a:extLst>
                <a:ext uri="{FF2B5EF4-FFF2-40B4-BE49-F238E27FC236}">
                  <a16:creationId xmlns:a16="http://schemas.microsoft.com/office/drawing/2014/main" id="{E6026D09-5D94-2047-81A1-BDED6F7CDCFD}"/>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noProof="0">
                <a:solidFill>
                  <a:schemeClr val="tx2"/>
                </a:solidFill>
              </a:endParaRPr>
            </a:p>
          </p:txBody>
        </p:sp>
        <p:sp>
          <p:nvSpPr>
            <p:cNvPr id="27" name="Bild 2">
              <a:extLst>
                <a:ext uri="{FF2B5EF4-FFF2-40B4-BE49-F238E27FC236}">
                  <a16:creationId xmlns:a16="http://schemas.microsoft.com/office/drawing/2014/main" id="{09D15658-F29E-EE41-AE3A-1E438ADAB93C}"/>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8" name="Bild 2">
              <a:extLst>
                <a:ext uri="{FF2B5EF4-FFF2-40B4-BE49-F238E27FC236}">
                  <a16:creationId xmlns:a16="http://schemas.microsoft.com/office/drawing/2014/main" id="{9A3DDF5D-46F5-B344-8DAD-D5914874C3D5}"/>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29" name="Bild 2">
              <a:extLst>
                <a:ext uri="{FF2B5EF4-FFF2-40B4-BE49-F238E27FC236}">
                  <a16:creationId xmlns:a16="http://schemas.microsoft.com/office/drawing/2014/main" id="{3A509201-ECF6-B64B-A0A7-231FAA504AB9}"/>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sp>
          <p:nvSpPr>
            <p:cNvPr id="30" name="Bild 2">
              <a:extLst>
                <a:ext uri="{FF2B5EF4-FFF2-40B4-BE49-F238E27FC236}">
                  <a16:creationId xmlns:a16="http://schemas.microsoft.com/office/drawing/2014/main" id="{A8421D0D-3339-7742-993A-EC5B51EBE591}"/>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noProof="0">
                <a:solidFill>
                  <a:schemeClr val="tx2"/>
                </a:solidFill>
              </a:endParaRPr>
            </a:p>
          </p:txBody>
        </p:sp>
        <p:sp>
          <p:nvSpPr>
            <p:cNvPr id="31" name="Bild 2">
              <a:extLst>
                <a:ext uri="{FF2B5EF4-FFF2-40B4-BE49-F238E27FC236}">
                  <a16:creationId xmlns:a16="http://schemas.microsoft.com/office/drawing/2014/main" id="{D82288C4-6EC8-9547-AC38-3AE9F31FE908}"/>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32" name="Bild 2">
              <a:extLst>
                <a:ext uri="{FF2B5EF4-FFF2-40B4-BE49-F238E27FC236}">
                  <a16:creationId xmlns:a16="http://schemas.microsoft.com/office/drawing/2014/main" id="{66082E5D-4163-2F49-AA1C-B2405257920A}"/>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grpSp>
      <p:sp>
        <p:nvSpPr>
          <p:cNvPr id="16" name="Platshållare för datum 3">
            <a:extLst>
              <a:ext uri="{FF2B5EF4-FFF2-40B4-BE49-F238E27FC236}">
                <a16:creationId xmlns:a16="http://schemas.microsoft.com/office/drawing/2014/main" id="{8ADFF0B7-3A32-2C4B-BDF1-ECD3EE00D215}"/>
              </a:ext>
            </a:extLst>
          </p:cNvPr>
          <p:cNvSpPr>
            <a:spLocks noGrp="1"/>
          </p:cNvSpPr>
          <p:nvPr>
            <p:ph type="dt" sz="half" idx="2"/>
          </p:nvPr>
        </p:nvSpPr>
        <p:spPr>
          <a:xfrm>
            <a:off x="2185246" y="6454800"/>
            <a:ext cx="1878120" cy="112593"/>
          </a:xfrm>
          <a:prstGeom prst="rect">
            <a:avLst/>
          </a:prstGeom>
        </p:spPr>
        <p:txBody>
          <a:bodyPr vert="horz" lIns="0" tIns="0" rIns="0" bIns="0" rtlCol="0" anchor="b"/>
          <a:lstStyle>
            <a:lvl1pPr algn="l">
              <a:defRPr sz="800">
                <a:solidFill>
                  <a:schemeClr val="tx2"/>
                </a:solidFill>
              </a:defRPr>
            </a:lvl1pPr>
          </a:lstStyle>
          <a:p>
            <a:fld id="{72863970-E853-F74E-B386-2DE5A779D478}" type="datetime1">
              <a:rPr lang="en-US" smtClean="0"/>
              <a:pPr/>
              <a:t>10/17/2023</a:t>
            </a:fld>
            <a:endParaRPr lang="en-US"/>
          </a:p>
        </p:txBody>
      </p:sp>
      <p:sp>
        <p:nvSpPr>
          <p:cNvPr id="17" name="Platshållare för sidfot 4">
            <a:extLst>
              <a:ext uri="{FF2B5EF4-FFF2-40B4-BE49-F238E27FC236}">
                <a16:creationId xmlns:a16="http://schemas.microsoft.com/office/drawing/2014/main" id="{EEEE660B-80A1-2741-8402-38F2598A8CA3}"/>
              </a:ext>
            </a:extLst>
          </p:cNvPr>
          <p:cNvSpPr>
            <a:spLocks noGrp="1"/>
          </p:cNvSpPr>
          <p:nvPr>
            <p:ph type="ftr" sz="quarter" idx="3"/>
          </p:nvPr>
        </p:nvSpPr>
        <p:spPr>
          <a:xfrm>
            <a:off x="4359276" y="6454800"/>
            <a:ext cx="3470274" cy="112593"/>
          </a:xfrm>
          <a:prstGeom prst="rect">
            <a:avLst/>
          </a:prstGeom>
        </p:spPr>
        <p:txBody>
          <a:bodyPr vert="horz" lIns="0" tIns="0" rIns="0" bIns="0" rtlCol="0" anchor="b"/>
          <a:lstStyle>
            <a:lvl1pPr algn="l">
              <a:defRPr sz="800">
                <a:solidFill>
                  <a:schemeClr val="tx2"/>
                </a:solidFill>
              </a:defRPr>
            </a:lvl1pPr>
          </a:lstStyle>
          <a:p>
            <a:r>
              <a:rPr lang="en-US"/>
              <a:t>Go to header/footer to change text </a:t>
            </a:r>
          </a:p>
        </p:txBody>
      </p:sp>
      <p:sp>
        <p:nvSpPr>
          <p:cNvPr id="18" name="Platshållare för bildnummer 5">
            <a:extLst>
              <a:ext uri="{FF2B5EF4-FFF2-40B4-BE49-F238E27FC236}">
                <a16:creationId xmlns:a16="http://schemas.microsoft.com/office/drawing/2014/main" id="{921A1170-AB66-574D-93A2-A29BD448CFD2}"/>
              </a:ext>
            </a:extLst>
          </p:cNvPr>
          <p:cNvSpPr>
            <a:spLocks noGrp="1"/>
          </p:cNvSpPr>
          <p:nvPr>
            <p:ph type="sldNum" sz="quarter" idx="4"/>
          </p:nvPr>
        </p:nvSpPr>
        <p:spPr>
          <a:xfrm>
            <a:off x="10013315" y="6454800"/>
            <a:ext cx="1590676" cy="112593"/>
          </a:xfrm>
          <a:prstGeom prst="rect">
            <a:avLst/>
          </a:prstGeom>
        </p:spPr>
        <p:txBody>
          <a:bodyPr vert="horz" lIns="0" tIns="0" rIns="0" bIns="0" rtlCol="0" anchor="b"/>
          <a:lstStyle>
            <a:lvl1pPr algn="r">
              <a:defRPr sz="800">
                <a:solidFill>
                  <a:schemeClr val="tx2"/>
                </a:solidFill>
              </a:defRPr>
            </a:lvl1pPr>
          </a:lstStyle>
          <a:p>
            <a:fld id="{EF8DBD5B-30F9-4F9C-AE39-E065C1AC514D}" type="slidenum">
              <a:rPr lang="en-US" smtClean="0"/>
              <a:pPr/>
              <a:t>‹#›</a:t>
            </a:fld>
            <a:endParaRPr lang="en-US"/>
          </a:p>
        </p:txBody>
      </p:sp>
    </p:spTree>
    <p:extLst>
      <p:ext uri="{BB962C8B-B14F-4D97-AF65-F5344CB8AC3E}">
        <p14:creationId xmlns:p14="http://schemas.microsoft.com/office/powerpoint/2010/main" val="2285851876"/>
      </p:ext>
    </p:extLst>
  </p:cSld>
  <p:clrMapOvr>
    <a:overrideClrMapping bg1="lt1" tx1="dk1" bg2="lt2" tx2="dk2" accent1="accent1" accent2="accent2" accent3="accent3" accent4="accent4" accent5="accent5" accent6="accent6" hlink="hlink" folHlink="folHlink"/>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4 Full Table">
    <p:bg>
      <p:bgRef idx="1001">
        <a:schemeClr val="bg1"/>
      </p:bgRef>
    </p:bg>
    <p:spTree>
      <p:nvGrpSpPr>
        <p:cNvPr id="1" name=""/>
        <p:cNvGrpSpPr/>
        <p:nvPr/>
      </p:nvGrpSpPr>
      <p:grpSpPr>
        <a:xfrm>
          <a:off x="0" y="0"/>
          <a:ext cx="0" cy="0"/>
          <a:chOff x="0" y="0"/>
          <a:chExt cx="0" cy="0"/>
        </a:xfrm>
      </p:grpSpPr>
      <p:sp>
        <p:nvSpPr>
          <p:cNvPr id="19" name="Text Placeholder 18">
            <a:extLst>
              <a:ext uri="{FF2B5EF4-FFF2-40B4-BE49-F238E27FC236}">
                <a16:creationId xmlns:a16="http://schemas.microsoft.com/office/drawing/2014/main" id="{696CCD45-BBC3-4242-B2B8-F5604A1D97BB}"/>
              </a:ext>
            </a:extLst>
          </p:cNvPr>
          <p:cNvSpPr>
            <a:spLocks noGrp="1"/>
          </p:cNvSpPr>
          <p:nvPr>
            <p:ph type="body" sz="quarter" idx="14" hasCustomPrompt="1"/>
          </p:nvPr>
        </p:nvSpPr>
        <p:spPr>
          <a:xfrm>
            <a:off x="575999" y="720001"/>
            <a:ext cx="11027991" cy="860400"/>
          </a:xfrm>
          <a:prstGeom prst="rect">
            <a:avLst/>
          </a:prstGeom>
        </p:spPr>
        <p:txBody>
          <a:bodyPr anchor="t">
            <a:noAutofit/>
          </a:bodyPr>
          <a:lstStyle>
            <a:lvl1pPr marL="0" indent="0">
              <a:lnSpc>
                <a:spcPct val="85000"/>
              </a:lnSpc>
              <a:spcBef>
                <a:spcPts val="0"/>
              </a:spcBef>
              <a:buNone/>
              <a:defRPr sz="3600" spc="40" baseline="0">
                <a:solidFill>
                  <a:schemeClr val="tx2"/>
                </a:solidFill>
                <a:latin typeface="+mj-lt"/>
              </a:defRPr>
            </a:lvl1pPr>
          </a:lstStyle>
          <a:p>
            <a:pPr lvl="0"/>
            <a:r>
              <a:rPr lang="en-US" noProof="0"/>
              <a:t>Click to add a headline of maximum two lines</a:t>
            </a:r>
          </a:p>
          <a:p>
            <a:pPr lvl="0"/>
            <a:endParaRPr lang="en-US" noProof="0"/>
          </a:p>
        </p:txBody>
      </p:sp>
      <p:grpSp>
        <p:nvGrpSpPr>
          <p:cNvPr id="13" name="Grupp 32">
            <a:extLst>
              <a:ext uri="{FF2B5EF4-FFF2-40B4-BE49-F238E27FC236}">
                <a16:creationId xmlns:a16="http://schemas.microsoft.com/office/drawing/2014/main" id="{6052E143-9E4E-A74A-B270-30FD881BF636}"/>
              </a:ext>
            </a:extLst>
          </p:cNvPr>
          <p:cNvGrpSpPr/>
          <p:nvPr userDrawn="1"/>
        </p:nvGrpSpPr>
        <p:grpSpPr>
          <a:xfrm>
            <a:off x="576140" y="6451484"/>
            <a:ext cx="615478" cy="91194"/>
            <a:chOff x="576140" y="6451484"/>
            <a:chExt cx="615478" cy="91194"/>
          </a:xfrm>
          <a:solidFill>
            <a:schemeClr val="tx2"/>
          </a:solidFill>
        </p:grpSpPr>
        <p:sp>
          <p:nvSpPr>
            <p:cNvPr id="14" name="Bild 2">
              <a:extLst>
                <a:ext uri="{FF2B5EF4-FFF2-40B4-BE49-F238E27FC236}">
                  <a16:creationId xmlns:a16="http://schemas.microsoft.com/office/drawing/2014/main" id="{8EFB6FE1-71C4-C84E-8225-1ED321BF2576}"/>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noProof="0">
                <a:solidFill>
                  <a:schemeClr val="tx2"/>
                </a:solidFill>
              </a:endParaRPr>
            </a:p>
          </p:txBody>
        </p:sp>
        <p:sp>
          <p:nvSpPr>
            <p:cNvPr id="15" name="Bild 2">
              <a:extLst>
                <a:ext uri="{FF2B5EF4-FFF2-40B4-BE49-F238E27FC236}">
                  <a16:creationId xmlns:a16="http://schemas.microsoft.com/office/drawing/2014/main" id="{C75C6BBC-8CE7-1447-9C1A-5CF2E31B8E86}"/>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noProof="0">
                <a:solidFill>
                  <a:schemeClr val="tx2"/>
                </a:solidFill>
              </a:endParaRPr>
            </a:p>
          </p:txBody>
        </p:sp>
        <p:sp>
          <p:nvSpPr>
            <p:cNvPr id="16" name="Bild 2">
              <a:extLst>
                <a:ext uri="{FF2B5EF4-FFF2-40B4-BE49-F238E27FC236}">
                  <a16:creationId xmlns:a16="http://schemas.microsoft.com/office/drawing/2014/main" id="{C67E8788-BA40-7B4E-8CE0-D014697FF57F}"/>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17" name="Bild 2">
              <a:extLst>
                <a:ext uri="{FF2B5EF4-FFF2-40B4-BE49-F238E27FC236}">
                  <a16:creationId xmlns:a16="http://schemas.microsoft.com/office/drawing/2014/main" id="{95E3D91E-8773-7A4B-A13C-0E4FBDFC5FE3}"/>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sp>
          <p:nvSpPr>
            <p:cNvPr id="18" name="Bild 2">
              <a:extLst>
                <a:ext uri="{FF2B5EF4-FFF2-40B4-BE49-F238E27FC236}">
                  <a16:creationId xmlns:a16="http://schemas.microsoft.com/office/drawing/2014/main" id="{93A47CE2-36F2-314E-B92A-3F8A641FD515}"/>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noProof="0">
                <a:solidFill>
                  <a:schemeClr val="tx2"/>
                </a:solidFill>
              </a:endParaRPr>
            </a:p>
          </p:txBody>
        </p:sp>
        <p:sp>
          <p:nvSpPr>
            <p:cNvPr id="20" name="Bild 2">
              <a:extLst>
                <a:ext uri="{FF2B5EF4-FFF2-40B4-BE49-F238E27FC236}">
                  <a16:creationId xmlns:a16="http://schemas.microsoft.com/office/drawing/2014/main" id="{E1EEBA04-4683-4848-BB26-CA97EA2ECDBF}"/>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21" name="Bild 2">
              <a:extLst>
                <a:ext uri="{FF2B5EF4-FFF2-40B4-BE49-F238E27FC236}">
                  <a16:creationId xmlns:a16="http://schemas.microsoft.com/office/drawing/2014/main" id="{00FB335B-B11A-1A47-80E0-92010385FE92}"/>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grpSp>
      <p:sp>
        <p:nvSpPr>
          <p:cNvPr id="26" name="Table Placeholder 5">
            <a:extLst>
              <a:ext uri="{FF2B5EF4-FFF2-40B4-BE49-F238E27FC236}">
                <a16:creationId xmlns:a16="http://schemas.microsoft.com/office/drawing/2014/main" id="{3BFD68C4-B563-2D4A-A4B9-CA7F194CE4D4}"/>
              </a:ext>
            </a:extLst>
          </p:cNvPr>
          <p:cNvSpPr>
            <a:spLocks noGrp="1"/>
          </p:cNvSpPr>
          <p:nvPr>
            <p:ph type="tbl" sz="quarter" idx="19" hasCustomPrompt="1"/>
          </p:nvPr>
        </p:nvSpPr>
        <p:spPr>
          <a:xfrm>
            <a:off x="576264" y="2098801"/>
            <a:ext cx="11039474" cy="4037362"/>
          </a:xfrm>
        </p:spPr>
        <p:txBody>
          <a:bodyPr/>
          <a:lstStyle>
            <a:lvl1pPr marL="12700" indent="0" algn="ctr">
              <a:buNone/>
              <a:defRPr sz="1300">
                <a:solidFill>
                  <a:schemeClr val="tx2"/>
                </a:solidFill>
              </a:defRPr>
            </a:lvl1pPr>
          </a:lstStyle>
          <a:p>
            <a:r>
              <a:rPr lang="en-US" noProof="0"/>
              <a:t>Click to add a table</a:t>
            </a:r>
          </a:p>
        </p:txBody>
      </p:sp>
      <p:sp>
        <p:nvSpPr>
          <p:cNvPr id="22" name="Platshållare för datum 3">
            <a:extLst>
              <a:ext uri="{FF2B5EF4-FFF2-40B4-BE49-F238E27FC236}">
                <a16:creationId xmlns:a16="http://schemas.microsoft.com/office/drawing/2014/main" id="{69FE7AF7-F6A3-C640-A514-17AD055415B6}"/>
              </a:ext>
            </a:extLst>
          </p:cNvPr>
          <p:cNvSpPr>
            <a:spLocks noGrp="1"/>
          </p:cNvSpPr>
          <p:nvPr>
            <p:ph type="dt" sz="half" idx="2"/>
          </p:nvPr>
        </p:nvSpPr>
        <p:spPr>
          <a:xfrm>
            <a:off x="2185246" y="6454800"/>
            <a:ext cx="1878120" cy="112593"/>
          </a:xfrm>
          <a:prstGeom prst="rect">
            <a:avLst/>
          </a:prstGeom>
        </p:spPr>
        <p:txBody>
          <a:bodyPr vert="horz" lIns="0" tIns="0" rIns="0" bIns="0" rtlCol="0" anchor="b"/>
          <a:lstStyle>
            <a:lvl1pPr algn="l">
              <a:defRPr sz="800">
                <a:solidFill>
                  <a:schemeClr val="tx2"/>
                </a:solidFill>
              </a:defRPr>
            </a:lvl1pPr>
          </a:lstStyle>
          <a:p>
            <a:fld id="{72863970-E853-F74E-B386-2DE5A779D478}" type="datetime1">
              <a:rPr lang="en-US" noProof="0" smtClean="0"/>
              <a:t>10/17/2023</a:t>
            </a:fld>
            <a:endParaRPr lang="en-US" noProof="0"/>
          </a:p>
        </p:txBody>
      </p:sp>
      <p:sp>
        <p:nvSpPr>
          <p:cNvPr id="23" name="Platshållare för sidfot 4">
            <a:extLst>
              <a:ext uri="{FF2B5EF4-FFF2-40B4-BE49-F238E27FC236}">
                <a16:creationId xmlns:a16="http://schemas.microsoft.com/office/drawing/2014/main" id="{075A2326-1E29-9B4D-BAE6-F7E11ED89955}"/>
              </a:ext>
            </a:extLst>
          </p:cNvPr>
          <p:cNvSpPr>
            <a:spLocks noGrp="1"/>
          </p:cNvSpPr>
          <p:nvPr>
            <p:ph type="ftr" sz="quarter" idx="3"/>
          </p:nvPr>
        </p:nvSpPr>
        <p:spPr>
          <a:xfrm>
            <a:off x="4359276" y="6454800"/>
            <a:ext cx="3470274" cy="112593"/>
          </a:xfrm>
          <a:prstGeom prst="rect">
            <a:avLst/>
          </a:prstGeom>
        </p:spPr>
        <p:txBody>
          <a:bodyPr vert="horz" lIns="0" tIns="0" rIns="0" bIns="0" rtlCol="0" anchor="b"/>
          <a:lstStyle>
            <a:lvl1pPr algn="l">
              <a:defRPr sz="800">
                <a:solidFill>
                  <a:schemeClr val="tx2"/>
                </a:solidFill>
              </a:defRPr>
            </a:lvl1pPr>
          </a:lstStyle>
          <a:p>
            <a:r>
              <a:rPr lang="en-US" noProof="0"/>
              <a:t>Go to header/footer to change text </a:t>
            </a:r>
          </a:p>
        </p:txBody>
      </p:sp>
      <p:sp>
        <p:nvSpPr>
          <p:cNvPr id="24" name="Platshållare för bildnummer 5">
            <a:extLst>
              <a:ext uri="{FF2B5EF4-FFF2-40B4-BE49-F238E27FC236}">
                <a16:creationId xmlns:a16="http://schemas.microsoft.com/office/drawing/2014/main" id="{C81EA6FF-C1A7-DD40-9726-BB59D2F3B26B}"/>
              </a:ext>
            </a:extLst>
          </p:cNvPr>
          <p:cNvSpPr>
            <a:spLocks noGrp="1"/>
          </p:cNvSpPr>
          <p:nvPr>
            <p:ph type="sldNum" sz="quarter" idx="4"/>
          </p:nvPr>
        </p:nvSpPr>
        <p:spPr>
          <a:xfrm>
            <a:off x="10013315" y="6454800"/>
            <a:ext cx="1590676" cy="112593"/>
          </a:xfrm>
          <a:prstGeom prst="rect">
            <a:avLst/>
          </a:prstGeom>
        </p:spPr>
        <p:txBody>
          <a:bodyPr vert="horz" lIns="0" tIns="0" rIns="0" bIns="0" rtlCol="0" anchor="b"/>
          <a:lstStyle>
            <a:lvl1pPr algn="r">
              <a:defRPr sz="800">
                <a:solidFill>
                  <a:schemeClr val="tx2"/>
                </a:solidFill>
              </a:defRPr>
            </a:lvl1pPr>
          </a:lstStyle>
          <a:p>
            <a:fld id="{EF8DBD5B-30F9-4F9C-AE39-E065C1AC514D}" type="slidenum">
              <a:rPr lang="en-US" noProof="0" smtClean="0"/>
              <a:pPr/>
              <a:t>‹#›</a:t>
            </a:fld>
            <a:endParaRPr lang="en-US" noProof="0"/>
          </a:p>
        </p:txBody>
      </p:sp>
    </p:spTree>
    <p:extLst>
      <p:ext uri="{BB962C8B-B14F-4D97-AF65-F5344CB8AC3E}">
        <p14:creationId xmlns:p14="http://schemas.microsoft.com/office/powerpoint/2010/main" val="4206882800"/>
      </p:ext>
    </p:extLst>
  </p:cSld>
  <p:clrMapOvr>
    <a:overrideClrMapping bg1="lt1" tx1="dk1" bg2="lt2" tx2="dk2" accent1="accent1" accent2="accent2" accent3="accent3" accent4="accent4" accent5="accent5" accent6="accent6" hlink="hlink" folHlink="folHlink"/>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5 Text Two Columns Blue/Grey">
    <p:bg>
      <p:bgRef idx="1001">
        <a:schemeClr val="bg1"/>
      </p:bgRef>
    </p:bg>
    <p:spTree>
      <p:nvGrpSpPr>
        <p:cNvPr id="1" name=""/>
        <p:cNvGrpSpPr/>
        <p:nvPr/>
      </p:nvGrpSpPr>
      <p:grpSpPr>
        <a:xfrm>
          <a:off x="0" y="0"/>
          <a:ext cx="0" cy="0"/>
          <a:chOff x="0" y="0"/>
          <a:chExt cx="0" cy="0"/>
        </a:xfrm>
      </p:grpSpPr>
      <p:sp>
        <p:nvSpPr>
          <p:cNvPr id="24" name="Rektangel 44">
            <a:extLst>
              <a:ext uri="{FF2B5EF4-FFF2-40B4-BE49-F238E27FC236}">
                <a16:creationId xmlns:a16="http://schemas.microsoft.com/office/drawing/2014/main" id="{27844A3D-8243-2143-85B5-BB3E1585307B}"/>
              </a:ext>
            </a:extLst>
          </p:cNvPr>
          <p:cNvSpPr/>
          <p:nvPr userDrawn="1"/>
        </p:nvSpPr>
        <p:spPr>
          <a:xfrm>
            <a:off x="587718" y="1507524"/>
            <a:ext cx="5365407" cy="462348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solidFill>
                <a:schemeClr val="tx2"/>
              </a:solidFill>
            </a:endParaRPr>
          </a:p>
        </p:txBody>
      </p:sp>
      <p:sp>
        <p:nvSpPr>
          <p:cNvPr id="27" name="Rektangel 43">
            <a:extLst>
              <a:ext uri="{FF2B5EF4-FFF2-40B4-BE49-F238E27FC236}">
                <a16:creationId xmlns:a16="http://schemas.microsoft.com/office/drawing/2014/main" id="{D2047841-A38E-E04D-92A9-4F647F6B7944}"/>
              </a:ext>
            </a:extLst>
          </p:cNvPr>
          <p:cNvSpPr/>
          <p:nvPr userDrawn="1"/>
        </p:nvSpPr>
        <p:spPr>
          <a:xfrm>
            <a:off x="6238875" y="1507524"/>
            <a:ext cx="5382444" cy="462348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solidFill>
                <a:schemeClr val="tx1"/>
              </a:solidFill>
            </a:endParaRPr>
          </a:p>
        </p:txBody>
      </p:sp>
      <p:sp>
        <p:nvSpPr>
          <p:cNvPr id="19" name="Text Placeholder 18">
            <a:extLst>
              <a:ext uri="{FF2B5EF4-FFF2-40B4-BE49-F238E27FC236}">
                <a16:creationId xmlns:a16="http://schemas.microsoft.com/office/drawing/2014/main" id="{696CCD45-BBC3-4242-B2B8-F5604A1D97BB}"/>
              </a:ext>
            </a:extLst>
          </p:cNvPr>
          <p:cNvSpPr>
            <a:spLocks noGrp="1"/>
          </p:cNvSpPr>
          <p:nvPr>
            <p:ph type="body" sz="quarter" idx="14" hasCustomPrompt="1"/>
          </p:nvPr>
        </p:nvSpPr>
        <p:spPr>
          <a:xfrm>
            <a:off x="576000" y="720001"/>
            <a:ext cx="11039738" cy="421200"/>
          </a:xfrm>
          <a:prstGeom prst="rect">
            <a:avLst/>
          </a:prstGeom>
        </p:spPr>
        <p:txBody>
          <a:bodyPr anchor="t">
            <a:noAutofit/>
          </a:bodyPr>
          <a:lstStyle>
            <a:lvl1pPr marL="0" indent="0">
              <a:lnSpc>
                <a:spcPct val="85000"/>
              </a:lnSpc>
              <a:spcBef>
                <a:spcPts val="0"/>
              </a:spcBef>
              <a:buNone/>
              <a:defRPr sz="3600" spc="40" baseline="0">
                <a:solidFill>
                  <a:schemeClr val="tx2"/>
                </a:solidFill>
                <a:latin typeface="+mj-lt"/>
              </a:defRPr>
            </a:lvl1pPr>
          </a:lstStyle>
          <a:p>
            <a:pPr lvl="0"/>
            <a:r>
              <a:rPr lang="en-US" noProof="0"/>
              <a:t>Click to add a headline of maximum one line</a:t>
            </a:r>
          </a:p>
          <a:p>
            <a:pPr lvl="0"/>
            <a:endParaRPr lang="en-US" noProof="0"/>
          </a:p>
        </p:txBody>
      </p:sp>
      <p:grpSp>
        <p:nvGrpSpPr>
          <p:cNvPr id="13" name="Grupp 32">
            <a:extLst>
              <a:ext uri="{FF2B5EF4-FFF2-40B4-BE49-F238E27FC236}">
                <a16:creationId xmlns:a16="http://schemas.microsoft.com/office/drawing/2014/main" id="{6052E143-9E4E-A74A-B270-30FD881BF636}"/>
              </a:ext>
            </a:extLst>
          </p:cNvPr>
          <p:cNvGrpSpPr/>
          <p:nvPr userDrawn="1"/>
        </p:nvGrpSpPr>
        <p:grpSpPr>
          <a:xfrm>
            <a:off x="576140" y="6451484"/>
            <a:ext cx="615478" cy="91194"/>
            <a:chOff x="576140" y="6451484"/>
            <a:chExt cx="615478" cy="91194"/>
          </a:xfrm>
          <a:solidFill>
            <a:schemeClr val="tx2"/>
          </a:solidFill>
        </p:grpSpPr>
        <p:sp>
          <p:nvSpPr>
            <p:cNvPr id="14" name="Bild 2">
              <a:extLst>
                <a:ext uri="{FF2B5EF4-FFF2-40B4-BE49-F238E27FC236}">
                  <a16:creationId xmlns:a16="http://schemas.microsoft.com/office/drawing/2014/main" id="{8EFB6FE1-71C4-C84E-8225-1ED321BF2576}"/>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noProof="0">
                <a:solidFill>
                  <a:schemeClr val="tx2"/>
                </a:solidFill>
              </a:endParaRPr>
            </a:p>
          </p:txBody>
        </p:sp>
        <p:sp>
          <p:nvSpPr>
            <p:cNvPr id="15" name="Bild 2">
              <a:extLst>
                <a:ext uri="{FF2B5EF4-FFF2-40B4-BE49-F238E27FC236}">
                  <a16:creationId xmlns:a16="http://schemas.microsoft.com/office/drawing/2014/main" id="{C75C6BBC-8CE7-1447-9C1A-5CF2E31B8E86}"/>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noProof="0">
                <a:solidFill>
                  <a:schemeClr val="tx2"/>
                </a:solidFill>
              </a:endParaRPr>
            </a:p>
          </p:txBody>
        </p:sp>
        <p:sp>
          <p:nvSpPr>
            <p:cNvPr id="16" name="Bild 2">
              <a:extLst>
                <a:ext uri="{FF2B5EF4-FFF2-40B4-BE49-F238E27FC236}">
                  <a16:creationId xmlns:a16="http://schemas.microsoft.com/office/drawing/2014/main" id="{C67E8788-BA40-7B4E-8CE0-D014697FF57F}"/>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17" name="Bild 2">
              <a:extLst>
                <a:ext uri="{FF2B5EF4-FFF2-40B4-BE49-F238E27FC236}">
                  <a16:creationId xmlns:a16="http://schemas.microsoft.com/office/drawing/2014/main" id="{95E3D91E-8773-7A4B-A13C-0E4FBDFC5FE3}"/>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sp>
          <p:nvSpPr>
            <p:cNvPr id="18" name="Bild 2">
              <a:extLst>
                <a:ext uri="{FF2B5EF4-FFF2-40B4-BE49-F238E27FC236}">
                  <a16:creationId xmlns:a16="http://schemas.microsoft.com/office/drawing/2014/main" id="{93A47CE2-36F2-314E-B92A-3F8A641FD515}"/>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noProof="0">
                <a:solidFill>
                  <a:schemeClr val="tx2"/>
                </a:solidFill>
              </a:endParaRPr>
            </a:p>
          </p:txBody>
        </p:sp>
        <p:sp>
          <p:nvSpPr>
            <p:cNvPr id="20" name="Bild 2">
              <a:extLst>
                <a:ext uri="{FF2B5EF4-FFF2-40B4-BE49-F238E27FC236}">
                  <a16:creationId xmlns:a16="http://schemas.microsoft.com/office/drawing/2014/main" id="{E1EEBA04-4683-4848-BB26-CA97EA2ECDBF}"/>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21" name="Bild 2">
              <a:extLst>
                <a:ext uri="{FF2B5EF4-FFF2-40B4-BE49-F238E27FC236}">
                  <a16:creationId xmlns:a16="http://schemas.microsoft.com/office/drawing/2014/main" id="{00FB335B-B11A-1A47-80E0-92010385FE92}"/>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grpSp>
      <p:sp>
        <p:nvSpPr>
          <p:cNvPr id="22" name="Text Placeholder 7">
            <a:extLst>
              <a:ext uri="{FF2B5EF4-FFF2-40B4-BE49-F238E27FC236}">
                <a16:creationId xmlns:a16="http://schemas.microsoft.com/office/drawing/2014/main" id="{5B47F0ED-B34E-F740-BB96-31AB716AB214}"/>
              </a:ext>
            </a:extLst>
          </p:cNvPr>
          <p:cNvSpPr>
            <a:spLocks noGrp="1"/>
          </p:cNvSpPr>
          <p:nvPr>
            <p:ph type="body" sz="quarter" idx="21" hasCustomPrompt="1"/>
          </p:nvPr>
        </p:nvSpPr>
        <p:spPr>
          <a:xfrm>
            <a:off x="996819" y="1812559"/>
            <a:ext cx="4545239" cy="278640"/>
          </a:xfrm>
        </p:spPr>
        <p:txBody>
          <a:bodyPr numCol="1"/>
          <a:lstStyle>
            <a:lvl1pPr marL="0" indent="0">
              <a:lnSpc>
                <a:spcPct val="100000"/>
              </a:lnSpc>
              <a:spcBef>
                <a:spcPts val="0"/>
              </a:spcBef>
              <a:spcAft>
                <a:spcPts val="1000"/>
              </a:spcAft>
              <a:buNone/>
              <a:defRPr sz="1600" b="1" spc="40" baseline="0">
                <a:solidFill>
                  <a:schemeClr val="bg1"/>
                </a:solidFill>
              </a:defRPr>
            </a:lvl1pPr>
            <a:lvl2pPr marL="14288" indent="0">
              <a:lnSpc>
                <a:spcPct val="100000"/>
              </a:lnSpc>
              <a:spcBef>
                <a:spcPts val="0"/>
              </a:spcBef>
              <a:spcAft>
                <a:spcPts val="1000"/>
              </a:spcAft>
              <a:buNone/>
              <a:tabLst/>
              <a:defRPr sz="1600" spc="40" baseline="0">
                <a:solidFill>
                  <a:schemeClr val="tx1"/>
                </a:solidFill>
              </a:defRPr>
            </a:lvl2pPr>
            <a:lvl3pPr marL="223838" indent="-179388">
              <a:tabLst/>
              <a:defRPr sz="1600" spc="40" baseline="0">
                <a:solidFill>
                  <a:schemeClr val="tx1"/>
                </a:solidFill>
              </a:defRPr>
            </a:lvl3pPr>
            <a:lvl4pPr marL="357188" indent="-133350">
              <a:tabLst/>
              <a:defRPr sz="1400" spc="40" baseline="0">
                <a:solidFill>
                  <a:schemeClr val="tx1"/>
                </a:solidFill>
              </a:defRPr>
            </a:lvl4pPr>
            <a:lvl5pPr marL="627063" indent="-179388">
              <a:tabLst/>
              <a:defRPr sz="1200" spc="40" baseline="0">
                <a:solidFill>
                  <a:schemeClr val="tx1"/>
                </a:solidFill>
              </a:defRPr>
            </a:lvl5pPr>
          </a:lstStyle>
          <a:p>
            <a:pPr lvl="0"/>
            <a:r>
              <a:rPr lang="en-US" noProof="0"/>
              <a:t>Click to add a short headline</a:t>
            </a:r>
          </a:p>
        </p:txBody>
      </p:sp>
      <p:sp>
        <p:nvSpPr>
          <p:cNvPr id="23" name="Platshållare för text 2">
            <a:extLst>
              <a:ext uri="{FF2B5EF4-FFF2-40B4-BE49-F238E27FC236}">
                <a16:creationId xmlns:a16="http://schemas.microsoft.com/office/drawing/2014/main" id="{82839781-9E89-2E4B-BF5A-FCFE0FEEAF53}"/>
              </a:ext>
            </a:extLst>
          </p:cNvPr>
          <p:cNvSpPr>
            <a:spLocks noGrp="1"/>
          </p:cNvSpPr>
          <p:nvPr>
            <p:ph type="body" sz="quarter" idx="23" hasCustomPrompt="1"/>
          </p:nvPr>
        </p:nvSpPr>
        <p:spPr>
          <a:xfrm>
            <a:off x="996819" y="2178069"/>
            <a:ext cx="4545239" cy="3665028"/>
          </a:xfrm>
        </p:spPr>
        <p:txBody>
          <a:bodyPr numCol="1" spcCol="2880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add body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5" name="Text Placeholder 7">
            <a:extLst>
              <a:ext uri="{FF2B5EF4-FFF2-40B4-BE49-F238E27FC236}">
                <a16:creationId xmlns:a16="http://schemas.microsoft.com/office/drawing/2014/main" id="{A6ACECAA-6C52-1F44-BE0A-70D683814D99}"/>
              </a:ext>
            </a:extLst>
          </p:cNvPr>
          <p:cNvSpPr>
            <a:spLocks noGrp="1"/>
          </p:cNvSpPr>
          <p:nvPr>
            <p:ph type="body" sz="quarter" idx="24" hasCustomPrompt="1"/>
          </p:nvPr>
        </p:nvSpPr>
        <p:spPr>
          <a:xfrm>
            <a:off x="6657478" y="1812559"/>
            <a:ext cx="4545239" cy="278640"/>
          </a:xfrm>
        </p:spPr>
        <p:txBody>
          <a:bodyPr numCol="1"/>
          <a:lstStyle>
            <a:lvl1pPr marL="0" indent="0">
              <a:lnSpc>
                <a:spcPct val="100000"/>
              </a:lnSpc>
              <a:spcBef>
                <a:spcPts val="0"/>
              </a:spcBef>
              <a:spcAft>
                <a:spcPts val="1000"/>
              </a:spcAft>
              <a:buNone/>
              <a:defRPr sz="1600" b="1" spc="40" baseline="0">
                <a:solidFill>
                  <a:schemeClr val="tx2"/>
                </a:solidFill>
              </a:defRPr>
            </a:lvl1pPr>
            <a:lvl2pPr marL="14288" indent="0">
              <a:lnSpc>
                <a:spcPct val="100000"/>
              </a:lnSpc>
              <a:spcBef>
                <a:spcPts val="0"/>
              </a:spcBef>
              <a:spcAft>
                <a:spcPts val="1000"/>
              </a:spcAft>
              <a:buNone/>
              <a:tabLst/>
              <a:defRPr sz="1600" spc="40" baseline="0">
                <a:solidFill>
                  <a:schemeClr val="tx1"/>
                </a:solidFill>
              </a:defRPr>
            </a:lvl2pPr>
            <a:lvl3pPr marL="223838" indent="-179388">
              <a:tabLst/>
              <a:defRPr sz="1600" spc="40" baseline="0">
                <a:solidFill>
                  <a:schemeClr val="tx1"/>
                </a:solidFill>
              </a:defRPr>
            </a:lvl3pPr>
            <a:lvl4pPr marL="357188" indent="-133350">
              <a:tabLst/>
              <a:defRPr sz="1400" spc="40" baseline="0">
                <a:solidFill>
                  <a:schemeClr val="tx1"/>
                </a:solidFill>
              </a:defRPr>
            </a:lvl4pPr>
            <a:lvl5pPr marL="627063" indent="-179388">
              <a:tabLst/>
              <a:defRPr sz="1200" spc="40" baseline="0">
                <a:solidFill>
                  <a:schemeClr val="tx1"/>
                </a:solidFill>
              </a:defRPr>
            </a:lvl5pPr>
          </a:lstStyle>
          <a:p>
            <a:pPr lvl="0"/>
            <a:r>
              <a:rPr lang="en-US" noProof="0"/>
              <a:t>Click to add a short headline</a:t>
            </a:r>
          </a:p>
        </p:txBody>
      </p:sp>
      <p:sp>
        <p:nvSpPr>
          <p:cNvPr id="26" name="Platshållare för text 2">
            <a:extLst>
              <a:ext uri="{FF2B5EF4-FFF2-40B4-BE49-F238E27FC236}">
                <a16:creationId xmlns:a16="http://schemas.microsoft.com/office/drawing/2014/main" id="{A69AB6DF-EAFF-2242-82F5-78B1D08532CF}"/>
              </a:ext>
            </a:extLst>
          </p:cNvPr>
          <p:cNvSpPr>
            <a:spLocks noGrp="1"/>
          </p:cNvSpPr>
          <p:nvPr>
            <p:ph type="body" sz="quarter" idx="25" hasCustomPrompt="1"/>
          </p:nvPr>
        </p:nvSpPr>
        <p:spPr>
          <a:xfrm>
            <a:off x="6657478" y="2178069"/>
            <a:ext cx="4545239" cy="3665028"/>
          </a:xfrm>
        </p:spPr>
        <p:txBody>
          <a:bodyPr numCol="1" spcCol="288000"/>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noProof="0"/>
              <a:t>Click to add body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8" name="Platshållare för datum 3">
            <a:extLst>
              <a:ext uri="{FF2B5EF4-FFF2-40B4-BE49-F238E27FC236}">
                <a16:creationId xmlns:a16="http://schemas.microsoft.com/office/drawing/2014/main" id="{6319712A-97E1-A445-BAC4-0F99CFE0DF82}"/>
              </a:ext>
            </a:extLst>
          </p:cNvPr>
          <p:cNvSpPr>
            <a:spLocks noGrp="1"/>
          </p:cNvSpPr>
          <p:nvPr>
            <p:ph type="dt" sz="half" idx="2"/>
          </p:nvPr>
        </p:nvSpPr>
        <p:spPr>
          <a:xfrm>
            <a:off x="2185246" y="6454800"/>
            <a:ext cx="1878120" cy="112593"/>
          </a:xfrm>
          <a:prstGeom prst="rect">
            <a:avLst/>
          </a:prstGeom>
        </p:spPr>
        <p:txBody>
          <a:bodyPr vert="horz" lIns="0" tIns="0" rIns="0" bIns="0" rtlCol="0" anchor="b"/>
          <a:lstStyle>
            <a:lvl1pPr algn="l">
              <a:defRPr sz="800">
                <a:solidFill>
                  <a:schemeClr val="tx2"/>
                </a:solidFill>
              </a:defRPr>
            </a:lvl1pPr>
          </a:lstStyle>
          <a:p>
            <a:fld id="{72863970-E853-F74E-B386-2DE5A779D478}" type="datetime1">
              <a:rPr lang="en-US" noProof="0" smtClean="0"/>
              <a:t>10/17/2023</a:t>
            </a:fld>
            <a:endParaRPr lang="en-US" noProof="0"/>
          </a:p>
        </p:txBody>
      </p:sp>
      <p:sp>
        <p:nvSpPr>
          <p:cNvPr id="29" name="Platshållare för sidfot 4">
            <a:extLst>
              <a:ext uri="{FF2B5EF4-FFF2-40B4-BE49-F238E27FC236}">
                <a16:creationId xmlns:a16="http://schemas.microsoft.com/office/drawing/2014/main" id="{F9676C8E-A386-A846-AF45-4B98FBCCACAE}"/>
              </a:ext>
            </a:extLst>
          </p:cNvPr>
          <p:cNvSpPr>
            <a:spLocks noGrp="1"/>
          </p:cNvSpPr>
          <p:nvPr>
            <p:ph type="ftr" sz="quarter" idx="3"/>
          </p:nvPr>
        </p:nvSpPr>
        <p:spPr>
          <a:xfrm>
            <a:off x="4359276" y="6454800"/>
            <a:ext cx="3470274" cy="112593"/>
          </a:xfrm>
          <a:prstGeom prst="rect">
            <a:avLst/>
          </a:prstGeom>
        </p:spPr>
        <p:txBody>
          <a:bodyPr vert="horz" lIns="0" tIns="0" rIns="0" bIns="0" rtlCol="0" anchor="b"/>
          <a:lstStyle>
            <a:lvl1pPr algn="l">
              <a:defRPr sz="800">
                <a:solidFill>
                  <a:schemeClr val="tx2"/>
                </a:solidFill>
              </a:defRPr>
            </a:lvl1pPr>
          </a:lstStyle>
          <a:p>
            <a:r>
              <a:rPr lang="en-US" noProof="0"/>
              <a:t>Go to header/footer to change text </a:t>
            </a:r>
          </a:p>
        </p:txBody>
      </p:sp>
      <p:sp>
        <p:nvSpPr>
          <p:cNvPr id="30" name="Platshållare för bildnummer 5">
            <a:extLst>
              <a:ext uri="{FF2B5EF4-FFF2-40B4-BE49-F238E27FC236}">
                <a16:creationId xmlns:a16="http://schemas.microsoft.com/office/drawing/2014/main" id="{26558BBE-F21B-9B45-9244-B8FDB77F0650}"/>
              </a:ext>
            </a:extLst>
          </p:cNvPr>
          <p:cNvSpPr>
            <a:spLocks noGrp="1"/>
          </p:cNvSpPr>
          <p:nvPr>
            <p:ph type="sldNum" sz="quarter" idx="4"/>
          </p:nvPr>
        </p:nvSpPr>
        <p:spPr>
          <a:xfrm>
            <a:off x="10013315" y="6454800"/>
            <a:ext cx="1590676" cy="112593"/>
          </a:xfrm>
          <a:prstGeom prst="rect">
            <a:avLst/>
          </a:prstGeom>
        </p:spPr>
        <p:txBody>
          <a:bodyPr vert="horz" lIns="0" tIns="0" rIns="0" bIns="0" rtlCol="0" anchor="b"/>
          <a:lstStyle>
            <a:lvl1pPr algn="r">
              <a:defRPr sz="800">
                <a:solidFill>
                  <a:schemeClr val="tx2"/>
                </a:solidFill>
              </a:defRPr>
            </a:lvl1pPr>
          </a:lstStyle>
          <a:p>
            <a:fld id="{EF8DBD5B-30F9-4F9C-AE39-E065C1AC514D}" type="slidenum">
              <a:rPr lang="en-US" noProof="0" smtClean="0"/>
              <a:pPr/>
              <a:t>‹#›</a:t>
            </a:fld>
            <a:endParaRPr lang="en-US" noProof="0"/>
          </a:p>
        </p:txBody>
      </p:sp>
    </p:spTree>
    <p:extLst>
      <p:ext uri="{BB962C8B-B14F-4D97-AF65-F5344CB8AC3E}">
        <p14:creationId xmlns:p14="http://schemas.microsoft.com/office/powerpoint/2010/main" val="44947498"/>
      </p:ext>
    </p:extLst>
  </p:cSld>
  <p:clrMapOvr>
    <a:overrideClrMapping bg1="lt1" tx1="dk1" bg2="lt2" tx2="dk2" accent1="accent1" accent2="accent2" accent3="accent3" accent4="accent4" accent5="accent5" accent6="accent6" hlink="hlink" folHlink="folHlink"/>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5 Text Two Columns Green/Grey">
    <p:bg>
      <p:bgRef idx="1001">
        <a:schemeClr val="bg1"/>
      </p:bgRef>
    </p:bg>
    <p:spTree>
      <p:nvGrpSpPr>
        <p:cNvPr id="1" name=""/>
        <p:cNvGrpSpPr/>
        <p:nvPr/>
      </p:nvGrpSpPr>
      <p:grpSpPr>
        <a:xfrm>
          <a:off x="0" y="0"/>
          <a:ext cx="0" cy="0"/>
          <a:chOff x="0" y="0"/>
          <a:chExt cx="0" cy="0"/>
        </a:xfrm>
      </p:grpSpPr>
      <p:sp>
        <p:nvSpPr>
          <p:cNvPr id="24" name="Rektangel 44">
            <a:extLst>
              <a:ext uri="{FF2B5EF4-FFF2-40B4-BE49-F238E27FC236}">
                <a16:creationId xmlns:a16="http://schemas.microsoft.com/office/drawing/2014/main" id="{27844A3D-8243-2143-85B5-BB3E1585307B}"/>
              </a:ext>
            </a:extLst>
          </p:cNvPr>
          <p:cNvSpPr/>
          <p:nvPr userDrawn="1"/>
        </p:nvSpPr>
        <p:spPr>
          <a:xfrm>
            <a:off x="587718" y="1507524"/>
            <a:ext cx="5365407" cy="462348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solidFill>
                <a:schemeClr val="tx2"/>
              </a:solidFill>
            </a:endParaRPr>
          </a:p>
        </p:txBody>
      </p:sp>
      <p:sp>
        <p:nvSpPr>
          <p:cNvPr id="27" name="Rektangel 43">
            <a:extLst>
              <a:ext uri="{FF2B5EF4-FFF2-40B4-BE49-F238E27FC236}">
                <a16:creationId xmlns:a16="http://schemas.microsoft.com/office/drawing/2014/main" id="{D2047841-A38E-E04D-92A9-4F647F6B7944}"/>
              </a:ext>
            </a:extLst>
          </p:cNvPr>
          <p:cNvSpPr/>
          <p:nvPr userDrawn="1"/>
        </p:nvSpPr>
        <p:spPr>
          <a:xfrm>
            <a:off x="6238875" y="1507524"/>
            <a:ext cx="5382444" cy="462348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solidFill>
                <a:schemeClr val="tx1"/>
              </a:solidFill>
            </a:endParaRPr>
          </a:p>
        </p:txBody>
      </p:sp>
      <p:sp>
        <p:nvSpPr>
          <p:cNvPr id="19" name="Text Placeholder 18">
            <a:extLst>
              <a:ext uri="{FF2B5EF4-FFF2-40B4-BE49-F238E27FC236}">
                <a16:creationId xmlns:a16="http://schemas.microsoft.com/office/drawing/2014/main" id="{696CCD45-BBC3-4242-B2B8-F5604A1D97BB}"/>
              </a:ext>
            </a:extLst>
          </p:cNvPr>
          <p:cNvSpPr>
            <a:spLocks noGrp="1"/>
          </p:cNvSpPr>
          <p:nvPr>
            <p:ph type="body" sz="quarter" idx="14" hasCustomPrompt="1"/>
          </p:nvPr>
        </p:nvSpPr>
        <p:spPr>
          <a:xfrm>
            <a:off x="576000" y="720001"/>
            <a:ext cx="11039738" cy="421200"/>
          </a:xfrm>
          <a:prstGeom prst="rect">
            <a:avLst/>
          </a:prstGeom>
        </p:spPr>
        <p:txBody>
          <a:bodyPr anchor="t">
            <a:noAutofit/>
          </a:bodyPr>
          <a:lstStyle>
            <a:lvl1pPr marL="0" indent="0">
              <a:lnSpc>
                <a:spcPct val="85000"/>
              </a:lnSpc>
              <a:spcBef>
                <a:spcPts val="0"/>
              </a:spcBef>
              <a:buNone/>
              <a:defRPr sz="3600" spc="40" baseline="0">
                <a:solidFill>
                  <a:schemeClr val="tx2"/>
                </a:solidFill>
                <a:latin typeface="+mj-lt"/>
              </a:defRPr>
            </a:lvl1pPr>
          </a:lstStyle>
          <a:p>
            <a:pPr lvl="0"/>
            <a:r>
              <a:rPr lang="en-US" noProof="0"/>
              <a:t>Click to add a headline of maximum one line</a:t>
            </a:r>
          </a:p>
          <a:p>
            <a:pPr lvl="0"/>
            <a:endParaRPr lang="en-US" noProof="0"/>
          </a:p>
        </p:txBody>
      </p:sp>
      <p:grpSp>
        <p:nvGrpSpPr>
          <p:cNvPr id="13" name="Grupp 32">
            <a:extLst>
              <a:ext uri="{FF2B5EF4-FFF2-40B4-BE49-F238E27FC236}">
                <a16:creationId xmlns:a16="http://schemas.microsoft.com/office/drawing/2014/main" id="{6052E143-9E4E-A74A-B270-30FD881BF636}"/>
              </a:ext>
            </a:extLst>
          </p:cNvPr>
          <p:cNvGrpSpPr/>
          <p:nvPr userDrawn="1"/>
        </p:nvGrpSpPr>
        <p:grpSpPr>
          <a:xfrm>
            <a:off x="576140" y="6451484"/>
            <a:ext cx="615478" cy="91194"/>
            <a:chOff x="576140" y="6451484"/>
            <a:chExt cx="615478" cy="91194"/>
          </a:xfrm>
          <a:solidFill>
            <a:schemeClr val="tx2"/>
          </a:solidFill>
        </p:grpSpPr>
        <p:sp>
          <p:nvSpPr>
            <p:cNvPr id="14" name="Bild 2">
              <a:extLst>
                <a:ext uri="{FF2B5EF4-FFF2-40B4-BE49-F238E27FC236}">
                  <a16:creationId xmlns:a16="http://schemas.microsoft.com/office/drawing/2014/main" id="{8EFB6FE1-71C4-C84E-8225-1ED321BF2576}"/>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noProof="0">
                <a:solidFill>
                  <a:schemeClr val="tx2"/>
                </a:solidFill>
              </a:endParaRPr>
            </a:p>
          </p:txBody>
        </p:sp>
        <p:sp>
          <p:nvSpPr>
            <p:cNvPr id="15" name="Bild 2">
              <a:extLst>
                <a:ext uri="{FF2B5EF4-FFF2-40B4-BE49-F238E27FC236}">
                  <a16:creationId xmlns:a16="http://schemas.microsoft.com/office/drawing/2014/main" id="{C75C6BBC-8CE7-1447-9C1A-5CF2E31B8E86}"/>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noProof="0">
                <a:solidFill>
                  <a:schemeClr val="tx2"/>
                </a:solidFill>
              </a:endParaRPr>
            </a:p>
          </p:txBody>
        </p:sp>
        <p:sp>
          <p:nvSpPr>
            <p:cNvPr id="16" name="Bild 2">
              <a:extLst>
                <a:ext uri="{FF2B5EF4-FFF2-40B4-BE49-F238E27FC236}">
                  <a16:creationId xmlns:a16="http://schemas.microsoft.com/office/drawing/2014/main" id="{C67E8788-BA40-7B4E-8CE0-D014697FF57F}"/>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17" name="Bild 2">
              <a:extLst>
                <a:ext uri="{FF2B5EF4-FFF2-40B4-BE49-F238E27FC236}">
                  <a16:creationId xmlns:a16="http://schemas.microsoft.com/office/drawing/2014/main" id="{95E3D91E-8773-7A4B-A13C-0E4FBDFC5FE3}"/>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sp>
          <p:nvSpPr>
            <p:cNvPr id="18" name="Bild 2">
              <a:extLst>
                <a:ext uri="{FF2B5EF4-FFF2-40B4-BE49-F238E27FC236}">
                  <a16:creationId xmlns:a16="http://schemas.microsoft.com/office/drawing/2014/main" id="{93A47CE2-36F2-314E-B92A-3F8A641FD515}"/>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noProof="0">
                <a:solidFill>
                  <a:schemeClr val="tx2"/>
                </a:solidFill>
              </a:endParaRPr>
            </a:p>
          </p:txBody>
        </p:sp>
        <p:sp>
          <p:nvSpPr>
            <p:cNvPr id="20" name="Bild 2">
              <a:extLst>
                <a:ext uri="{FF2B5EF4-FFF2-40B4-BE49-F238E27FC236}">
                  <a16:creationId xmlns:a16="http://schemas.microsoft.com/office/drawing/2014/main" id="{E1EEBA04-4683-4848-BB26-CA97EA2ECDBF}"/>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21" name="Bild 2">
              <a:extLst>
                <a:ext uri="{FF2B5EF4-FFF2-40B4-BE49-F238E27FC236}">
                  <a16:creationId xmlns:a16="http://schemas.microsoft.com/office/drawing/2014/main" id="{00FB335B-B11A-1A47-80E0-92010385FE92}"/>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grpSp>
      <p:sp>
        <p:nvSpPr>
          <p:cNvPr id="22" name="Text Placeholder 7">
            <a:extLst>
              <a:ext uri="{FF2B5EF4-FFF2-40B4-BE49-F238E27FC236}">
                <a16:creationId xmlns:a16="http://schemas.microsoft.com/office/drawing/2014/main" id="{4B605BB7-B2F3-B84E-B03B-86DFCB3BA50D}"/>
              </a:ext>
            </a:extLst>
          </p:cNvPr>
          <p:cNvSpPr>
            <a:spLocks noGrp="1"/>
          </p:cNvSpPr>
          <p:nvPr>
            <p:ph type="body" sz="quarter" idx="21" hasCustomPrompt="1"/>
          </p:nvPr>
        </p:nvSpPr>
        <p:spPr>
          <a:xfrm>
            <a:off x="996819" y="1812559"/>
            <a:ext cx="4545239" cy="278640"/>
          </a:xfrm>
        </p:spPr>
        <p:txBody>
          <a:bodyPr numCol="1"/>
          <a:lstStyle>
            <a:lvl1pPr marL="0" indent="0">
              <a:lnSpc>
                <a:spcPct val="100000"/>
              </a:lnSpc>
              <a:spcBef>
                <a:spcPts val="0"/>
              </a:spcBef>
              <a:spcAft>
                <a:spcPts val="1000"/>
              </a:spcAft>
              <a:buNone/>
              <a:defRPr sz="1600" b="1" spc="40" baseline="0">
                <a:solidFill>
                  <a:schemeClr val="bg1"/>
                </a:solidFill>
              </a:defRPr>
            </a:lvl1pPr>
            <a:lvl2pPr marL="14288" indent="0">
              <a:lnSpc>
                <a:spcPct val="100000"/>
              </a:lnSpc>
              <a:spcBef>
                <a:spcPts val="0"/>
              </a:spcBef>
              <a:spcAft>
                <a:spcPts val="1000"/>
              </a:spcAft>
              <a:buNone/>
              <a:tabLst/>
              <a:defRPr sz="1600" spc="40" baseline="0">
                <a:solidFill>
                  <a:schemeClr val="tx1"/>
                </a:solidFill>
              </a:defRPr>
            </a:lvl2pPr>
            <a:lvl3pPr marL="223838" indent="-179388">
              <a:tabLst/>
              <a:defRPr sz="1600" spc="40" baseline="0">
                <a:solidFill>
                  <a:schemeClr val="tx1"/>
                </a:solidFill>
              </a:defRPr>
            </a:lvl3pPr>
            <a:lvl4pPr marL="357188" indent="-133350">
              <a:tabLst/>
              <a:defRPr sz="1400" spc="40" baseline="0">
                <a:solidFill>
                  <a:schemeClr val="tx1"/>
                </a:solidFill>
              </a:defRPr>
            </a:lvl4pPr>
            <a:lvl5pPr marL="627063" indent="-179388">
              <a:tabLst/>
              <a:defRPr sz="1200" spc="40" baseline="0">
                <a:solidFill>
                  <a:schemeClr val="tx1"/>
                </a:solidFill>
              </a:defRPr>
            </a:lvl5pPr>
          </a:lstStyle>
          <a:p>
            <a:pPr lvl="0"/>
            <a:r>
              <a:rPr lang="en-US" noProof="0"/>
              <a:t>Click to add a short headline</a:t>
            </a:r>
          </a:p>
        </p:txBody>
      </p:sp>
      <p:sp>
        <p:nvSpPr>
          <p:cNvPr id="23" name="Platshållare för text 2">
            <a:extLst>
              <a:ext uri="{FF2B5EF4-FFF2-40B4-BE49-F238E27FC236}">
                <a16:creationId xmlns:a16="http://schemas.microsoft.com/office/drawing/2014/main" id="{91A18B88-BC29-1545-A005-7757B0356CFF}"/>
              </a:ext>
            </a:extLst>
          </p:cNvPr>
          <p:cNvSpPr>
            <a:spLocks noGrp="1"/>
          </p:cNvSpPr>
          <p:nvPr>
            <p:ph type="body" sz="quarter" idx="23" hasCustomPrompt="1"/>
          </p:nvPr>
        </p:nvSpPr>
        <p:spPr>
          <a:xfrm>
            <a:off x="996819" y="2178069"/>
            <a:ext cx="4545239" cy="3665028"/>
          </a:xfrm>
        </p:spPr>
        <p:txBody>
          <a:bodyPr numCol="1" spcCol="2880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add body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6" name="Text Placeholder 7">
            <a:extLst>
              <a:ext uri="{FF2B5EF4-FFF2-40B4-BE49-F238E27FC236}">
                <a16:creationId xmlns:a16="http://schemas.microsoft.com/office/drawing/2014/main" id="{23B7487A-37EB-5B4D-AD31-7D94C9D39783}"/>
              </a:ext>
            </a:extLst>
          </p:cNvPr>
          <p:cNvSpPr>
            <a:spLocks noGrp="1"/>
          </p:cNvSpPr>
          <p:nvPr>
            <p:ph type="body" sz="quarter" idx="24" hasCustomPrompt="1"/>
          </p:nvPr>
        </p:nvSpPr>
        <p:spPr>
          <a:xfrm>
            <a:off x="6657478" y="1812559"/>
            <a:ext cx="4545239" cy="278640"/>
          </a:xfrm>
        </p:spPr>
        <p:txBody>
          <a:bodyPr numCol="1"/>
          <a:lstStyle>
            <a:lvl1pPr marL="0" indent="0">
              <a:lnSpc>
                <a:spcPct val="100000"/>
              </a:lnSpc>
              <a:spcBef>
                <a:spcPts val="0"/>
              </a:spcBef>
              <a:spcAft>
                <a:spcPts val="1000"/>
              </a:spcAft>
              <a:buNone/>
              <a:defRPr sz="1600" b="1" spc="40" baseline="0">
                <a:solidFill>
                  <a:schemeClr val="tx2"/>
                </a:solidFill>
              </a:defRPr>
            </a:lvl1pPr>
            <a:lvl2pPr marL="14288" indent="0">
              <a:lnSpc>
                <a:spcPct val="100000"/>
              </a:lnSpc>
              <a:spcBef>
                <a:spcPts val="0"/>
              </a:spcBef>
              <a:spcAft>
                <a:spcPts val="1000"/>
              </a:spcAft>
              <a:buNone/>
              <a:tabLst/>
              <a:defRPr sz="1600" spc="40" baseline="0">
                <a:solidFill>
                  <a:schemeClr val="tx1"/>
                </a:solidFill>
              </a:defRPr>
            </a:lvl2pPr>
            <a:lvl3pPr marL="223838" indent="-179388">
              <a:tabLst/>
              <a:defRPr sz="1600" spc="40" baseline="0">
                <a:solidFill>
                  <a:schemeClr val="tx1"/>
                </a:solidFill>
              </a:defRPr>
            </a:lvl3pPr>
            <a:lvl4pPr marL="357188" indent="-133350">
              <a:tabLst/>
              <a:defRPr sz="1400" spc="40" baseline="0">
                <a:solidFill>
                  <a:schemeClr val="tx1"/>
                </a:solidFill>
              </a:defRPr>
            </a:lvl4pPr>
            <a:lvl5pPr marL="627063" indent="-179388">
              <a:tabLst/>
              <a:defRPr sz="1200" spc="40" baseline="0">
                <a:solidFill>
                  <a:schemeClr val="tx1"/>
                </a:solidFill>
              </a:defRPr>
            </a:lvl5pPr>
          </a:lstStyle>
          <a:p>
            <a:pPr lvl="0"/>
            <a:r>
              <a:rPr lang="en-US" noProof="0"/>
              <a:t>Click to add a short headline</a:t>
            </a:r>
          </a:p>
        </p:txBody>
      </p:sp>
      <p:sp>
        <p:nvSpPr>
          <p:cNvPr id="29" name="Platshållare för text 2">
            <a:extLst>
              <a:ext uri="{FF2B5EF4-FFF2-40B4-BE49-F238E27FC236}">
                <a16:creationId xmlns:a16="http://schemas.microsoft.com/office/drawing/2014/main" id="{814F133D-F0F6-F94F-9E60-968BEDC32C44}"/>
              </a:ext>
            </a:extLst>
          </p:cNvPr>
          <p:cNvSpPr>
            <a:spLocks noGrp="1"/>
          </p:cNvSpPr>
          <p:nvPr>
            <p:ph type="body" sz="quarter" idx="25" hasCustomPrompt="1"/>
          </p:nvPr>
        </p:nvSpPr>
        <p:spPr>
          <a:xfrm>
            <a:off x="6657478" y="2178069"/>
            <a:ext cx="4545239" cy="3665028"/>
          </a:xfrm>
        </p:spPr>
        <p:txBody>
          <a:bodyPr numCol="1" spcCol="288000"/>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noProof="0"/>
              <a:t>Click to add body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5" name="Platshållare för datum 3">
            <a:extLst>
              <a:ext uri="{FF2B5EF4-FFF2-40B4-BE49-F238E27FC236}">
                <a16:creationId xmlns:a16="http://schemas.microsoft.com/office/drawing/2014/main" id="{7402BE31-CC27-E847-BDD9-D6C887964714}"/>
              </a:ext>
            </a:extLst>
          </p:cNvPr>
          <p:cNvSpPr>
            <a:spLocks noGrp="1"/>
          </p:cNvSpPr>
          <p:nvPr>
            <p:ph type="dt" sz="half" idx="2"/>
          </p:nvPr>
        </p:nvSpPr>
        <p:spPr>
          <a:xfrm>
            <a:off x="2185246" y="6454800"/>
            <a:ext cx="1878120" cy="112593"/>
          </a:xfrm>
          <a:prstGeom prst="rect">
            <a:avLst/>
          </a:prstGeom>
        </p:spPr>
        <p:txBody>
          <a:bodyPr vert="horz" lIns="0" tIns="0" rIns="0" bIns="0" rtlCol="0" anchor="b"/>
          <a:lstStyle>
            <a:lvl1pPr algn="l">
              <a:defRPr sz="800">
                <a:solidFill>
                  <a:schemeClr val="tx2"/>
                </a:solidFill>
              </a:defRPr>
            </a:lvl1pPr>
          </a:lstStyle>
          <a:p>
            <a:fld id="{72863970-E853-F74E-B386-2DE5A779D478}" type="datetime1">
              <a:rPr lang="en-US" noProof="0" smtClean="0"/>
              <a:t>10/17/2023</a:t>
            </a:fld>
            <a:endParaRPr lang="en-US" noProof="0"/>
          </a:p>
        </p:txBody>
      </p:sp>
      <p:sp>
        <p:nvSpPr>
          <p:cNvPr id="28" name="Platshållare för sidfot 4">
            <a:extLst>
              <a:ext uri="{FF2B5EF4-FFF2-40B4-BE49-F238E27FC236}">
                <a16:creationId xmlns:a16="http://schemas.microsoft.com/office/drawing/2014/main" id="{1265CF89-4A7C-0D44-A384-D4D812EA2CE5}"/>
              </a:ext>
            </a:extLst>
          </p:cNvPr>
          <p:cNvSpPr>
            <a:spLocks noGrp="1"/>
          </p:cNvSpPr>
          <p:nvPr>
            <p:ph type="ftr" sz="quarter" idx="3"/>
          </p:nvPr>
        </p:nvSpPr>
        <p:spPr>
          <a:xfrm>
            <a:off x="4359276" y="6454800"/>
            <a:ext cx="3470274" cy="112593"/>
          </a:xfrm>
          <a:prstGeom prst="rect">
            <a:avLst/>
          </a:prstGeom>
        </p:spPr>
        <p:txBody>
          <a:bodyPr vert="horz" lIns="0" tIns="0" rIns="0" bIns="0" rtlCol="0" anchor="b"/>
          <a:lstStyle>
            <a:lvl1pPr algn="l">
              <a:defRPr sz="800">
                <a:solidFill>
                  <a:schemeClr val="tx2"/>
                </a:solidFill>
              </a:defRPr>
            </a:lvl1pPr>
          </a:lstStyle>
          <a:p>
            <a:r>
              <a:rPr lang="en-US" noProof="0"/>
              <a:t>Go to header/footer to change text </a:t>
            </a:r>
          </a:p>
        </p:txBody>
      </p:sp>
      <p:sp>
        <p:nvSpPr>
          <p:cNvPr id="30" name="Platshållare för bildnummer 5">
            <a:extLst>
              <a:ext uri="{FF2B5EF4-FFF2-40B4-BE49-F238E27FC236}">
                <a16:creationId xmlns:a16="http://schemas.microsoft.com/office/drawing/2014/main" id="{6B0EBF6B-CE1D-134E-8D4C-03EA3C2B194F}"/>
              </a:ext>
            </a:extLst>
          </p:cNvPr>
          <p:cNvSpPr>
            <a:spLocks noGrp="1"/>
          </p:cNvSpPr>
          <p:nvPr>
            <p:ph type="sldNum" sz="quarter" idx="4"/>
          </p:nvPr>
        </p:nvSpPr>
        <p:spPr>
          <a:xfrm>
            <a:off x="10013315" y="6454800"/>
            <a:ext cx="1590676" cy="112593"/>
          </a:xfrm>
          <a:prstGeom prst="rect">
            <a:avLst/>
          </a:prstGeom>
        </p:spPr>
        <p:txBody>
          <a:bodyPr vert="horz" lIns="0" tIns="0" rIns="0" bIns="0" rtlCol="0" anchor="b"/>
          <a:lstStyle>
            <a:lvl1pPr algn="r">
              <a:defRPr sz="800">
                <a:solidFill>
                  <a:schemeClr val="tx2"/>
                </a:solidFill>
              </a:defRPr>
            </a:lvl1pPr>
          </a:lstStyle>
          <a:p>
            <a:fld id="{EF8DBD5B-30F9-4F9C-AE39-E065C1AC514D}" type="slidenum">
              <a:rPr lang="en-US" noProof="0" smtClean="0"/>
              <a:pPr/>
              <a:t>‹#›</a:t>
            </a:fld>
            <a:endParaRPr lang="en-US" noProof="0"/>
          </a:p>
        </p:txBody>
      </p:sp>
    </p:spTree>
    <p:extLst>
      <p:ext uri="{BB962C8B-B14F-4D97-AF65-F5344CB8AC3E}">
        <p14:creationId xmlns:p14="http://schemas.microsoft.com/office/powerpoint/2010/main" val="1212245555"/>
      </p:ext>
    </p:extLst>
  </p:cSld>
  <p:clrMapOvr>
    <a:overrideClrMapping bg1="lt1" tx1="dk1" bg2="lt2" tx2="dk2" accent1="accent1" accent2="accent2" accent3="accent3" accent4="accent4" accent5="accent5" accent6="accent6" hlink="hlink" folHlink="folHlink"/>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Empty">
    <p:bg>
      <p:bgRef idx="1001">
        <a:schemeClr val="bg1"/>
      </p:bgRef>
    </p:bg>
    <p:spTree>
      <p:nvGrpSpPr>
        <p:cNvPr id="1" name=""/>
        <p:cNvGrpSpPr/>
        <p:nvPr/>
      </p:nvGrpSpPr>
      <p:grpSpPr>
        <a:xfrm>
          <a:off x="0" y="0"/>
          <a:ext cx="0" cy="0"/>
          <a:chOff x="0" y="0"/>
          <a:chExt cx="0" cy="0"/>
        </a:xfrm>
      </p:grpSpPr>
      <p:sp>
        <p:nvSpPr>
          <p:cNvPr id="2" name="Platshållare för datum 3">
            <a:extLst>
              <a:ext uri="{FF2B5EF4-FFF2-40B4-BE49-F238E27FC236}">
                <a16:creationId xmlns:a16="http://schemas.microsoft.com/office/drawing/2014/main" id="{25CC405D-8498-714E-B2F7-E928AEECE0D3}"/>
              </a:ext>
            </a:extLst>
          </p:cNvPr>
          <p:cNvSpPr>
            <a:spLocks noGrp="1"/>
          </p:cNvSpPr>
          <p:nvPr>
            <p:ph type="dt" sz="half" idx="2"/>
          </p:nvPr>
        </p:nvSpPr>
        <p:spPr>
          <a:xfrm>
            <a:off x="2185246" y="6454800"/>
            <a:ext cx="1878120" cy="112593"/>
          </a:xfrm>
          <a:prstGeom prst="rect">
            <a:avLst/>
          </a:prstGeom>
        </p:spPr>
        <p:txBody>
          <a:bodyPr vert="horz" lIns="0" tIns="0" rIns="0" bIns="0" rtlCol="0" anchor="b"/>
          <a:lstStyle>
            <a:lvl1pPr algn="l">
              <a:defRPr sz="800">
                <a:solidFill>
                  <a:schemeClr val="tx2"/>
                </a:solidFill>
              </a:defRPr>
            </a:lvl1pPr>
          </a:lstStyle>
          <a:p>
            <a:fld id="{72863970-E853-F74E-B386-2DE5A779D478}" type="datetime1">
              <a:rPr lang="en-US" noProof="0" smtClean="0"/>
              <a:t>10/17/2023</a:t>
            </a:fld>
            <a:endParaRPr lang="en-US" noProof="0"/>
          </a:p>
        </p:txBody>
      </p:sp>
      <p:sp>
        <p:nvSpPr>
          <p:cNvPr id="3" name="Platshållare för sidfot 4">
            <a:extLst>
              <a:ext uri="{FF2B5EF4-FFF2-40B4-BE49-F238E27FC236}">
                <a16:creationId xmlns:a16="http://schemas.microsoft.com/office/drawing/2014/main" id="{B5435A3C-88FA-D846-9506-F253318AEBC7}"/>
              </a:ext>
            </a:extLst>
          </p:cNvPr>
          <p:cNvSpPr>
            <a:spLocks noGrp="1"/>
          </p:cNvSpPr>
          <p:nvPr>
            <p:ph type="ftr" sz="quarter" idx="3"/>
          </p:nvPr>
        </p:nvSpPr>
        <p:spPr>
          <a:xfrm>
            <a:off x="4359276" y="6454800"/>
            <a:ext cx="3470274" cy="112593"/>
          </a:xfrm>
          <a:prstGeom prst="rect">
            <a:avLst/>
          </a:prstGeom>
        </p:spPr>
        <p:txBody>
          <a:bodyPr vert="horz" lIns="0" tIns="0" rIns="0" bIns="0" rtlCol="0" anchor="b"/>
          <a:lstStyle>
            <a:lvl1pPr algn="l">
              <a:defRPr sz="800">
                <a:solidFill>
                  <a:schemeClr val="tx2"/>
                </a:solidFill>
              </a:defRPr>
            </a:lvl1pPr>
          </a:lstStyle>
          <a:p>
            <a:r>
              <a:rPr lang="en-US" noProof="0"/>
              <a:t>Go to header/footer to change text </a:t>
            </a:r>
          </a:p>
        </p:txBody>
      </p:sp>
      <p:sp>
        <p:nvSpPr>
          <p:cNvPr id="4" name="Platshållare för bildnummer 5">
            <a:extLst>
              <a:ext uri="{FF2B5EF4-FFF2-40B4-BE49-F238E27FC236}">
                <a16:creationId xmlns:a16="http://schemas.microsoft.com/office/drawing/2014/main" id="{B7AF931E-E5C1-9944-83DE-D94C8A4F3F5D}"/>
              </a:ext>
            </a:extLst>
          </p:cNvPr>
          <p:cNvSpPr>
            <a:spLocks noGrp="1"/>
          </p:cNvSpPr>
          <p:nvPr>
            <p:ph type="sldNum" sz="quarter" idx="4"/>
          </p:nvPr>
        </p:nvSpPr>
        <p:spPr>
          <a:xfrm>
            <a:off x="10013315" y="6454800"/>
            <a:ext cx="1590676" cy="112593"/>
          </a:xfrm>
          <a:prstGeom prst="rect">
            <a:avLst/>
          </a:prstGeom>
        </p:spPr>
        <p:txBody>
          <a:bodyPr vert="horz" lIns="0" tIns="0" rIns="0" bIns="0" rtlCol="0" anchor="b"/>
          <a:lstStyle>
            <a:lvl1pPr algn="r">
              <a:defRPr sz="800">
                <a:solidFill>
                  <a:schemeClr val="tx2"/>
                </a:solidFill>
              </a:defRPr>
            </a:lvl1pPr>
          </a:lstStyle>
          <a:p>
            <a:fld id="{EF8DBD5B-30F9-4F9C-AE39-E065C1AC514D}" type="slidenum">
              <a:rPr lang="en-US" noProof="0" smtClean="0"/>
              <a:pPr/>
              <a:t>‹#›</a:t>
            </a:fld>
            <a:endParaRPr lang="en-US" noProof="0"/>
          </a:p>
        </p:txBody>
      </p:sp>
    </p:spTree>
    <p:extLst>
      <p:ext uri="{BB962C8B-B14F-4D97-AF65-F5344CB8AC3E}">
        <p14:creationId xmlns:p14="http://schemas.microsoft.com/office/powerpoint/2010/main" val="3723952200"/>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hapter Slide Blue">
    <p:bg>
      <p:bgRef idx="1001">
        <a:schemeClr val="bg2"/>
      </p:bgRef>
    </p:bg>
    <p:spTree>
      <p:nvGrpSpPr>
        <p:cNvPr id="1" name=""/>
        <p:cNvGrpSpPr/>
        <p:nvPr/>
      </p:nvGrpSpPr>
      <p:grpSpPr>
        <a:xfrm>
          <a:off x="0" y="0"/>
          <a:ext cx="0" cy="0"/>
          <a:chOff x="0" y="0"/>
          <a:chExt cx="0" cy="0"/>
        </a:xfrm>
      </p:grpSpPr>
      <p:sp>
        <p:nvSpPr>
          <p:cNvPr id="16" name="Text Placeholder 18">
            <a:extLst>
              <a:ext uri="{FF2B5EF4-FFF2-40B4-BE49-F238E27FC236}">
                <a16:creationId xmlns:a16="http://schemas.microsoft.com/office/drawing/2014/main" id="{F7778766-F776-2644-80BC-C322DB5143E5}"/>
              </a:ext>
            </a:extLst>
          </p:cNvPr>
          <p:cNvSpPr>
            <a:spLocks noGrp="1"/>
          </p:cNvSpPr>
          <p:nvPr>
            <p:ph type="body" sz="quarter" idx="14" hasCustomPrompt="1"/>
          </p:nvPr>
        </p:nvSpPr>
        <p:spPr>
          <a:xfrm>
            <a:off x="576000" y="2661138"/>
            <a:ext cx="5520000" cy="982858"/>
          </a:xfrm>
          <a:prstGeom prst="rect">
            <a:avLst/>
          </a:prstGeom>
        </p:spPr>
        <p:txBody>
          <a:bodyPr anchor="b">
            <a:noAutofit/>
          </a:bodyPr>
          <a:lstStyle>
            <a:lvl1pPr marL="0" indent="0">
              <a:lnSpc>
                <a:spcPct val="85000"/>
              </a:lnSpc>
              <a:spcBef>
                <a:spcPts val="0"/>
              </a:spcBef>
              <a:buNone/>
              <a:defRPr sz="3600" spc="40" baseline="0">
                <a:solidFill>
                  <a:schemeClr val="tx1"/>
                </a:solidFill>
                <a:latin typeface="+mj-lt"/>
              </a:defRPr>
            </a:lvl1pPr>
          </a:lstStyle>
          <a:p>
            <a:pPr lvl="0"/>
            <a:r>
              <a:rPr lang="en-US" noProof="0"/>
              <a:t>Click to add a headline </a:t>
            </a:r>
            <a:br>
              <a:rPr lang="en-US" noProof="0"/>
            </a:br>
            <a:r>
              <a:rPr lang="en-US" noProof="0"/>
              <a:t>of maximum two lines</a:t>
            </a:r>
          </a:p>
        </p:txBody>
      </p:sp>
      <p:grpSp>
        <p:nvGrpSpPr>
          <p:cNvPr id="17" name="Grupp 32">
            <a:extLst>
              <a:ext uri="{FF2B5EF4-FFF2-40B4-BE49-F238E27FC236}">
                <a16:creationId xmlns:a16="http://schemas.microsoft.com/office/drawing/2014/main" id="{CCC1C461-9A79-5540-8EA5-15E5AD6E1CA7}"/>
              </a:ext>
            </a:extLst>
          </p:cNvPr>
          <p:cNvGrpSpPr/>
          <p:nvPr userDrawn="1"/>
        </p:nvGrpSpPr>
        <p:grpSpPr>
          <a:xfrm>
            <a:off x="576140" y="6451484"/>
            <a:ext cx="615478" cy="91194"/>
            <a:chOff x="576140" y="6451484"/>
            <a:chExt cx="615478" cy="91194"/>
          </a:xfrm>
          <a:solidFill>
            <a:schemeClr val="tx1"/>
          </a:solidFill>
        </p:grpSpPr>
        <p:sp>
          <p:nvSpPr>
            <p:cNvPr id="18" name="Bild 2">
              <a:extLst>
                <a:ext uri="{FF2B5EF4-FFF2-40B4-BE49-F238E27FC236}">
                  <a16:creationId xmlns:a16="http://schemas.microsoft.com/office/drawing/2014/main" id="{B7D99BA8-54ED-9945-B3A3-B69B3E549BA3}"/>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noProof="0">
                <a:solidFill>
                  <a:schemeClr val="tx1"/>
                </a:solidFill>
              </a:endParaRPr>
            </a:p>
          </p:txBody>
        </p:sp>
        <p:sp>
          <p:nvSpPr>
            <p:cNvPr id="19" name="Bild 2">
              <a:extLst>
                <a:ext uri="{FF2B5EF4-FFF2-40B4-BE49-F238E27FC236}">
                  <a16:creationId xmlns:a16="http://schemas.microsoft.com/office/drawing/2014/main" id="{67860190-748E-D545-AF14-8F029A04EDF3}"/>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noProof="0">
                <a:solidFill>
                  <a:schemeClr val="tx1"/>
                </a:solidFill>
              </a:endParaRPr>
            </a:p>
          </p:txBody>
        </p:sp>
        <p:sp>
          <p:nvSpPr>
            <p:cNvPr id="20" name="Bild 2">
              <a:extLst>
                <a:ext uri="{FF2B5EF4-FFF2-40B4-BE49-F238E27FC236}">
                  <a16:creationId xmlns:a16="http://schemas.microsoft.com/office/drawing/2014/main" id="{1FB3FDA7-54B9-074B-B62F-1B2C37A3F984}"/>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noProof="0">
                <a:solidFill>
                  <a:schemeClr val="tx1"/>
                </a:solidFill>
              </a:endParaRPr>
            </a:p>
          </p:txBody>
        </p:sp>
        <p:sp>
          <p:nvSpPr>
            <p:cNvPr id="21" name="Bild 2">
              <a:extLst>
                <a:ext uri="{FF2B5EF4-FFF2-40B4-BE49-F238E27FC236}">
                  <a16:creationId xmlns:a16="http://schemas.microsoft.com/office/drawing/2014/main" id="{423BE486-7867-7E49-B208-7017D21BF759}"/>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noProof="0">
                <a:solidFill>
                  <a:schemeClr val="tx1"/>
                </a:solidFill>
              </a:endParaRPr>
            </a:p>
          </p:txBody>
        </p:sp>
        <p:sp>
          <p:nvSpPr>
            <p:cNvPr id="22" name="Bild 2">
              <a:extLst>
                <a:ext uri="{FF2B5EF4-FFF2-40B4-BE49-F238E27FC236}">
                  <a16:creationId xmlns:a16="http://schemas.microsoft.com/office/drawing/2014/main" id="{E7B5CB21-99E6-A940-BA46-9C57EC56E7F7}"/>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noProof="0">
                <a:solidFill>
                  <a:schemeClr val="tx1"/>
                </a:solidFill>
              </a:endParaRPr>
            </a:p>
          </p:txBody>
        </p:sp>
        <p:sp>
          <p:nvSpPr>
            <p:cNvPr id="23" name="Bild 2">
              <a:extLst>
                <a:ext uri="{FF2B5EF4-FFF2-40B4-BE49-F238E27FC236}">
                  <a16:creationId xmlns:a16="http://schemas.microsoft.com/office/drawing/2014/main" id="{8E0A5CDE-6444-0846-AB95-49DCBEBF1B14}"/>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noProof="0">
                <a:solidFill>
                  <a:schemeClr val="tx1"/>
                </a:solidFill>
              </a:endParaRPr>
            </a:p>
          </p:txBody>
        </p:sp>
        <p:sp>
          <p:nvSpPr>
            <p:cNvPr id="24" name="Bild 2">
              <a:extLst>
                <a:ext uri="{FF2B5EF4-FFF2-40B4-BE49-F238E27FC236}">
                  <a16:creationId xmlns:a16="http://schemas.microsoft.com/office/drawing/2014/main" id="{668977B8-0ED8-024D-82B5-F29636A29043}"/>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noProof="0">
                <a:solidFill>
                  <a:schemeClr val="tx1"/>
                </a:solidFill>
              </a:endParaRPr>
            </a:p>
          </p:txBody>
        </p:sp>
      </p:grpSp>
      <p:sp>
        <p:nvSpPr>
          <p:cNvPr id="14" name="Platshållare för datum 3">
            <a:extLst>
              <a:ext uri="{FF2B5EF4-FFF2-40B4-BE49-F238E27FC236}">
                <a16:creationId xmlns:a16="http://schemas.microsoft.com/office/drawing/2014/main" id="{06F89A69-F67B-094F-AE41-2BE0278384AA}"/>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tx1"/>
                </a:solidFill>
              </a:defRPr>
            </a:lvl1pPr>
          </a:lstStyle>
          <a:p>
            <a:fld id="{2F9806AD-009B-8D45-82A9-B9E8234B6322}" type="datetime1">
              <a:rPr lang="en-US" smtClean="0"/>
              <a:pPr/>
              <a:t>10/17/2023</a:t>
            </a:fld>
            <a:endParaRPr lang="en-US"/>
          </a:p>
        </p:txBody>
      </p:sp>
      <p:sp>
        <p:nvSpPr>
          <p:cNvPr id="15" name="Platshållare för sidfot 4">
            <a:extLst>
              <a:ext uri="{FF2B5EF4-FFF2-40B4-BE49-F238E27FC236}">
                <a16:creationId xmlns:a16="http://schemas.microsoft.com/office/drawing/2014/main" id="{0D86C592-6736-C940-B119-9570C8C9F6B3}"/>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tx1"/>
                </a:solidFill>
              </a:defRPr>
            </a:lvl1pPr>
          </a:lstStyle>
          <a:p>
            <a:r>
              <a:rPr lang="en-US"/>
              <a:t>Go to header/footer to change text </a:t>
            </a:r>
          </a:p>
        </p:txBody>
      </p:sp>
      <p:sp>
        <p:nvSpPr>
          <p:cNvPr id="25" name="Platshållare för bildnummer 5">
            <a:extLst>
              <a:ext uri="{FF2B5EF4-FFF2-40B4-BE49-F238E27FC236}">
                <a16:creationId xmlns:a16="http://schemas.microsoft.com/office/drawing/2014/main" id="{7DCF2312-AA91-3248-90DB-C057CD0B6345}"/>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tx1"/>
                </a:solidFill>
              </a:defRPr>
            </a:lvl1pPr>
          </a:lstStyle>
          <a:p>
            <a:fld id="{EF8DBD5B-30F9-4F9C-AE39-E065C1AC514D}" type="slidenum">
              <a:rPr lang="en-US" smtClean="0"/>
              <a:pPr/>
              <a:t>‹#›</a:t>
            </a:fld>
            <a:endParaRPr lang="en-US"/>
          </a:p>
        </p:txBody>
      </p:sp>
    </p:spTree>
    <p:extLst>
      <p:ext uri="{BB962C8B-B14F-4D97-AF65-F5344CB8AC3E}">
        <p14:creationId xmlns:p14="http://schemas.microsoft.com/office/powerpoint/2010/main" val="4132097082"/>
      </p:ext>
    </p:extLst>
  </p:cSld>
  <p:clrMapOvr>
    <a:overrideClrMapping bg1="dk1" tx1="lt1" bg2="dk2" tx2="lt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 Chapter Slide Gray">
    <p:spTree>
      <p:nvGrpSpPr>
        <p:cNvPr id="1" name=""/>
        <p:cNvGrpSpPr/>
        <p:nvPr/>
      </p:nvGrpSpPr>
      <p:grpSpPr>
        <a:xfrm>
          <a:off x="0" y="0"/>
          <a:ext cx="0" cy="0"/>
          <a:chOff x="0" y="0"/>
          <a:chExt cx="0" cy="0"/>
        </a:xfrm>
      </p:grpSpPr>
      <p:sp>
        <p:nvSpPr>
          <p:cNvPr id="18" name="Text Placeholder 18">
            <a:extLst>
              <a:ext uri="{FF2B5EF4-FFF2-40B4-BE49-F238E27FC236}">
                <a16:creationId xmlns:a16="http://schemas.microsoft.com/office/drawing/2014/main" id="{ED7479DB-E08A-074A-9190-F08269647CDA}"/>
              </a:ext>
            </a:extLst>
          </p:cNvPr>
          <p:cNvSpPr>
            <a:spLocks noGrp="1"/>
          </p:cNvSpPr>
          <p:nvPr>
            <p:ph type="body" sz="quarter" idx="14" hasCustomPrompt="1"/>
          </p:nvPr>
        </p:nvSpPr>
        <p:spPr>
          <a:xfrm>
            <a:off x="576000" y="2661138"/>
            <a:ext cx="5520000" cy="982858"/>
          </a:xfrm>
          <a:prstGeom prst="rect">
            <a:avLst/>
          </a:prstGeom>
        </p:spPr>
        <p:txBody>
          <a:bodyPr anchor="b">
            <a:noAutofit/>
          </a:bodyPr>
          <a:lstStyle>
            <a:lvl1pPr marL="0" indent="0">
              <a:lnSpc>
                <a:spcPct val="85000"/>
              </a:lnSpc>
              <a:spcBef>
                <a:spcPts val="0"/>
              </a:spcBef>
              <a:buNone/>
              <a:defRPr sz="3600" spc="40" baseline="0">
                <a:solidFill>
                  <a:schemeClr val="accent1"/>
                </a:solidFill>
                <a:latin typeface="+mj-lt"/>
              </a:defRPr>
            </a:lvl1pPr>
          </a:lstStyle>
          <a:p>
            <a:pPr lvl="0"/>
            <a:r>
              <a:rPr lang="en-US" noProof="0"/>
              <a:t>Click to add a headline </a:t>
            </a:r>
            <a:br>
              <a:rPr lang="en-US" noProof="0"/>
            </a:br>
            <a:r>
              <a:rPr lang="en-US" noProof="0"/>
              <a:t>of maximum two lines</a:t>
            </a:r>
          </a:p>
        </p:txBody>
      </p:sp>
      <p:grpSp>
        <p:nvGrpSpPr>
          <p:cNvPr id="16" name="Grupp 32">
            <a:extLst>
              <a:ext uri="{FF2B5EF4-FFF2-40B4-BE49-F238E27FC236}">
                <a16:creationId xmlns:a16="http://schemas.microsoft.com/office/drawing/2014/main" id="{17401CF1-3F91-0F47-A923-9A1A2A3023B9}"/>
              </a:ext>
            </a:extLst>
          </p:cNvPr>
          <p:cNvGrpSpPr/>
          <p:nvPr userDrawn="1"/>
        </p:nvGrpSpPr>
        <p:grpSpPr>
          <a:xfrm>
            <a:off x="576140" y="6451484"/>
            <a:ext cx="615478" cy="91194"/>
            <a:chOff x="576140" y="6451484"/>
            <a:chExt cx="615478" cy="91194"/>
          </a:xfrm>
          <a:solidFill>
            <a:schemeClr val="tx2"/>
          </a:solidFill>
        </p:grpSpPr>
        <p:sp>
          <p:nvSpPr>
            <p:cNvPr id="17" name="Bild 2">
              <a:extLst>
                <a:ext uri="{FF2B5EF4-FFF2-40B4-BE49-F238E27FC236}">
                  <a16:creationId xmlns:a16="http://schemas.microsoft.com/office/drawing/2014/main" id="{6E1496DD-0A73-2C4B-A73D-9853A322E4A1}"/>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noProof="0">
                <a:solidFill>
                  <a:schemeClr val="tx2"/>
                </a:solidFill>
              </a:endParaRPr>
            </a:p>
          </p:txBody>
        </p:sp>
        <p:sp>
          <p:nvSpPr>
            <p:cNvPr id="19" name="Bild 2">
              <a:extLst>
                <a:ext uri="{FF2B5EF4-FFF2-40B4-BE49-F238E27FC236}">
                  <a16:creationId xmlns:a16="http://schemas.microsoft.com/office/drawing/2014/main" id="{26EC65F1-F77C-C041-A72C-B8486ACEF795}"/>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0" name="Bild 2">
              <a:extLst>
                <a:ext uri="{FF2B5EF4-FFF2-40B4-BE49-F238E27FC236}">
                  <a16:creationId xmlns:a16="http://schemas.microsoft.com/office/drawing/2014/main" id="{BD9DE731-8F91-FA4B-933B-DD044D82DC05}"/>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21" name="Bild 2">
              <a:extLst>
                <a:ext uri="{FF2B5EF4-FFF2-40B4-BE49-F238E27FC236}">
                  <a16:creationId xmlns:a16="http://schemas.microsoft.com/office/drawing/2014/main" id="{98AC7FAE-AFF1-334E-B393-6CABABAF7EEA}"/>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2" name="Bild 2">
              <a:extLst>
                <a:ext uri="{FF2B5EF4-FFF2-40B4-BE49-F238E27FC236}">
                  <a16:creationId xmlns:a16="http://schemas.microsoft.com/office/drawing/2014/main" id="{55E86661-61FC-8049-B7AF-BB48D69AC52A}"/>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noProof="0">
                <a:solidFill>
                  <a:schemeClr val="tx2"/>
                </a:solidFill>
              </a:endParaRPr>
            </a:p>
          </p:txBody>
        </p:sp>
        <p:sp>
          <p:nvSpPr>
            <p:cNvPr id="23" name="Bild 2">
              <a:extLst>
                <a:ext uri="{FF2B5EF4-FFF2-40B4-BE49-F238E27FC236}">
                  <a16:creationId xmlns:a16="http://schemas.microsoft.com/office/drawing/2014/main" id="{403B29A7-4A9C-1246-9825-8722C2E02A6C}"/>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24" name="Bild 2">
              <a:extLst>
                <a:ext uri="{FF2B5EF4-FFF2-40B4-BE49-F238E27FC236}">
                  <a16:creationId xmlns:a16="http://schemas.microsoft.com/office/drawing/2014/main" id="{498EB4C4-F4C0-FC43-9E36-A6C23E4D712A}"/>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grpSp>
      <p:sp>
        <p:nvSpPr>
          <p:cNvPr id="14" name="Platshållare för datum 3">
            <a:extLst>
              <a:ext uri="{FF2B5EF4-FFF2-40B4-BE49-F238E27FC236}">
                <a16:creationId xmlns:a16="http://schemas.microsoft.com/office/drawing/2014/main" id="{05B7D8D8-FA56-7444-B9DF-B930B350D6AF}"/>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tx2"/>
                </a:solidFill>
              </a:defRPr>
            </a:lvl1pPr>
          </a:lstStyle>
          <a:p>
            <a:fld id="{2F9806AD-009B-8D45-82A9-B9E8234B6322}" type="datetime1">
              <a:rPr lang="en-US" noProof="0" smtClean="0"/>
              <a:t>10/17/2023</a:t>
            </a:fld>
            <a:endParaRPr lang="en-US" noProof="0"/>
          </a:p>
        </p:txBody>
      </p:sp>
      <p:sp>
        <p:nvSpPr>
          <p:cNvPr id="15" name="Platshållare för sidfot 4">
            <a:extLst>
              <a:ext uri="{FF2B5EF4-FFF2-40B4-BE49-F238E27FC236}">
                <a16:creationId xmlns:a16="http://schemas.microsoft.com/office/drawing/2014/main" id="{B12F39BA-DDC1-D847-AE0B-C964A9E60ED3}"/>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tx2"/>
                </a:solidFill>
              </a:defRPr>
            </a:lvl1pPr>
          </a:lstStyle>
          <a:p>
            <a:r>
              <a:rPr lang="en-US" noProof="0"/>
              <a:t>Go to header/footer to change text </a:t>
            </a:r>
          </a:p>
        </p:txBody>
      </p:sp>
      <p:sp>
        <p:nvSpPr>
          <p:cNvPr id="25" name="Platshållare för bildnummer 5">
            <a:extLst>
              <a:ext uri="{FF2B5EF4-FFF2-40B4-BE49-F238E27FC236}">
                <a16:creationId xmlns:a16="http://schemas.microsoft.com/office/drawing/2014/main" id="{BEA161A3-DC82-9B4C-9CC6-B04CF9A6D8E6}"/>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tx2"/>
                </a:solidFill>
              </a:defRPr>
            </a:lvl1pPr>
          </a:lstStyle>
          <a:p>
            <a:fld id="{EF8DBD5B-30F9-4F9C-AE39-E065C1AC514D}" type="slidenum">
              <a:rPr lang="en-US" noProof="0" smtClean="0"/>
              <a:pPr/>
              <a:t>‹#›</a:t>
            </a:fld>
            <a:endParaRPr lang="en-US" noProof="0"/>
          </a:p>
        </p:txBody>
      </p:sp>
    </p:spTree>
    <p:extLst>
      <p:ext uri="{BB962C8B-B14F-4D97-AF65-F5344CB8AC3E}">
        <p14:creationId xmlns:p14="http://schemas.microsoft.com/office/powerpoint/2010/main" val="308468851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 Chapter Slide Blue with Image">
    <p:bg>
      <p:bgPr>
        <a:solidFill>
          <a:schemeClr val="tx2"/>
        </a:solidFill>
        <a:effectLst/>
      </p:bgPr>
    </p:bg>
    <p:spTree>
      <p:nvGrpSpPr>
        <p:cNvPr id="1" name=""/>
        <p:cNvGrpSpPr/>
        <p:nvPr/>
      </p:nvGrpSpPr>
      <p:grpSpPr>
        <a:xfrm>
          <a:off x="0" y="0"/>
          <a:ext cx="0" cy="0"/>
          <a:chOff x="0" y="0"/>
          <a:chExt cx="0" cy="0"/>
        </a:xfrm>
      </p:grpSpPr>
      <p:sp>
        <p:nvSpPr>
          <p:cNvPr id="18" name="Picture Placeholder 6">
            <a:extLst>
              <a:ext uri="{FF2B5EF4-FFF2-40B4-BE49-F238E27FC236}">
                <a16:creationId xmlns:a16="http://schemas.microsoft.com/office/drawing/2014/main" id="{106399E1-1DE8-EE44-81BD-42302CB5679F}"/>
              </a:ext>
            </a:extLst>
          </p:cNvPr>
          <p:cNvSpPr>
            <a:spLocks noGrp="1"/>
          </p:cNvSpPr>
          <p:nvPr>
            <p:ph type="pic" sz="quarter" idx="17" hasCustomPrompt="1"/>
          </p:nvPr>
        </p:nvSpPr>
        <p:spPr>
          <a:xfrm>
            <a:off x="8140700" y="0"/>
            <a:ext cx="4051300" cy="6871252"/>
          </a:xfrm>
          <a:solidFill>
            <a:schemeClr val="bg1">
              <a:lumMod val="85000"/>
            </a:schemeClr>
          </a:solidFill>
        </p:spPr>
        <p:txBody>
          <a:bodyPr lIns="36000" tIns="36000"/>
          <a:lstStyle>
            <a:lvl1pPr marL="1270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300">
                <a:solidFill>
                  <a:schemeClr val="tx2"/>
                </a:solidFill>
              </a:defRPr>
            </a:lvl1pPr>
          </a:lstStyle>
          <a:p>
            <a:pPr marL="1270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noProof="0"/>
              <a:t>Click on the icon to add an image</a:t>
            </a:r>
          </a:p>
          <a:p>
            <a:endParaRPr lang="en-US" noProof="0"/>
          </a:p>
        </p:txBody>
      </p:sp>
      <p:sp>
        <p:nvSpPr>
          <p:cNvPr id="21" name="Text Placeholder 18">
            <a:extLst>
              <a:ext uri="{FF2B5EF4-FFF2-40B4-BE49-F238E27FC236}">
                <a16:creationId xmlns:a16="http://schemas.microsoft.com/office/drawing/2014/main" id="{50055E5E-7191-EB40-B5EB-0E791AADEDE6}"/>
              </a:ext>
            </a:extLst>
          </p:cNvPr>
          <p:cNvSpPr>
            <a:spLocks noGrp="1"/>
          </p:cNvSpPr>
          <p:nvPr>
            <p:ph type="body" sz="quarter" idx="14" hasCustomPrompt="1"/>
          </p:nvPr>
        </p:nvSpPr>
        <p:spPr>
          <a:xfrm>
            <a:off x="576000" y="2661138"/>
            <a:ext cx="5520000" cy="982858"/>
          </a:xfrm>
          <a:prstGeom prst="rect">
            <a:avLst/>
          </a:prstGeom>
        </p:spPr>
        <p:txBody>
          <a:bodyPr anchor="b">
            <a:noAutofit/>
          </a:bodyPr>
          <a:lstStyle>
            <a:lvl1pPr marL="0" indent="0">
              <a:lnSpc>
                <a:spcPct val="85000"/>
              </a:lnSpc>
              <a:spcBef>
                <a:spcPts val="0"/>
              </a:spcBef>
              <a:buNone/>
              <a:defRPr sz="3600" spc="40" baseline="0">
                <a:solidFill>
                  <a:schemeClr val="bg1"/>
                </a:solidFill>
                <a:latin typeface="+mj-lt"/>
              </a:defRPr>
            </a:lvl1pPr>
          </a:lstStyle>
          <a:p>
            <a:pPr lvl="0"/>
            <a:r>
              <a:rPr lang="en-US" noProof="0"/>
              <a:t>Click to add a headline </a:t>
            </a:r>
            <a:br>
              <a:rPr lang="en-US" noProof="0"/>
            </a:br>
            <a:r>
              <a:rPr lang="en-US" noProof="0"/>
              <a:t>of maximum two lines</a:t>
            </a:r>
          </a:p>
        </p:txBody>
      </p:sp>
      <p:sp>
        <p:nvSpPr>
          <p:cNvPr id="15" name="textruta 5">
            <a:extLst>
              <a:ext uri="{FF2B5EF4-FFF2-40B4-BE49-F238E27FC236}">
                <a16:creationId xmlns:a16="http://schemas.microsoft.com/office/drawing/2014/main" id="{5BB9A0DA-E9F3-704C-BDCF-FC259DAC129A}"/>
              </a:ext>
            </a:extLst>
          </p:cNvPr>
          <p:cNvSpPr txBox="1"/>
          <p:nvPr userDrawn="1"/>
        </p:nvSpPr>
        <p:spPr>
          <a:xfrm>
            <a:off x="12395260" y="1453483"/>
            <a:ext cx="1681523" cy="646331"/>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the textboxes disappears after adding or changing an imag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right click the image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and use – </a:t>
            </a:r>
            <a:r>
              <a:rPr lang="en-US" sz="900" b="1" noProof="0">
                <a:solidFill>
                  <a:schemeClr val="tx1">
                    <a:lumMod val="65000"/>
                    <a:lumOff val="35000"/>
                  </a:schemeClr>
                </a:solidFill>
                <a:latin typeface="Arial" panose="020B0604020202020204" pitchFamily="34" charset="0"/>
                <a:cs typeface="Arial" panose="020B0604020202020204" pitchFamily="34" charset="0"/>
              </a:rPr>
              <a:t>S</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end to back</a:t>
            </a:r>
          </a:p>
        </p:txBody>
      </p:sp>
      <p:sp>
        <p:nvSpPr>
          <p:cNvPr id="16" name="textruta 15">
            <a:extLst>
              <a:ext uri="{FF2B5EF4-FFF2-40B4-BE49-F238E27FC236}">
                <a16:creationId xmlns:a16="http://schemas.microsoft.com/office/drawing/2014/main" id="{DE5DD293-B27B-7A43-85D7-BD43BA586097}"/>
              </a:ext>
            </a:extLst>
          </p:cNvPr>
          <p:cNvSpPr txBox="1"/>
          <p:nvPr userDrawn="1"/>
        </p:nvSpPr>
        <p:spPr>
          <a:xfrm>
            <a:off x="12395260" y="-12189"/>
            <a:ext cx="1681523" cy="1338828"/>
          </a:xfrm>
          <a:prstGeom prst="rect">
            <a:avLst/>
          </a:prstGeom>
          <a:solidFill>
            <a:schemeClr val="bg1"/>
          </a:solidFill>
          <a:effectLst/>
        </p:spPr>
        <p:txBody>
          <a:bodyPr wrap="square" rtlCol="0" anchor="ctr" anchorCtr="0">
            <a:spAutoFit/>
          </a:bodyPr>
          <a:lstStyle/>
          <a:p>
            <a:pPr algn="ctr"/>
            <a:r>
              <a:rPr lang="en-US" sz="900" baseline="0" noProof="0">
                <a:solidFill>
                  <a:schemeClr val="tx1">
                    <a:lumMod val="65000"/>
                    <a:lumOff val="35000"/>
                  </a:schemeClr>
                </a:solidFill>
                <a:latin typeface="Arial" panose="020B0604020202020204" pitchFamily="34" charset="0"/>
                <a:cs typeface="Arial" panose="020B0604020202020204" pitchFamily="34" charset="0"/>
              </a:rPr>
              <a:t>If you need to change the color of the logo, right click outside work area,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Format Background </a:t>
            </a:r>
            <a:r>
              <a:rPr lang="en-US" sz="900" baseline="0" noProof="0">
                <a:solidFill>
                  <a:schemeClr val="tx1">
                    <a:lumMod val="65000"/>
                    <a:lumOff val="35000"/>
                  </a:schemeClr>
                </a:solidFill>
                <a:latin typeface="Arial" panose="020B0604020202020204" pitchFamily="34" charset="0"/>
                <a:cs typeface="Arial" panose="020B0604020202020204" pitchFamily="34" charset="0"/>
              </a:rPr>
              <a:t>from context menu and choose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Solid fill</a:t>
            </a:r>
            <a:r>
              <a:rPr lang="en-US" sz="900" baseline="0" noProof="0">
                <a:solidFill>
                  <a:schemeClr val="tx1">
                    <a:lumMod val="65000"/>
                    <a:lumOff val="35000"/>
                  </a:schemeClr>
                </a:solidFill>
                <a:latin typeface="Arial" panose="020B0604020202020204" pitchFamily="34" charset="0"/>
                <a:cs typeface="Arial" panose="020B0604020202020204" pitchFamily="34" charset="0"/>
              </a:rPr>
              <a:t> – </a:t>
            </a:r>
            <a:r>
              <a:rPr lang="en-US" sz="900" b="1" baseline="0" noProof="0">
                <a:solidFill>
                  <a:schemeClr val="tx1">
                    <a:lumMod val="65000"/>
                    <a:lumOff val="35000"/>
                  </a:schemeClr>
                </a:solidFill>
                <a:latin typeface="Arial" panose="020B0604020202020204" pitchFamily="34" charset="0"/>
                <a:cs typeface="Arial" panose="020B0604020202020204" pitchFamily="34" charset="0"/>
              </a:rPr>
              <a:t>White or Blue</a:t>
            </a: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a:p>
            <a:pPr algn="ctr"/>
            <a:endParaRPr lang="en-US" sz="900" baseline="0" noProof="0">
              <a:solidFill>
                <a:schemeClr val="tx1">
                  <a:lumMod val="65000"/>
                  <a:lumOff val="35000"/>
                </a:schemeClr>
              </a:solidFill>
              <a:latin typeface="Arial" panose="020B0604020202020204" pitchFamily="34" charset="0"/>
              <a:cs typeface="Arial" panose="020B0604020202020204" pitchFamily="34" charset="0"/>
            </a:endParaRPr>
          </a:p>
        </p:txBody>
      </p:sp>
      <p:sp>
        <p:nvSpPr>
          <p:cNvPr id="17" name="Rektangel 16">
            <a:extLst>
              <a:ext uri="{FF2B5EF4-FFF2-40B4-BE49-F238E27FC236}">
                <a16:creationId xmlns:a16="http://schemas.microsoft.com/office/drawing/2014/main" id="{A750B50A-9D17-1447-8213-B2935EA38090}"/>
              </a:ext>
            </a:extLst>
          </p:cNvPr>
          <p:cNvSpPr/>
          <p:nvPr userDrawn="1"/>
        </p:nvSpPr>
        <p:spPr>
          <a:xfrm>
            <a:off x="13255337" y="926211"/>
            <a:ext cx="341194" cy="305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9" name="Rektangel 18">
            <a:extLst>
              <a:ext uri="{FF2B5EF4-FFF2-40B4-BE49-F238E27FC236}">
                <a16:creationId xmlns:a16="http://schemas.microsoft.com/office/drawing/2014/main" id="{805FC0CB-297F-3541-A68A-BD42D3187508}"/>
              </a:ext>
            </a:extLst>
          </p:cNvPr>
          <p:cNvSpPr/>
          <p:nvPr userDrawn="1"/>
        </p:nvSpPr>
        <p:spPr>
          <a:xfrm>
            <a:off x="12833410" y="926211"/>
            <a:ext cx="341194" cy="30590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Platshållare för datum 3">
            <a:extLst>
              <a:ext uri="{FF2B5EF4-FFF2-40B4-BE49-F238E27FC236}">
                <a16:creationId xmlns:a16="http://schemas.microsoft.com/office/drawing/2014/main" id="{C1E656AC-D790-6747-BBCB-773F08CF7103}"/>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bg1"/>
                </a:solidFill>
              </a:defRPr>
            </a:lvl1pPr>
          </a:lstStyle>
          <a:p>
            <a:fld id="{2F9806AD-009B-8D45-82A9-B9E8234B6322}" type="datetime1">
              <a:rPr lang="en-US" smtClean="0"/>
              <a:pPr/>
              <a:t>10/17/2023</a:t>
            </a:fld>
            <a:endParaRPr lang="en-US"/>
          </a:p>
        </p:txBody>
      </p:sp>
      <p:sp>
        <p:nvSpPr>
          <p:cNvPr id="13" name="Platshållare för sidfot 4">
            <a:extLst>
              <a:ext uri="{FF2B5EF4-FFF2-40B4-BE49-F238E27FC236}">
                <a16:creationId xmlns:a16="http://schemas.microsoft.com/office/drawing/2014/main" id="{40B4A8CA-2E45-A045-B4BB-84023FBA6237}"/>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bg1"/>
                </a:solidFill>
              </a:defRPr>
            </a:lvl1pPr>
          </a:lstStyle>
          <a:p>
            <a:r>
              <a:rPr lang="en-US"/>
              <a:t>Go to header/footer to change text </a:t>
            </a:r>
          </a:p>
        </p:txBody>
      </p:sp>
      <p:sp>
        <p:nvSpPr>
          <p:cNvPr id="14" name="Platshållare för bildnummer 5">
            <a:extLst>
              <a:ext uri="{FF2B5EF4-FFF2-40B4-BE49-F238E27FC236}">
                <a16:creationId xmlns:a16="http://schemas.microsoft.com/office/drawing/2014/main" id="{C3BE8E53-4D78-2E41-90C4-8F359A150CF6}"/>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bg1"/>
                </a:solidFill>
              </a:defRPr>
            </a:lvl1pPr>
          </a:lstStyle>
          <a:p>
            <a:fld id="{EF8DBD5B-30F9-4F9C-AE39-E065C1AC514D}" type="slidenum">
              <a:rPr lang="en-US" smtClean="0"/>
              <a:pPr/>
              <a:t>‹#›</a:t>
            </a:fld>
            <a:endParaRPr lang="en-US"/>
          </a:p>
        </p:txBody>
      </p:sp>
      <p:grpSp>
        <p:nvGrpSpPr>
          <p:cNvPr id="20" name="Grupp 32">
            <a:extLst>
              <a:ext uri="{FF2B5EF4-FFF2-40B4-BE49-F238E27FC236}">
                <a16:creationId xmlns:a16="http://schemas.microsoft.com/office/drawing/2014/main" id="{AF3ED186-03E9-BF49-9B8A-A3A46C27486D}"/>
              </a:ext>
            </a:extLst>
          </p:cNvPr>
          <p:cNvGrpSpPr/>
          <p:nvPr userDrawn="1"/>
        </p:nvGrpSpPr>
        <p:grpSpPr>
          <a:xfrm>
            <a:off x="576140" y="6451484"/>
            <a:ext cx="615478" cy="91194"/>
            <a:chOff x="576140" y="6451484"/>
            <a:chExt cx="615478" cy="91194"/>
          </a:xfrm>
          <a:solidFill>
            <a:schemeClr val="bg1"/>
          </a:solidFill>
        </p:grpSpPr>
        <p:sp>
          <p:nvSpPr>
            <p:cNvPr id="22" name="Bild 2">
              <a:extLst>
                <a:ext uri="{FF2B5EF4-FFF2-40B4-BE49-F238E27FC236}">
                  <a16:creationId xmlns:a16="http://schemas.microsoft.com/office/drawing/2014/main" id="{5D042DC5-C8A9-A442-8F32-57CD5268BF38}"/>
                </a:ext>
              </a:extLst>
            </p:cNvPr>
            <p:cNvSpPr/>
            <p:nvPr/>
          </p:nvSpPr>
          <p:spPr>
            <a:xfrm>
              <a:off x="841573" y="6451547"/>
              <a:ext cx="79285" cy="91131"/>
            </a:xfrm>
            <a:custGeom>
              <a:avLst/>
              <a:gdLst>
                <a:gd name="connsiteX0" fmla="*/ 588645 w 803275"/>
                <a:gd name="connsiteY0" fmla="*/ 0 h 923289"/>
                <a:gd name="connsiteX1" fmla="*/ 588645 w 803275"/>
                <a:gd name="connsiteY1" fmla="*/ 580390 h 923289"/>
                <a:gd name="connsiteX2" fmla="*/ 217805 w 803275"/>
                <a:gd name="connsiteY2" fmla="*/ 0 h 923289"/>
                <a:gd name="connsiteX3" fmla="*/ 0 w 803275"/>
                <a:gd name="connsiteY3" fmla="*/ 0 h 923289"/>
                <a:gd name="connsiteX4" fmla="*/ 0 w 803275"/>
                <a:gd name="connsiteY4" fmla="*/ 923290 h 923289"/>
                <a:gd name="connsiteX5" fmla="*/ 213995 w 803275"/>
                <a:gd name="connsiteY5" fmla="*/ 923290 h 923289"/>
                <a:gd name="connsiteX6" fmla="*/ 213995 w 803275"/>
                <a:gd name="connsiteY6" fmla="*/ 353695 h 923289"/>
                <a:gd name="connsiteX7" fmla="*/ 581660 w 803275"/>
                <a:gd name="connsiteY7" fmla="*/ 921385 h 923289"/>
                <a:gd name="connsiteX8" fmla="*/ 581660 w 803275"/>
                <a:gd name="connsiteY8" fmla="*/ 923290 h 923289"/>
                <a:gd name="connsiteX9" fmla="*/ 803275 w 803275"/>
                <a:gd name="connsiteY9" fmla="*/ 923290 h 923289"/>
                <a:gd name="connsiteX10" fmla="*/ 802640 w 803275"/>
                <a:gd name="connsiteY10" fmla="*/ 723900 h 923289"/>
                <a:gd name="connsiteX11" fmla="*/ 801370 w 803275"/>
                <a:gd name="connsiteY11"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3275" h="923289">
                  <a:moveTo>
                    <a:pt x="588645" y="0"/>
                  </a:moveTo>
                  <a:lnTo>
                    <a:pt x="588645" y="580390"/>
                  </a:lnTo>
                  <a:lnTo>
                    <a:pt x="217805" y="0"/>
                  </a:lnTo>
                  <a:lnTo>
                    <a:pt x="0" y="0"/>
                  </a:lnTo>
                  <a:lnTo>
                    <a:pt x="0" y="923290"/>
                  </a:lnTo>
                  <a:lnTo>
                    <a:pt x="213995" y="923290"/>
                  </a:lnTo>
                  <a:lnTo>
                    <a:pt x="213995" y="353695"/>
                  </a:lnTo>
                  <a:lnTo>
                    <a:pt x="581660" y="921385"/>
                  </a:lnTo>
                  <a:lnTo>
                    <a:pt x="581660" y="923290"/>
                  </a:lnTo>
                  <a:lnTo>
                    <a:pt x="803275" y="923290"/>
                  </a:lnTo>
                  <a:lnTo>
                    <a:pt x="802640" y="723900"/>
                  </a:lnTo>
                  <a:lnTo>
                    <a:pt x="801370" y="0"/>
                  </a:lnTo>
                  <a:close/>
                </a:path>
              </a:pathLst>
            </a:custGeom>
            <a:grpFill/>
            <a:ln w="6350" cap="flat">
              <a:noFill/>
              <a:prstDash val="solid"/>
              <a:miter/>
            </a:ln>
          </p:spPr>
          <p:txBody>
            <a:bodyPr rtlCol="0" anchor="ctr"/>
            <a:lstStyle/>
            <a:p>
              <a:endParaRPr lang="en-US" noProof="0">
                <a:solidFill>
                  <a:schemeClr val="tx2"/>
                </a:solidFill>
              </a:endParaRPr>
            </a:p>
          </p:txBody>
        </p:sp>
        <p:sp>
          <p:nvSpPr>
            <p:cNvPr id="23" name="Bild 2">
              <a:extLst>
                <a:ext uri="{FF2B5EF4-FFF2-40B4-BE49-F238E27FC236}">
                  <a16:creationId xmlns:a16="http://schemas.microsoft.com/office/drawing/2014/main" id="{49009F17-D779-5145-9AC9-A4741D09DA8A}"/>
                </a:ext>
              </a:extLst>
            </p:cNvPr>
            <p:cNvSpPr/>
            <p:nvPr/>
          </p:nvSpPr>
          <p:spPr>
            <a:xfrm>
              <a:off x="742921" y="6451547"/>
              <a:ext cx="90817" cy="91131"/>
            </a:xfrm>
            <a:custGeom>
              <a:avLst/>
              <a:gdLst>
                <a:gd name="connsiteX0" fmla="*/ 458470 w 920114"/>
                <a:gd name="connsiteY0" fmla="*/ 192405 h 923289"/>
                <a:gd name="connsiteX1" fmla="*/ 577850 w 920114"/>
                <a:gd name="connsiteY1" fmla="*/ 546735 h 923289"/>
                <a:gd name="connsiteX2" fmla="*/ 342900 w 920114"/>
                <a:gd name="connsiteY2" fmla="*/ 546735 h 923289"/>
                <a:gd name="connsiteX3" fmla="*/ 458470 w 920114"/>
                <a:gd name="connsiteY3" fmla="*/ 192405 h 923289"/>
                <a:gd name="connsiteX4" fmla="*/ 319405 w 920114"/>
                <a:gd name="connsiteY4" fmla="*/ 0 h 923289"/>
                <a:gd name="connsiteX5" fmla="*/ 0 w 920114"/>
                <a:gd name="connsiteY5" fmla="*/ 923290 h 923289"/>
                <a:gd name="connsiteX6" fmla="*/ 225425 w 920114"/>
                <a:gd name="connsiteY6" fmla="*/ 923290 h 923289"/>
                <a:gd name="connsiteX7" fmla="*/ 283845 w 920114"/>
                <a:gd name="connsiteY7" fmla="*/ 734695 h 923289"/>
                <a:gd name="connsiteX8" fmla="*/ 637540 w 920114"/>
                <a:gd name="connsiteY8" fmla="*/ 734695 h 923289"/>
                <a:gd name="connsiteX9" fmla="*/ 697865 w 920114"/>
                <a:gd name="connsiteY9" fmla="*/ 923290 h 923289"/>
                <a:gd name="connsiteX10" fmla="*/ 920115 w 920114"/>
                <a:gd name="connsiteY10" fmla="*/ 923290 h 923289"/>
                <a:gd name="connsiteX11" fmla="*/ 591185 w 920114"/>
                <a:gd name="connsiteY11" fmla="*/ 0 h 923289"/>
                <a:gd name="connsiteX12" fmla="*/ 319405 w 920114"/>
                <a:gd name="connsiteY12" fmla="*/ 0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0114" h="923289">
                  <a:moveTo>
                    <a:pt x="458470" y="192405"/>
                  </a:moveTo>
                  <a:lnTo>
                    <a:pt x="577850" y="546735"/>
                  </a:lnTo>
                  <a:lnTo>
                    <a:pt x="342900" y="546735"/>
                  </a:lnTo>
                  <a:lnTo>
                    <a:pt x="458470" y="192405"/>
                  </a:lnTo>
                  <a:close/>
                  <a:moveTo>
                    <a:pt x="319405" y="0"/>
                  </a:moveTo>
                  <a:lnTo>
                    <a:pt x="0" y="923290"/>
                  </a:lnTo>
                  <a:lnTo>
                    <a:pt x="225425" y="923290"/>
                  </a:lnTo>
                  <a:lnTo>
                    <a:pt x="283845" y="734695"/>
                  </a:lnTo>
                  <a:lnTo>
                    <a:pt x="637540" y="734695"/>
                  </a:lnTo>
                  <a:lnTo>
                    <a:pt x="697865" y="923290"/>
                  </a:lnTo>
                  <a:lnTo>
                    <a:pt x="920115" y="923290"/>
                  </a:lnTo>
                  <a:lnTo>
                    <a:pt x="591185" y="0"/>
                  </a:lnTo>
                  <a:lnTo>
                    <a:pt x="31940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4" name="Bild 2">
              <a:extLst>
                <a:ext uri="{FF2B5EF4-FFF2-40B4-BE49-F238E27FC236}">
                  <a16:creationId xmlns:a16="http://schemas.microsoft.com/office/drawing/2014/main" id="{EAF2DB5F-29AA-F344-B820-7625411CFA14}"/>
                </a:ext>
              </a:extLst>
            </p:cNvPr>
            <p:cNvSpPr/>
            <p:nvPr/>
          </p:nvSpPr>
          <p:spPr>
            <a:xfrm>
              <a:off x="576140" y="6451547"/>
              <a:ext cx="77655" cy="91131"/>
            </a:xfrm>
            <a:custGeom>
              <a:avLst/>
              <a:gdLst>
                <a:gd name="connsiteX0" fmla="*/ 537845 w 786764"/>
                <a:gd name="connsiteY0" fmla="*/ 366395 h 923289"/>
                <a:gd name="connsiteX1" fmla="*/ 286385 w 786764"/>
                <a:gd name="connsiteY1" fmla="*/ 366395 h 923289"/>
                <a:gd name="connsiteX2" fmla="*/ 199390 w 786764"/>
                <a:gd name="connsiteY2" fmla="*/ 280670 h 923289"/>
                <a:gd name="connsiteX3" fmla="*/ 286385 w 786764"/>
                <a:gd name="connsiteY3" fmla="*/ 194945 h 923289"/>
                <a:gd name="connsiteX4" fmla="*/ 722630 w 786764"/>
                <a:gd name="connsiteY4" fmla="*/ 194945 h 923289"/>
                <a:gd name="connsiteX5" fmla="*/ 722630 w 786764"/>
                <a:gd name="connsiteY5" fmla="*/ 0 h 923289"/>
                <a:gd name="connsiteX6" fmla="*/ 286385 w 786764"/>
                <a:gd name="connsiteY6" fmla="*/ 0 h 923289"/>
                <a:gd name="connsiteX7" fmla="*/ 0 w 786764"/>
                <a:gd name="connsiteY7" fmla="*/ 280670 h 923289"/>
                <a:gd name="connsiteX8" fmla="*/ 286385 w 786764"/>
                <a:gd name="connsiteY8" fmla="*/ 549910 h 923289"/>
                <a:gd name="connsiteX9" fmla="*/ 504825 w 786764"/>
                <a:gd name="connsiteY9" fmla="*/ 549910 h 923289"/>
                <a:gd name="connsiteX10" fmla="*/ 588010 w 786764"/>
                <a:gd name="connsiteY10" fmla="*/ 635635 h 923289"/>
                <a:gd name="connsiteX11" fmla="*/ 504825 w 786764"/>
                <a:gd name="connsiteY11" fmla="*/ 721360 h 923289"/>
                <a:gd name="connsiteX12" fmla="*/ 36830 w 786764"/>
                <a:gd name="connsiteY12" fmla="*/ 721360 h 923289"/>
                <a:gd name="connsiteX13" fmla="*/ 36830 w 786764"/>
                <a:gd name="connsiteY13" fmla="*/ 923290 h 923289"/>
                <a:gd name="connsiteX14" fmla="*/ 496570 w 786764"/>
                <a:gd name="connsiteY14" fmla="*/ 923290 h 923289"/>
                <a:gd name="connsiteX15" fmla="*/ 786765 w 786764"/>
                <a:gd name="connsiteY15" fmla="*/ 635635 h 923289"/>
                <a:gd name="connsiteX16" fmla="*/ 537845 w 786764"/>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764"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7950"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6830" y="721360"/>
                  </a:lnTo>
                  <a:lnTo>
                    <a:pt x="36830" y="923290"/>
                  </a:lnTo>
                  <a:lnTo>
                    <a:pt x="496570" y="923290"/>
                  </a:lnTo>
                  <a:cubicBezTo>
                    <a:pt x="678815" y="923290"/>
                    <a:pt x="786765" y="822960"/>
                    <a:pt x="786765" y="635635"/>
                  </a:cubicBezTo>
                  <a:cubicBezTo>
                    <a:pt x="786765"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25" name="Bild 2">
              <a:extLst>
                <a:ext uri="{FF2B5EF4-FFF2-40B4-BE49-F238E27FC236}">
                  <a16:creationId xmlns:a16="http://schemas.microsoft.com/office/drawing/2014/main" id="{3D982866-6026-7843-B715-D5599284755A}"/>
                </a:ext>
              </a:extLst>
            </p:cNvPr>
            <p:cNvSpPr/>
            <p:nvPr/>
          </p:nvSpPr>
          <p:spPr>
            <a:xfrm>
              <a:off x="666080" y="6451484"/>
              <a:ext cx="75525" cy="91194"/>
            </a:xfrm>
            <a:custGeom>
              <a:avLst/>
              <a:gdLst>
                <a:gd name="connsiteX0" fmla="*/ 516255 w 765175"/>
                <a:gd name="connsiteY0" fmla="*/ 0 h 923925"/>
                <a:gd name="connsiteX1" fmla="*/ 212725 w 765175"/>
                <a:gd name="connsiteY1" fmla="*/ 389890 h 923925"/>
                <a:gd name="connsiteX2" fmla="*/ 212725 w 765175"/>
                <a:gd name="connsiteY2" fmla="*/ 0 h 923925"/>
                <a:gd name="connsiteX3" fmla="*/ 0 w 765175"/>
                <a:gd name="connsiteY3" fmla="*/ 0 h 923925"/>
                <a:gd name="connsiteX4" fmla="*/ 0 w 765175"/>
                <a:gd name="connsiteY4" fmla="*/ 923925 h 923925"/>
                <a:gd name="connsiteX5" fmla="*/ 212725 w 765175"/>
                <a:gd name="connsiteY5" fmla="*/ 923925 h 923925"/>
                <a:gd name="connsiteX6" fmla="*/ 212725 w 765175"/>
                <a:gd name="connsiteY6" fmla="*/ 534035 h 923925"/>
                <a:gd name="connsiteX7" fmla="*/ 516255 w 765175"/>
                <a:gd name="connsiteY7" fmla="*/ 923925 h 923925"/>
                <a:gd name="connsiteX8" fmla="*/ 765175 w 765175"/>
                <a:gd name="connsiteY8" fmla="*/ 923925 h 923925"/>
                <a:gd name="connsiteX9" fmla="*/ 415290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255" y="0"/>
                  </a:moveTo>
                  <a:lnTo>
                    <a:pt x="212725" y="389890"/>
                  </a:lnTo>
                  <a:lnTo>
                    <a:pt x="212725" y="0"/>
                  </a:lnTo>
                  <a:lnTo>
                    <a:pt x="0" y="0"/>
                  </a:lnTo>
                  <a:lnTo>
                    <a:pt x="0" y="923925"/>
                  </a:lnTo>
                  <a:lnTo>
                    <a:pt x="212725" y="923925"/>
                  </a:lnTo>
                  <a:lnTo>
                    <a:pt x="212725" y="534035"/>
                  </a:lnTo>
                  <a:lnTo>
                    <a:pt x="516255" y="923925"/>
                  </a:lnTo>
                  <a:lnTo>
                    <a:pt x="765175" y="923925"/>
                  </a:lnTo>
                  <a:lnTo>
                    <a:pt x="415290"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sp>
          <p:nvSpPr>
            <p:cNvPr id="26" name="Bild 2">
              <a:extLst>
                <a:ext uri="{FF2B5EF4-FFF2-40B4-BE49-F238E27FC236}">
                  <a16:creationId xmlns:a16="http://schemas.microsoft.com/office/drawing/2014/main" id="{915BDE88-4874-DF43-B095-7EDD389D143D}"/>
                </a:ext>
              </a:extLst>
            </p:cNvPr>
            <p:cNvSpPr/>
            <p:nvPr/>
          </p:nvSpPr>
          <p:spPr>
            <a:xfrm>
              <a:off x="1100863" y="6451547"/>
              <a:ext cx="90755" cy="91131"/>
            </a:xfrm>
            <a:custGeom>
              <a:avLst/>
              <a:gdLst>
                <a:gd name="connsiteX0" fmla="*/ 590550 w 919479"/>
                <a:gd name="connsiteY0" fmla="*/ 0 h 923289"/>
                <a:gd name="connsiteX1" fmla="*/ 318770 w 919479"/>
                <a:gd name="connsiteY1" fmla="*/ 0 h 923289"/>
                <a:gd name="connsiteX2" fmla="*/ 0 w 919479"/>
                <a:gd name="connsiteY2" fmla="*/ 923290 h 923289"/>
                <a:gd name="connsiteX3" fmla="*/ 225425 w 919479"/>
                <a:gd name="connsiteY3" fmla="*/ 923290 h 923289"/>
                <a:gd name="connsiteX4" fmla="*/ 283845 w 919479"/>
                <a:gd name="connsiteY4" fmla="*/ 734695 h 923289"/>
                <a:gd name="connsiteX5" fmla="*/ 637540 w 919479"/>
                <a:gd name="connsiteY5" fmla="*/ 734695 h 923289"/>
                <a:gd name="connsiteX6" fmla="*/ 697865 w 919479"/>
                <a:gd name="connsiteY6" fmla="*/ 923290 h 923289"/>
                <a:gd name="connsiteX7" fmla="*/ 919480 w 919479"/>
                <a:gd name="connsiteY7" fmla="*/ 923290 h 923289"/>
                <a:gd name="connsiteX8" fmla="*/ 590550 w 919479"/>
                <a:gd name="connsiteY8" fmla="*/ 0 h 923289"/>
                <a:gd name="connsiteX9" fmla="*/ 342265 w 919479"/>
                <a:gd name="connsiteY9" fmla="*/ 546735 h 923289"/>
                <a:gd name="connsiteX10" fmla="*/ 457835 w 919479"/>
                <a:gd name="connsiteY10" fmla="*/ 192405 h 923289"/>
                <a:gd name="connsiteX11" fmla="*/ 577215 w 919479"/>
                <a:gd name="connsiteY11" fmla="*/ 546735 h 923289"/>
                <a:gd name="connsiteX12" fmla="*/ 342265 w 919479"/>
                <a:gd name="connsiteY12" fmla="*/ 54673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9479" h="923289">
                  <a:moveTo>
                    <a:pt x="590550" y="0"/>
                  </a:moveTo>
                  <a:lnTo>
                    <a:pt x="318770" y="0"/>
                  </a:lnTo>
                  <a:lnTo>
                    <a:pt x="0" y="923290"/>
                  </a:lnTo>
                  <a:lnTo>
                    <a:pt x="225425" y="923290"/>
                  </a:lnTo>
                  <a:lnTo>
                    <a:pt x="283845" y="734695"/>
                  </a:lnTo>
                  <a:lnTo>
                    <a:pt x="637540" y="734695"/>
                  </a:lnTo>
                  <a:lnTo>
                    <a:pt x="697865" y="923290"/>
                  </a:lnTo>
                  <a:lnTo>
                    <a:pt x="919480" y="923290"/>
                  </a:lnTo>
                  <a:lnTo>
                    <a:pt x="590550" y="0"/>
                  </a:lnTo>
                  <a:close/>
                  <a:moveTo>
                    <a:pt x="342265" y="546735"/>
                  </a:moveTo>
                  <a:lnTo>
                    <a:pt x="457835" y="192405"/>
                  </a:lnTo>
                  <a:lnTo>
                    <a:pt x="577215" y="546735"/>
                  </a:lnTo>
                  <a:lnTo>
                    <a:pt x="342265" y="546735"/>
                  </a:lnTo>
                  <a:close/>
                </a:path>
              </a:pathLst>
            </a:custGeom>
            <a:grpFill/>
            <a:ln w="6350" cap="flat">
              <a:noFill/>
              <a:prstDash val="solid"/>
              <a:miter/>
            </a:ln>
          </p:spPr>
          <p:txBody>
            <a:bodyPr rtlCol="0" anchor="ctr"/>
            <a:lstStyle/>
            <a:p>
              <a:endParaRPr lang="en-US" noProof="0">
                <a:solidFill>
                  <a:schemeClr val="tx2"/>
                </a:solidFill>
              </a:endParaRPr>
            </a:p>
          </p:txBody>
        </p:sp>
        <p:sp>
          <p:nvSpPr>
            <p:cNvPr id="27" name="Bild 2">
              <a:extLst>
                <a:ext uri="{FF2B5EF4-FFF2-40B4-BE49-F238E27FC236}">
                  <a16:creationId xmlns:a16="http://schemas.microsoft.com/office/drawing/2014/main" id="{E7B51E0D-BC49-D54F-9169-3AEFCD179A18}"/>
                </a:ext>
              </a:extLst>
            </p:cNvPr>
            <p:cNvSpPr/>
            <p:nvPr/>
          </p:nvSpPr>
          <p:spPr>
            <a:xfrm>
              <a:off x="933644" y="6451547"/>
              <a:ext cx="77718" cy="91131"/>
            </a:xfrm>
            <a:custGeom>
              <a:avLst/>
              <a:gdLst>
                <a:gd name="connsiteX0" fmla="*/ 537845 w 787400"/>
                <a:gd name="connsiteY0" fmla="*/ 366395 h 923289"/>
                <a:gd name="connsiteX1" fmla="*/ 286385 w 787400"/>
                <a:gd name="connsiteY1" fmla="*/ 366395 h 923289"/>
                <a:gd name="connsiteX2" fmla="*/ 199390 w 787400"/>
                <a:gd name="connsiteY2" fmla="*/ 280670 h 923289"/>
                <a:gd name="connsiteX3" fmla="*/ 286385 w 787400"/>
                <a:gd name="connsiteY3" fmla="*/ 194945 h 923289"/>
                <a:gd name="connsiteX4" fmla="*/ 722630 w 787400"/>
                <a:gd name="connsiteY4" fmla="*/ 194945 h 923289"/>
                <a:gd name="connsiteX5" fmla="*/ 722630 w 787400"/>
                <a:gd name="connsiteY5" fmla="*/ 0 h 923289"/>
                <a:gd name="connsiteX6" fmla="*/ 286385 w 787400"/>
                <a:gd name="connsiteY6" fmla="*/ 0 h 923289"/>
                <a:gd name="connsiteX7" fmla="*/ 0 w 787400"/>
                <a:gd name="connsiteY7" fmla="*/ 280670 h 923289"/>
                <a:gd name="connsiteX8" fmla="*/ 286385 w 787400"/>
                <a:gd name="connsiteY8" fmla="*/ 549910 h 923289"/>
                <a:gd name="connsiteX9" fmla="*/ 504825 w 787400"/>
                <a:gd name="connsiteY9" fmla="*/ 549910 h 923289"/>
                <a:gd name="connsiteX10" fmla="*/ 588010 w 787400"/>
                <a:gd name="connsiteY10" fmla="*/ 635635 h 923289"/>
                <a:gd name="connsiteX11" fmla="*/ 504825 w 787400"/>
                <a:gd name="connsiteY11" fmla="*/ 721360 h 923289"/>
                <a:gd name="connsiteX12" fmla="*/ 37465 w 787400"/>
                <a:gd name="connsiteY12" fmla="*/ 721360 h 923289"/>
                <a:gd name="connsiteX13" fmla="*/ 37465 w 787400"/>
                <a:gd name="connsiteY13" fmla="*/ 923290 h 923289"/>
                <a:gd name="connsiteX14" fmla="*/ 497205 w 787400"/>
                <a:gd name="connsiteY14" fmla="*/ 923290 h 923289"/>
                <a:gd name="connsiteX15" fmla="*/ 787400 w 787400"/>
                <a:gd name="connsiteY15" fmla="*/ 635635 h 923289"/>
                <a:gd name="connsiteX16" fmla="*/ 537845 w 787400"/>
                <a:gd name="connsiteY16" fmla="*/ 366395 h 92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7400" h="923289">
                  <a:moveTo>
                    <a:pt x="537845" y="366395"/>
                  </a:moveTo>
                  <a:lnTo>
                    <a:pt x="286385" y="366395"/>
                  </a:lnTo>
                  <a:cubicBezTo>
                    <a:pt x="227330" y="366395"/>
                    <a:pt x="199390" y="325755"/>
                    <a:pt x="199390" y="280670"/>
                  </a:cubicBezTo>
                  <a:cubicBezTo>
                    <a:pt x="199390" y="235585"/>
                    <a:pt x="227330" y="194945"/>
                    <a:pt x="286385" y="194945"/>
                  </a:cubicBezTo>
                  <a:lnTo>
                    <a:pt x="722630" y="194945"/>
                  </a:lnTo>
                  <a:lnTo>
                    <a:pt x="722630" y="0"/>
                  </a:lnTo>
                  <a:lnTo>
                    <a:pt x="286385" y="0"/>
                  </a:lnTo>
                  <a:cubicBezTo>
                    <a:pt x="108585" y="0"/>
                    <a:pt x="0" y="104140"/>
                    <a:pt x="0" y="280670"/>
                  </a:cubicBezTo>
                  <a:cubicBezTo>
                    <a:pt x="0" y="457200"/>
                    <a:pt x="125095" y="549910"/>
                    <a:pt x="286385" y="549910"/>
                  </a:cubicBezTo>
                  <a:lnTo>
                    <a:pt x="504825" y="549910"/>
                  </a:lnTo>
                  <a:cubicBezTo>
                    <a:pt x="560070" y="549910"/>
                    <a:pt x="588010" y="591820"/>
                    <a:pt x="588010" y="635635"/>
                  </a:cubicBezTo>
                  <a:cubicBezTo>
                    <a:pt x="588010" y="680720"/>
                    <a:pt x="560070" y="721360"/>
                    <a:pt x="504825" y="721360"/>
                  </a:cubicBezTo>
                  <a:lnTo>
                    <a:pt x="37465" y="721360"/>
                  </a:lnTo>
                  <a:lnTo>
                    <a:pt x="37465" y="923290"/>
                  </a:lnTo>
                  <a:lnTo>
                    <a:pt x="497205" y="923290"/>
                  </a:lnTo>
                  <a:cubicBezTo>
                    <a:pt x="679450" y="923290"/>
                    <a:pt x="787400" y="822960"/>
                    <a:pt x="787400" y="635635"/>
                  </a:cubicBezTo>
                  <a:cubicBezTo>
                    <a:pt x="787400" y="466725"/>
                    <a:pt x="678815" y="366395"/>
                    <a:pt x="537845" y="366395"/>
                  </a:cubicBezTo>
                </a:path>
              </a:pathLst>
            </a:custGeom>
            <a:grpFill/>
            <a:ln w="6350" cap="flat">
              <a:noFill/>
              <a:prstDash val="solid"/>
              <a:miter/>
            </a:ln>
          </p:spPr>
          <p:txBody>
            <a:bodyPr rtlCol="0" anchor="ctr"/>
            <a:lstStyle/>
            <a:p>
              <a:endParaRPr lang="en-US" noProof="0">
                <a:solidFill>
                  <a:schemeClr val="tx2"/>
                </a:solidFill>
              </a:endParaRPr>
            </a:p>
          </p:txBody>
        </p:sp>
        <p:sp>
          <p:nvSpPr>
            <p:cNvPr id="28" name="Bild 2">
              <a:extLst>
                <a:ext uri="{FF2B5EF4-FFF2-40B4-BE49-F238E27FC236}">
                  <a16:creationId xmlns:a16="http://schemas.microsoft.com/office/drawing/2014/main" id="{B673B569-AEC2-0F44-9550-4C24E96FE9F4}"/>
                </a:ext>
              </a:extLst>
            </p:cNvPr>
            <p:cNvSpPr/>
            <p:nvPr/>
          </p:nvSpPr>
          <p:spPr>
            <a:xfrm>
              <a:off x="1023960" y="6451484"/>
              <a:ext cx="75525" cy="91194"/>
            </a:xfrm>
            <a:custGeom>
              <a:avLst/>
              <a:gdLst>
                <a:gd name="connsiteX0" fmla="*/ 516890 w 765175"/>
                <a:gd name="connsiteY0" fmla="*/ 0 h 923925"/>
                <a:gd name="connsiteX1" fmla="*/ 213360 w 765175"/>
                <a:gd name="connsiteY1" fmla="*/ 389890 h 923925"/>
                <a:gd name="connsiteX2" fmla="*/ 213360 w 765175"/>
                <a:gd name="connsiteY2" fmla="*/ 0 h 923925"/>
                <a:gd name="connsiteX3" fmla="*/ 0 w 765175"/>
                <a:gd name="connsiteY3" fmla="*/ 0 h 923925"/>
                <a:gd name="connsiteX4" fmla="*/ 0 w 765175"/>
                <a:gd name="connsiteY4" fmla="*/ 923925 h 923925"/>
                <a:gd name="connsiteX5" fmla="*/ 213360 w 765175"/>
                <a:gd name="connsiteY5" fmla="*/ 923925 h 923925"/>
                <a:gd name="connsiteX6" fmla="*/ 213360 w 765175"/>
                <a:gd name="connsiteY6" fmla="*/ 534035 h 923925"/>
                <a:gd name="connsiteX7" fmla="*/ 516890 w 765175"/>
                <a:gd name="connsiteY7" fmla="*/ 923925 h 923925"/>
                <a:gd name="connsiteX8" fmla="*/ 765175 w 765175"/>
                <a:gd name="connsiteY8" fmla="*/ 923925 h 923925"/>
                <a:gd name="connsiteX9" fmla="*/ 415925 w 765175"/>
                <a:gd name="connsiteY9" fmla="*/ 462280 h 923925"/>
                <a:gd name="connsiteX10" fmla="*/ 765175 w 765175"/>
                <a:gd name="connsiteY10" fmla="*/ 0 h 92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5175" h="923925">
                  <a:moveTo>
                    <a:pt x="516890" y="0"/>
                  </a:moveTo>
                  <a:lnTo>
                    <a:pt x="213360" y="389890"/>
                  </a:lnTo>
                  <a:lnTo>
                    <a:pt x="213360" y="0"/>
                  </a:lnTo>
                  <a:lnTo>
                    <a:pt x="0" y="0"/>
                  </a:lnTo>
                  <a:lnTo>
                    <a:pt x="0" y="923925"/>
                  </a:lnTo>
                  <a:lnTo>
                    <a:pt x="213360" y="923925"/>
                  </a:lnTo>
                  <a:lnTo>
                    <a:pt x="213360" y="534035"/>
                  </a:lnTo>
                  <a:lnTo>
                    <a:pt x="516890" y="923925"/>
                  </a:lnTo>
                  <a:lnTo>
                    <a:pt x="765175" y="923925"/>
                  </a:lnTo>
                  <a:lnTo>
                    <a:pt x="415925" y="462280"/>
                  </a:lnTo>
                  <a:lnTo>
                    <a:pt x="765175" y="0"/>
                  </a:lnTo>
                  <a:close/>
                </a:path>
              </a:pathLst>
            </a:custGeom>
            <a:grpFill/>
            <a:ln w="6350" cap="flat">
              <a:noFill/>
              <a:prstDash val="solid"/>
              <a:miter/>
            </a:ln>
          </p:spPr>
          <p:txBody>
            <a:bodyPr rtlCol="0" anchor="ctr"/>
            <a:lstStyle/>
            <a:p>
              <a:endParaRPr lang="en-US" noProof="0">
                <a:solidFill>
                  <a:schemeClr val="tx2"/>
                </a:solidFill>
              </a:endParaRPr>
            </a:p>
          </p:txBody>
        </p:sp>
      </p:grpSp>
      <p:sp>
        <p:nvSpPr>
          <p:cNvPr id="30" name="Text Placeholder 4">
            <a:extLst>
              <a:ext uri="{FF2B5EF4-FFF2-40B4-BE49-F238E27FC236}">
                <a16:creationId xmlns:a16="http://schemas.microsoft.com/office/drawing/2014/main" id="{657B6F63-B2D3-B645-A8B9-059B9204452A}"/>
              </a:ext>
            </a:extLst>
          </p:cNvPr>
          <p:cNvSpPr>
            <a:spLocks noGrp="1"/>
          </p:cNvSpPr>
          <p:nvPr>
            <p:ph type="body" sz="quarter" idx="18" hasCustomPrompt="1"/>
          </p:nvPr>
        </p:nvSpPr>
        <p:spPr>
          <a:xfrm rot="5400000">
            <a:off x="10901730" y="803644"/>
            <a:ext cx="2093913" cy="486626"/>
          </a:xfrm>
        </p:spPr>
        <p:txBody>
          <a:bodyPr lIns="180000" tIns="180000" rIns="0" bIns="180000" anchor="ctr">
            <a:spAutoFit/>
          </a:bodyPr>
          <a:lstStyle>
            <a:lvl1pPr marL="6350" indent="0" algn="l">
              <a:buNone/>
              <a:defRPr sz="800"/>
            </a:lvl1pPr>
            <a:lvl2pPr marL="180975" indent="0">
              <a:buNone/>
              <a:defRPr sz="800"/>
            </a:lvl2pPr>
            <a:lvl3pPr marL="357188" indent="0">
              <a:buNone/>
              <a:defRPr sz="800"/>
            </a:lvl3pPr>
            <a:lvl4pPr marL="539563" indent="0">
              <a:buNone/>
              <a:defRPr sz="800"/>
            </a:lvl4pPr>
            <a:lvl5pPr marL="715962" indent="0">
              <a:buNone/>
              <a:defRPr sz="800"/>
            </a:lvl5pPr>
          </a:lstStyle>
          <a:p>
            <a:pPr lvl="0"/>
            <a:r>
              <a:rPr lang="en-US"/>
              <a:t>Project City Country</a:t>
            </a:r>
          </a:p>
        </p:txBody>
      </p:sp>
    </p:spTree>
    <p:extLst>
      <p:ext uri="{BB962C8B-B14F-4D97-AF65-F5344CB8AC3E}">
        <p14:creationId xmlns:p14="http://schemas.microsoft.com/office/powerpoint/2010/main" val="1371477816"/>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theme" Target="../theme/theme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3" Type="http://schemas.openxmlformats.org/officeDocument/2006/relationships/slideLayout" Target="../slideLayouts/slideLayout53.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theme" Target="../theme/theme2.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10" Type="http://schemas.openxmlformats.org/officeDocument/2006/relationships/slideLayout" Target="../slideLayouts/slideLayout60.xml"/><Relationship Id="rId19" Type="http://schemas.openxmlformats.org/officeDocument/2006/relationships/slideLayout" Target="../slideLayouts/slideLayout69.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Platshållare för rubrik 1">
            <a:extLst>
              <a:ext uri="{FF2B5EF4-FFF2-40B4-BE49-F238E27FC236}">
                <a16:creationId xmlns:a16="http://schemas.microsoft.com/office/drawing/2014/main" id="{825B2822-A321-45B7-9957-B7E679D34C1E}"/>
              </a:ext>
            </a:extLst>
          </p:cNvPr>
          <p:cNvSpPr>
            <a:spLocks noGrp="1"/>
          </p:cNvSpPr>
          <p:nvPr>
            <p:ph type="title"/>
          </p:nvPr>
        </p:nvSpPr>
        <p:spPr>
          <a:xfrm>
            <a:off x="576000" y="723600"/>
            <a:ext cx="11021062" cy="576000"/>
          </a:xfrm>
          <a:prstGeom prst="rect">
            <a:avLst/>
          </a:prstGeom>
        </p:spPr>
        <p:txBody>
          <a:bodyPr vert="horz" lIns="0" tIns="0" rIns="0" bIns="0" rtlCol="0" anchor="ctr">
            <a:noAutofit/>
          </a:bodyPr>
          <a:lstStyle/>
          <a:p>
            <a:r>
              <a:rPr lang="en-US" noProof="0"/>
              <a:t>Click to edit Master title slide</a:t>
            </a:r>
          </a:p>
        </p:txBody>
      </p:sp>
      <p:grpSp>
        <p:nvGrpSpPr>
          <p:cNvPr id="34" name="Grid" hidden="1">
            <a:extLst>
              <a:ext uri="{FF2B5EF4-FFF2-40B4-BE49-F238E27FC236}">
                <a16:creationId xmlns:a16="http://schemas.microsoft.com/office/drawing/2014/main" id="{8B59028C-0DAB-C346-BDE4-CCBFEC3EE037}"/>
              </a:ext>
            </a:extLst>
          </p:cNvPr>
          <p:cNvGrpSpPr/>
          <p:nvPr userDrawn="1"/>
        </p:nvGrpSpPr>
        <p:grpSpPr>
          <a:xfrm>
            <a:off x="-1" y="-8036"/>
            <a:ext cx="12192001" cy="6866036"/>
            <a:chOff x="-1" y="-8036"/>
            <a:chExt cx="12192001" cy="6866036"/>
          </a:xfrm>
        </p:grpSpPr>
        <p:cxnSp>
          <p:nvCxnSpPr>
            <p:cNvPr id="7" name="Rak 5">
              <a:extLst>
                <a:ext uri="{FF2B5EF4-FFF2-40B4-BE49-F238E27FC236}">
                  <a16:creationId xmlns:a16="http://schemas.microsoft.com/office/drawing/2014/main" id="{1EFE181E-871B-AD44-8AAE-DFD0DE08A355}"/>
                </a:ext>
              </a:extLst>
            </p:cNvPr>
            <p:cNvCxnSpPr/>
            <p:nvPr userDrawn="1"/>
          </p:nvCxnSpPr>
          <p:spPr>
            <a:xfrm>
              <a:off x="574675" y="0"/>
              <a:ext cx="0" cy="685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Rak 6">
              <a:extLst>
                <a:ext uri="{FF2B5EF4-FFF2-40B4-BE49-F238E27FC236}">
                  <a16:creationId xmlns:a16="http://schemas.microsoft.com/office/drawing/2014/main" id="{9D5972F3-574F-DC4A-BCF8-2DA1913F0186}"/>
                </a:ext>
              </a:extLst>
            </p:cNvPr>
            <p:cNvCxnSpPr/>
            <p:nvPr userDrawn="1"/>
          </p:nvCxnSpPr>
          <p:spPr>
            <a:xfrm>
              <a:off x="2168525" y="0"/>
              <a:ext cx="0" cy="685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Rak 7">
              <a:extLst>
                <a:ext uri="{FF2B5EF4-FFF2-40B4-BE49-F238E27FC236}">
                  <a16:creationId xmlns:a16="http://schemas.microsoft.com/office/drawing/2014/main" id="{3D14882A-7F22-A449-A1E4-7EDAE587983B}"/>
                </a:ext>
              </a:extLst>
            </p:cNvPr>
            <p:cNvCxnSpPr/>
            <p:nvPr userDrawn="1"/>
          </p:nvCxnSpPr>
          <p:spPr>
            <a:xfrm>
              <a:off x="2464435" y="0"/>
              <a:ext cx="0" cy="685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Rak 8">
              <a:extLst>
                <a:ext uri="{FF2B5EF4-FFF2-40B4-BE49-F238E27FC236}">
                  <a16:creationId xmlns:a16="http://schemas.microsoft.com/office/drawing/2014/main" id="{BA03D361-78D9-0948-8E3E-E8FE9D3CCCC2}"/>
                </a:ext>
              </a:extLst>
            </p:cNvPr>
            <p:cNvCxnSpPr/>
            <p:nvPr userDrawn="1"/>
          </p:nvCxnSpPr>
          <p:spPr>
            <a:xfrm>
              <a:off x="4059555" y="0"/>
              <a:ext cx="0" cy="685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Rak 9">
              <a:extLst>
                <a:ext uri="{FF2B5EF4-FFF2-40B4-BE49-F238E27FC236}">
                  <a16:creationId xmlns:a16="http://schemas.microsoft.com/office/drawing/2014/main" id="{2CB47529-BFFA-F74E-B22E-BCAF91672C8B}"/>
                </a:ext>
              </a:extLst>
            </p:cNvPr>
            <p:cNvCxnSpPr/>
            <p:nvPr userDrawn="1"/>
          </p:nvCxnSpPr>
          <p:spPr>
            <a:xfrm>
              <a:off x="4344035" y="0"/>
              <a:ext cx="0" cy="685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Rak 10">
              <a:extLst>
                <a:ext uri="{FF2B5EF4-FFF2-40B4-BE49-F238E27FC236}">
                  <a16:creationId xmlns:a16="http://schemas.microsoft.com/office/drawing/2014/main" id="{63C34ABE-C959-624C-A3DB-9708278B37BB}"/>
                </a:ext>
              </a:extLst>
            </p:cNvPr>
            <p:cNvCxnSpPr/>
            <p:nvPr userDrawn="1"/>
          </p:nvCxnSpPr>
          <p:spPr>
            <a:xfrm>
              <a:off x="5949315" y="0"/>
              <a:ext cx="0" cy="685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Rak 11">
              <a:extLst>
                <a:ext uri="{FF2B5EF4-FFF2-40B4-BE49-F238E27FC236}">
                  <a16:creationId xmlns:a16="http://schemas.microsoft.com/office/drawing/2014/main" id="{E769680E-F889-8D4E-AC68-94BE9052D33E}"/>
                </a:ext>
              </a:extLst>
            </p:cNvPr>
            <p:cNvCxnSpPr/>
            <p:nvPr userDrawn="1"/>
          </p:nvCxnSpPr>
          <p:spPr>
            <a:xfrm>
              <a:off x="6233795" y="0"/>
              <a:ext cx="0" cy="685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Rak 12">
              <a:extLst>
                <a:ext uri="{FF2B5EF4-FFF2-40B4-BE49-F238E27FC236}">
                  <a16:creationId xmlns:a16="http://schemas.microsoft.com/office/drawing/2014/main" id="{EDD4A6A7-499C-5A4A-840D-AF0BB5CEE2C0}"/>
                </a:ext>
              </a:extLst>
            </p:cNvPr>
            <p:cNvCxnSpPr/>
            <p:nvPr userDrawn="1"/>
          </p:nvCxnSpPr>
          <p:spPr>
            <a:xfrm>
              <a:off x="7839075" y="0"/>
              <a:ext cx="0" cy="685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Rak 13">
              <a:extLst>
                <a:ext uri="{FF2B5EF4-FFF2-40B4-BE49-F238E27FC236}">
                  <a16:creationId xmlns:a16="http://schemas.microsoft.com/office/drawing/2014/main" id="{FA59B691-FE8F-6E40-A047-331F4B6F58EC}"/>
                </a:ext>
              </a:extLst>
            </p:cNvPr>
            <p:cNvCxnSpPr/>
            <p:nvPr userDrawn="1"/>
          </p:nvCxnSpPr>
          <p:spPr>
            <a:xfrm>
              <a:off x="8123555" y="0"/>
              <a:ext cx="0" cy="685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Rak 14">
              <a:extLst>
                <a:ext uri="{FF2B5EF4-FFF2-40B4-BE49-F238E27FC236}">
                  <a16:creationId xmlns:a16="http://schemas.microsoft.com/office/drawing/2014/main" id="{9FD80A21-7531-914A-AF87-16C5ECA9E2FD}"/>
                </a:ext>
              </a:extLst>
            </p:cNvPr>
            <p:cNvCxnSpPr/>
            <p:nvPr userDrawn="1"/>
          </p:nvCxnSpPr>
          <p:spPr>
            <a:xfrm>
              <a:off x="9728835" y="0"/>
              <a:ext cx="0" cy="685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Rak 15">
              <a:extLst>
                <a:ext uri="{FF2B5EF4-FFF2-40B4-BE49-F238E27FC236}">
                  <a16:creationId xmlns:a16="http://schemas.microsoft.com/office/drawing/2014/main" id="{1571C2E8-E1D1-F04A-8325-BC47DE02B6E1}"/>
                </a:ext>
              </a:extLst>
            </p:cNvPr>
            <p:cNvCxnSpPr/>
            <p:nvPr userDrawn="1"/>
          </p:nvCxnSpPr>
          <p:spPr>
            <a:xfrm>
              <a:off x="10013315" y="0"/>
              <a:ext cx="0" cy="685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Rak 16">
              <a:extLst>
                <a:ext uri="{FF2B5EF4-FFF2-40B4-BE49-F238E27FC236}">
                  <a16:creationId xmlns:a16="http://schemas.microsoft.com/office/drawing/2014/main" id="{EE96282C-29E0-324D-A57B-8DA5899B130F}"/>
                </a:ext>
              </a:extLst>
            </p:cNvPr>
            <p:cNvCxnSpPr/>
            <p:nvPr userDrawn="1"/>
          </p:nvCxnSpPr>
          <p:spPr>
            <a:xfrm>
              <a:off x="11608435" y="0"/>
              <a:ext cx="0" cy="685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Rak 18">
              <a:extLst>
                <a:ext uri="{FF2B5EF4-FFF2-40B4-BE49-F238E27FC236}">
                  <a16:creationId xmlns:a16="http://schemas.microsoft.com/office/drawing/2014/main" id="{536C4DC2-C1BD-BF40-822F-968A882DC849}"/>
                </a:ext>
              </a:extLst>
            </p:cNvPr>
            <p:cNvCxnSpPr/>
            <p:nvPr userDrawn="1"/>
          </p:nvCxnSpPr>
          <p:spPr>
            <a:xfrm>
              <a:off x="0" y="34290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Rak 19">
              <a:extLst>
                <a:ext uri="{FF2B5EF4-FFF2-40B4-BE49-F238E27FC236}">
                  <a16:creationId xmlns:a16="http://schemas.microsoft.com/office/drawing/2014/main" id="{1C19E2E0-0F88-D940-B79A-4F48A4E16DBF}"/>
                </a:ext>
              </a:extLst>
            </p:cNvPr>
            <p:cNvCxnSpPr/>
            <p:nvPr userDrawn="1"/>
          </p:nvCxnSpPr>
          <p:spPr>
            <a:xfrm>
              <a:off x="0" y="71628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Rak 20">
              <a:extLst>
                <a:ext uri="{FF2B5EF4-FFF2-40B4-BE49-F238E27FC236}">
                  <a16:creationId xmlns:a16="http://schemas.microsoft.com/office/drawing/2014/main" id="{DF47D7D8-1177-5440-9D30-384D0310254F}"/>
                </a:ext>
              </a:extLst>
            </p:cNvPr>
            <p:cNvCxnSpPr/>
            <p:nvPr userDrawn="1"/>
          </p:nvCxnSpPr>
          <p:spPr>
            <a:xfrm>
              <a:off x="0" y="613156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2" name="Grupp 36">
              <a:extLst>
                <a:ext uri="{FF2B5EF4-FFF2-40B4-BE49-F238E27FC236}">
                  <a16:creationId xmlns:a16="http://schemas.microsoft.com/office/drawing/2014/main" id="{4073CAF2-D231-AA4E-B64C-4F29C3524743}"/>
                </a:ext>
              </a:extLst>
            </p:cNvPr>
            <p:cNvGrpSpPr/>
            <p:nvPr userDrawn="1"/>
          </p:nvGrpSpPr>
          <p:grpSpPr>
            <a:xfrm>
              <a:off x="-1" y="-8036"/>
              <a:ext cx="2513041" cy="1609752"/>
              <a:chOff x="-1" y="-8036"/>
              <a:chExt cx="2513041" cy="1609752"/>
            </a:xfrm>
          </p:grpSpPr>
          <p:sp>
            <p:nvSpPr>
              <p:cNvPr id="23" name="textruta 27">
                <a:extLst>
                  <a:ext uri="{FF2B5EF4-FFF2-40B4-BE49-F238E27FC236}">
                    <a16:creationId xmlns:a16="http://schemas.microsoft.com/office/drawing/2014/main" id="{408EBDF5-7E15-7E46-9D84-3C9DAC73CFEA}"/>
                  </a:ext>
                </a:extLst>
              </p:cNvPr>
              <p:cNvSpPr txBox="1"/>
              <p:nvPr/>
            </p:nvSpPr>
            <p:spPr>
              <a:xfrm>
                <a:off x="2128926" y="257555"/>
                <a:ext cx="384114"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Arial" panose="020B0604020202020204"/>
                    <a:ea typeface="+mn-ea"/>
                    <a:cs typeface="+mn-cs"/>
                  </a:rPr>
                  <a:t>8 mm</a:t>
                </a:r>
              </a:p>
            </p:txBody>
          </p:sp>
          <p:sp>
            <p:nvSpPr>
              <p:cNvPr id="24" name="textruta 28">
                <a:extLst>
                  <a:ext uri="{FF2B5EF4-FFF2-40B4-BE49-F238E27FC236}">
                    <a16:creationId xmlns:a16="http://schemas.microsoft.com/office/drawing/2014/main" id="{59DAB34A-4CCD-084F-8415-4B0E6D9C875C}"/>
                  </a:ext>
                </a:extLst>
              </p:cNvPr>
              <p:cNvSpPr txBox="1"/>
              <p:nvPr/>
            </p:nvSpPr>
            <p:spPr>
              <a:xfrm>
                <a:off x="583563" y="259993"/>
                <a:ext cx="470490"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Arial" panose="020B0604020202020204"/>
                    <a:ea typeface="+mn-ea"/>
                    <a:cs typeface="+mn-cs"/>
                  </a:rPr>
                  <a:t>20 mm</a:t>
                </a:r>
              </a:p>
            </p:txBody>
          </p:sp>
          <p:sp>
            <p:nvSpPr>
              <p:cNvPr id="25" name="textruta 29">
                <a:extLst>
                  <a:ext uri="{FF2B5EF4-FFF2-40B4-BE49-F238E27FC236}">
                    <a16:creationId xmlns:a16="http://schemas.microsoft.com/office/drawing/2014/main" id="{B0319B5D-5C11-CC4E-A42F-45B4A1495C3A}"/>
                  </a:ext>
                </a:extLst>
              </p:cNvPr>
              <p:cNvSpPr txBox="1"/>
              <p:nvPr/>
            </p:nvSpPr>
            <p:spPr>
              <a:xfrm>
                <a:off x="-1" y="1313356"/>
                <a:ext cx="5746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Arial" panose="020B0604020202020204"/>
                    <a:ea typeface="+mn-ea"/>
                    <a:cs typeface="+mn-cs"/>
                  </a:rPr>
                  <a:t>16 mm</a:t>
                </a:r>
              </a:p>
            </p:txBody>
          </p:sp>
          <p:cxnSp>
            <p:nvCxnSpPr>
              <p:cNvPr id="26" name="Rak 30">
                <a:extLst>
                  <a:ext uri="{FF2B5EF4-FFF2-40B4-BE49-F238E27FC236}">
                    <a16:creationId xmlns:a16="http://schemas.microsoft.com/office/drawing/2014/main" id="{7254C707-F54B-3341-9421-3BCE67F2FDE4}"/>
                  </a:ext>
                </a:extLst>
              </p:cNvPr>
              <p:cNvCxnSpPr/>
              <p:nvPr/>
            </p:nvCxnSpPr>
            <p:spPr>
              <a:xfrm>
                <a:off x="1217245" y="-8036"/>
                <a:ext cx="0" cy="72072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Rak 31">
                <a:extLst>
                  <a:ext uri="{FF2B5EF4-FFF2-40B4-BE49-F238E27FC236}">
                    <a16:creationId xmlns:a16="http://schemas.microsoft.com/office/drawing/2014/main" id="{5CFF8254-561E-4946-85FF-5C226AFFC785}"/>
                  </a:ext>
                </a:extLst>
              </p:cNvPr>
              <p:cNvCxnSpPr>
                <a:cxnSpLocks/>
              </p:cNvCxnSpPr>
              <p:nvPr/>
            </p:nvCxnSpPr>
            <p:spPr>
              <a:xfrm>
                <a:off x="1128180" y="348224"/>
                <a:ext cx="89065"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Rak 32">
                <a:extLst>
                  <a:ext uri="{FF2B5EF4-FFF2-40B4-BE49-F238E27FC236}">
                    <a16:creationId xmlns:a16="http://schemas.microsoft.com/office/drawing/2014/main" id="{0699D758-408B-E845-8449-FDF2F4CFE99E}"/>
                  </a:ext>
                </a:extLst>
              </p:cNvPr>
              <p:cNvCxnSpPr>
                <a:cxnSpLocks/>
              </p:cNvCxnSpPr>
              <p:nvPr/>
            </p:nvCxnSpPr>
            <p:spPr>
              <a:xfrm flipH="1">
                <a:off x="1" y="1601715"/>
                <a:ext cx="574675" cy="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Rak 33">
                <a:extLst>
                  <a:ext uri="{FF2B5EF4-FFF2-40B4-BE49-F238E27FC236}">
                    <a16:creationId xmlns:a16="http://schemas.microsoft.com/office/drawing/2014/main" id="{D2C3CFE2-C214-F544-8C2B-B78316799C23}"/>
                  </a:ext>
                </a:extLst>
              </p:cNvPr>
              <p:cNvCxnSpPr>
                <a:cxnSpLocks/>
              </p:cNvCxnSpPr>
              <p:nvPr/>
            </p:nvCxnSpPr>
            <p:spPr>
              <a:xfrm rot="5400000">
                <a:off x="242806" y="1557183"/>
                <a:ext cx="89065"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Rak 34">
                <a:extLst>
                  <a:ext uri="{FF2B5EF4-FFF2-40B4-BE49-F238E27FC236}">
                    <a16:creationId xmlns:a16="http://schemas.microsoft.com/office/drawing/2014/main" id="{66360723-ED83-5E43-99F0-C30D4860EB97}"/>
                  </a:ext>
                </a:extLst>
              </p:cNvPr>
              <p:cNvCxnSpPr>
                <a:cxnSpLocks/>
              </p:cNvCxnSpPr>
              <p:nvPr/>
            </p:nvCxnSpPr>
            <p:spPr>
              <a:xfrm flipH="1">
                <a:off x="2173859" y="545915"/>
                <a:ext cx="289941"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Rak 35">
                <a:extLst>
                  <a:ext uri="{FF2B5EF4-FFF2-40B4-BE49-F238E27FC236}">
                    <a16:creationId xmlns:a16="http://schemas.microsoft.com/office/drawing/2014/main" id="{BBBC5458-E333-CF4F-B0CB-264B70DE25C4}"/>
                  </a:ext>
                </a:extLst>
              </p:cNvPr>
              <p:cNvCxnSpPr>
                <a:cxnSpLocks/>
              </p:cNvCxnSpPr>
              <p:nvPr/>
            </p:nvCxnSpPr>
            <p:spPr>
              <a:xfrm rot="5400000">
                <a:off x="2274297" y="501382"/>
                <a:ext cx="89065"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35" name="Text Placeholder 2">
            <a:extLst>
              <a:ext uri="{FF2B5EF4-FFF2-40B4-BE49-F238E27FC236}">
                <a16:creationId xmlns:a16="http://schemas.microsoft.com/office/drawing/2014/main" id="{B36444E1-9481-3246-8530-C77C48B222A1}"/>
              </a:ext>
            </a:extLst>
          </p:cNvPr>
          <p:cNvSpPr>
            <a:spLocks noGrp="1"/>
          </p:cNvSpPr>
          <p:nvPr>
            <p:ph type="body" idx="1"/>
          </p:nvPr>
        </p:nvSpPr>
        <p:spPr>
          <a:xfrm>
            <a:off x="576000" y="1825625"/>
            <a:ext cx="11028679" cy="4303713"/>
          </a:xfrm>
          <a:prstGeom prst="rect">
            <a:avLst/>
          </a:prstGeom>
        </p:spPr>
        <p:txBody>
          <a:bodyPr vert="horz" lIns="0" tIns="0" rIns="0" bIns="0" rtlCol="0">
            <a:noAutofit/>
          </a:bodyPr>
          <a:lstStyle/>
          <a:p>
            <a:pPr lvl="0"/>
            <a:r>
              <a:rPr lang="sv-SE" noProof="0"/>
              <a:t>Klicka här för att ändra format på bakgrundstexten</a:t>
            </a:r>
          </a:p>
          <a:p>
            <a:pPr lvl="1"/>
            <a:r>
              <a:rPr lang="sv-SE" noProof="0"/>
              <a:t>Nivå två</a:t>
            </a:r>
          </a:p>
          <a:p>
            <a:pPr lvl="2"/>
            <a:r>
              <a:rPr lang="sv-SE" noProof="0"/>
              <a:t>Nivå tre</a:t>
            </a:r>
          </a:p>
          <a:p>
            <a:pPr lvl="3"/>
            <a:r>
              <a:rPr lang="sv-SE" noProof="0"/>
              <a:t>Nivå fyra</a:t>
            </a:r>
          </a:p>
          <a:p>
            <a:pPr lvl="4"/>
            <a:r>
              <a:rPr lang="sv-SE" noProof="0"/>
              <a:t>Nivå fem</a:t>
            </a:r>
            <a:endParaRPr lang="en-US" noProof="0"/>
          </a:p>
        </p:txBody>
      </p:sp>
      <p:sp>
        <p:nvSpPr>
          <p:cNvPr id="33" name="Platshållare för datum 3">
            <a:extLst>
              <a:ext uri="{FF2B5EF4-FFF2-40B4-BE49-F238E27FC236}">
                <a16:creationId xmlns:a16="http://schemas.microsoft.com/office/drawing/2014/main" id="{C6A775F4-EF67-3D43-BE5D-3F7DA56F3FA1}"/>
              </a:ext>
            </a:extLst>
          </p:cNvPr>
          <p:cNvSpPr>
            <a:spLocks noGrp="1"/>
          </p:cNvSpPr>
          <p:nvPr>
            <p:ph type="dt" sz="half" idx="2"/>
          </p:nvPr>
        </p:nvSpPr>
        <p:spPr>
          <a:xfrm>
            <a:off x="2185246" y="6453942"/>
            <a:ext cx="1878120" cy="112593"/>
          </a:xfrm>
          <a:prstGeom prst="rect">
            <a:avLst/>
          </a:prstGeom>
        </p:spPr>
        <p:txBody>
          <a:bodyPr vert="horz" lIns="0" tIns="0" rIns="0" bIns="0" rtlCol="0" anchor="b"/>
          <a:lstStyle>
            <a:lvl1pPr algn="l">
              <a:defRPr sz="800" spc="50" baseline="0">
                <a:solidFill>
                  <a:schemeClr val="tx2"/>
                </a:solidFill>
              </a:defRPr>
            </a:lvl1pPr>
          </a:lstStyle>
          <a:p>
            <a:fld id="{2F9806AD-009B-8D45-82A9-B9E8234B6322}" type="datetime1">
              <a:rPr lang="en-US" noProof="0" smtClean="0"/>
              <a:t>10/17/2023</a:t>
            </a:fld>
            <a:endParaRPr lang="en-US" noProof="0"/>
          </a:p>
        </p:txBody>
      </p:sp>
      <p:sp>
        <p:nvSpPr>
          <p:cNvPr id="36" name="Platshållare för sidfot 4">
            <a:extLst>
              <a:ext uri="{FF2B5EF4-FFF2-40B4-BE49-F238E27FC236}">
                <a16:creationId xmlns:a16="http://schemas.microsoft.com/office/drawing/2014/main" id="{DB93A96B-59FE-6D4B-856F-0028CF27BD8E}"/>
              </a:ext>
            </a:extLst>
          </p:cNvPr>
          <p:cNvSpPr>
            <a:spLocks noGrp="1"/>
          </p:cNvSpPr>
          <p:nvPr>
            <p:ph type="ftr" sz="quarter" idx="3"/>
          </p:nvPr>
        </p:nvSpPr>
        <p:spPr>
          <a:xfrm>
            <a:off x="4359276" y="6453942"/>
            <a:ext cx="3470274" cy="112593"/>
          </a:xfrm>
          <a:prstGeom prst="rect">
            <a:avLst/>
          </a:prstGeom>
        </p:spPr>
        <p:txBody>
          <a:bodyPr vert="horz" lIns="0" tIns="0" rIns="0" bIns="0" rtlCol="0" anchor="b"/>
          <a:lstStyle>
            <a:lvl1pPr algn="l">
              <a:defRPr sz="800" spc="50" baseline="0">
                <a:solidFill>
                  <a:schemeClr val="tx2"/>
                </a:solidFill>
              </a:defRPr>
            </a:lvl1pPr>
          </a:lstStyle>
          <a:p>
            <a:r>
              <a:rPr lang="en-US" noProof="0"/>
              <a:t>Go to header/footer to change text </a:t>
            </a:r>
          </a:p>
        </p:txBody>
      </p:sp>
      <p:sp>
        <p:nvSpPr>
          <p:cNvPr id="37" name="Platshållare för bildnummer 5">
            <a:extLst>
              <a:ext uri="{FF2B5EF4-FFF2-40B4-BE49-F238E27FC236}">
                <a16:creationId xmlns:a16="http://schemas.microsoft.com/office/drawing/2014/main" id="{18F7DC29-539A-474B-8BEC-B86F9CFC1AEC}"/>
              </a:ext>
            </a:extLst>
          </p:cNvPr>
          <p:cNvSpPr>
            <a:spLocks noGrp="1"/>
          </p:cNvSpPr>
          <p:nvPr>
            <p:ph type="sldNum" sz="quarter" idx="4"/>
          </p:nvPr>
        </p:nvSpPr>
        <p:spPr>
          <a:xfrm>
            <a:off x="10013315" y="6453942"/>
            <a:ext cx="1590676" cy="112593"/>
          </a:xfrm>
          <a:prstGeom prst="rect">
            <a:avLst/>
          </a:prstGeom>
        </p:spPr>
        <p:txBody>
          <a:bodyPr vert="horz" lIns="0" tIns="0" rIns="0" bIns="0" rtlCol="0" anchor="b"/>
          <a:lstStyle>
            <a:lvl1pPr algn="r">
              <a:defRPr sz="800" spc="50" baseline="0">
                <a:solidFill>
                  <a:schemeClr val="tx2"/>
                </a:solidFill>
              </a:defRPr>
            </a:lvl1pPr>
          </a:lstStyle>
          <a:p>
            <a:fld id="{EF8DBD5B-30F9-4F9C-AE39-E065C1AC514D}" type="slidenum">
              <a:rPr lang="en-US" noProof="0" smtClean="0"/>
              <a:pPr/>
              <a:t>‹#›</a:t>
            </a:fld>
            <a:endParaRPr lang="en-US" noProof="0"/>
          </a:p>
        </p:txBody>
      </p:sp>
    </p:spTree>
    <p:extLst>
      <p:ext uri="{BB962C8B-B14F-4D97-AF65-F5344CB8AC3E}">
        <p14:creationId xmlns:p14="http://schemas.microsoft.com/office/powerpoint/2010/main" val="2733114217"/>
      </p:ext>
    </p:extLst>
  </p:cSld>
  <p:clrMap bg1="lt1" tx1="dk1" bg2="lt2" tx2="dk2" accent1="accent1" accent2="accent2" accent3="accent3" accent4="accent4" accent5="accent5" accent6="accent6" hlink="hlink" folHlink="folHlink"/>
  <p:sldLayoutIdLst>
    <p:sldLayoutId id="2147483650" r:id="rId1"/>
    <p:sldLayoutId id="2147483651" r:id="rId2"/>
    <p:sldLayoutId id="2147483653" r:id="rId3"/>
    <p:sldLayoutId id="2147483717" r:id="rId4"/>
    <p:sldLayoutId id="2147483652" r:id="rId5"/>
    <p:sldLayoutId id="2147483655" r:id="rId6"/>
    <p:sldLayoutId id="2147483718" r:id="rId7"/>
    <p:sldLayoutId id="2147483719" r:id="rId8"/>
    <p:sldLayoutId id="2147483658" r:id="rId9"/>
    <p:sldLayoutId id="2147483726" r:id="rId10"/>
    <p:sldLayoutId id="2147483659" r:id="rId11"/>
    <p:sldLayoutId id="2147483656" r:id="rId12"/>
    <p:sldLayoutId id="2147483657" r:id="rId13"/>
    <p:sldLayoutId id="2147483663" r:id="rId14"/>
    <p:sldLayoutId id="2147483730" r:id="rId15"/>
    <p:sldLayoutId id="2147483733" r:id="rId16"/>
    <p:sldLayoutId id="2147483716" r:id="rId17"/>
    <p:sldLayoutId id="2147483722" r:id="rId18"/>
    <p:sldLayoutId id="2147483665" r:id="rId19"/>
    <p:sldLayoutId id="2147483666" r:id="rId20"/>
    <p:sldLayoutId id="2147483664" r:id="rId21"/>
    <p:sldLayoutId id="2147483654" r:id="rId22"/>
    <p:sldLayoutId id="2147483667" r:id="rId23"/>
    <p:sldLayoutId id="2147483668" r:id="rId24"/>
    <p:sldLayoutId id="2147483669" r:id="rId25"/>
    <p:sldLayoutId id="2147483670" r:id="rId26"/>
    <p:sldLayoutId id="2147483671" r:id="rId27"/>
    <p:sldLayoutId id="2147483672" r:id="rId28"/>
    <p:sldLayoutId id="2147483685" r:id="rId29"/>
    <p:sldLayoutId id="2147483686" r:id="rId30"/>
    <p:sldLayoutId id="2147483674" r:id="rId31"/>
    <p:sldLayoutId id="2147483675" r:id="rId32"/>
    <p:sldLayoutId id="2147483676" r:id="rId33"/>
    <p:sldLayoutId id="2147483720" r:id="rId34"/>
    <p:sldLayoutId id="2147483681" r:id="rId35"/>
    <p:sldLayoutId id="2147483680" r:id="rId36"/>
    <p:sldLayoutId id="2147483679" r:id="rId37"/>
    <p:sldLayoutId id="2147483684" r:id="rId38"/>
    <p:sldLayoutId id="2147483683" r:id="rId39"/>
    <p:sldLayoutId id="2147483688" r:id="rId40"/>
    <p:sldLayoutId id="2147483687" r:id="rId41"/>
    <p:sldLayoutId id="2147483728" r:id="rId42"/>
    <p:sldLayoutId id="2147483727" r:id="rId43"/>
    <p:sldLayoutId id="2147483725" r:id="rId44"/>
    <p:sldLayoutId id="2147483734" r:id="rId45"/>
    <p:sldLayoutId id="2147483735" r:id="rId46"/>
    <p:sldLayoutId id="2147483736" r:id="rId47"/>
    <p:sldLayoutId id="2147483738" r:id="rId48"/>
    <p:sldLayoutId id="2147483739" r:id="rId49"/>
    <p:sldLayoutId id="2147483740" r:id="rId50"/>
  </p:sldLayoutIdLst>
  <p:hf hdr="0"/>
  <p:txStyles>
    <p:titleStyle>
      <a:lvl1pPr algn="l" defTabSz="914400" rtl="0" eaLnBrk="1" latinLnBrk="0" hangingPunct="1">
        <a:lnSpc>
          <a:spcPct val="90000"/>
        </a:lnSpc>
        <a:spcBef>
          <a:spcPct val="0"/>
        </a:spcBef>
        <a:buNone/>
        <a:defRPr sz="4400" kern="1200">
          <a:solidFill>
            <a:schemeClr val="tx2"/>
          </a:solidFill>
          <a:latin typeface="+mj-lt"/>
          <a:ea typeface="+mj-ea"/>
          <a:cs typeface="+mj-cs"/>
        </a:defRPr>
      </a:lvl1pPr>
    </p:titleStyle>
    <p:bodyStyle>
      <a:lvl1pPr marL="182563" indent="-176213" algn="l" defTabSz="914400" rtl="0" eaLnBrk="1" latinLnBrk="0" hangingPunct="1">
        <a:lnSpc>
          <a:spcPct val="100000"/>
        </a:lnSpc>
        <a:spcBef>
          <a:spcPts val="1000"/>
        </a:spcBef>
        <a:spcAft>
          <a:spcPts val="0"/>
        </a:spcAft>
        <a:buFont typeface="Arial" panose="020B0604020202020204" pitchFamily="34" charset="0"/>
        <a:buChar char="•"/>
        <a:tabLst/>
        <a:defRPr sz="1800" b="0" kern="1200" spc="40" baseline="0">
          <a:solidFill>
            <a:schemeClr val="tx2"/>
          </a:solidFill>
          <a:latin typeface="+mn-lt"/>
          <a:ea typeface="+mn-ea"/>
          <a:cs typeface="+mn-cs"/>
        </a:defRPr>
      </a:lvl1pPr>
      <a:lvl2pPr marL="357188" indent="-176213" algn="l" defTabSz="914400" rtl="0" eaLnBrk="1" latinLnBrk="0" hangingPunct="1">
        <a:lnSpc>
          <a:spcPct val="100000"/>
        </a:lnSpc>
        <a:spcBef>
          <a:spcPts val="500"/>
        </a:spcBef>
        <a:spcAft>
          <a:spcPts val="0"/>
        </a:spcAft>
        <a:buFont typeface="Arial" panose="020B0604020202020204" pitchFamily="34" charset="0"/>
        <a:buChar char="•"/>
        <a:tabLst/>
        <a:defRPr sz="1800" kern="1200" spc="40" baseline="0">
          <a:solidFill>
            <a:schemeClr val="tx2"/>
          </a:solidFill>
          <a:latin typeface="+mn-lt"/>
          <a:ea typeface="+mn-ea"/>
          <a:cs typeface="+mn-cs"/>
        </a:defRPr>
      </a:lvl2pPr>
      <a:lvl3pPr marL="534988" indent="-177800" algn="l" defTabSz="914400" rtl="0" eaLnBrk="1" latinLnBrk="0" hangingPunct="1">
        <a:lnSpc>
          <a:spcPct val="100000"/>
        </a:lnSpc>
        <a:spcBef>
          <a:spcPts val="500"/>
        </a:spcBef>
        <a:spcAft>
          <a:spcPts val="0"/>
        </a:spcAft>
        <a:buFont typeface="Arial" panose="020B0604020202020204" pitchFamily="34" charset="0"/>
        <a:buChar char="•"/>
        <a:tabLst/>
        <a:defRPr sz="1600" kern="1200" spc="40" baseline="0">
          <a:solidFill>
            <a:schemeClr val="tx2"/>
          </a:solidFill>
          <a:latin typeface="+mn-lt"/>
          <a:ea typeface="+mn-ea"/>
          <a:cs typeface="+mn-cs"/>
        </a:defRPr>
      </a:lvl3pPr>
      <a:lvl4pPr marL="715963" indent="-176400" algn="l" defTabSz="914400" rtl="0" eaLnBrk="1" latinLnBrk="0" hangingPunct="1">
        <a:lnSpc>
          <a:spcPct val="100000"/>
        </a:lnSpc>
        <a:spcBef>
          <a:spcPts val="500"/>
        </a:spcBef>
        <a:spcAft>
          <a:spcPts val="0"/>
        </a:spcAft>
        <a:buFont typeface="Arial" panose="020B0604020202020204" pitchFamily="34" charset="0"/>
        <a:buChar char="•"/>
        <a:tabLst/>
        <a:defRPr sz="1400" kern="1200" spc="40" baseline="0">
          <a:solidFill>
            <a:schemeClr val="tx2"/>
          </a:solidFill>
          <a:latin typeface="+mn-lt"/>
          <a:ea typeface="+mn-ea"/>
          <a:cs typeface="+mn-cs"/>
        </a:defRPr>
      </a:lvl4pPr>
      <a:lvl5pPr marL="892175" indent="-176213" algn="l" defTabSz="914400" rtl="0" eaLnBrk="1" latinLnBrk="0" hangingPunct="1">
        <a:lnSpc>
          <a:spcPct val="100000"/>
        </a:lnSpc>
        <a:spcBef>
          <a:spcPts val="500"/>
        </a:spcBef>
        <a:spcAft>
          <a:spcPts val="0"/>
        </a:spcAft>
        <a:buFont typeface="Arial" panose="020B0604020202020204" pitchFamily="34" charset="0"/>
        <a:buChar char="•"/>
        <a:tabLst/>
        <a:defRPr sz="1200" kern="1200" spc="4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BAE40"/>
          </p15:clr>
        </p15:guide>
        <p15:guide id="2" pos="3840" userDrawn="1">
          <p15:clr>
            <a:srgbClr val="FBAE40"/>
          </p15:clr>
        </p15:guide>
        <p15:guide id="3" pos="363" userDrawn="1">
          <p15:clr>
            <a:srgbClr val="000000"/>
          </p15:clr>
        </p15:guide>
        <p15:guide id="4" pos="7317" userDrawn="1">
          <p15:clr>
            <a:srgbClr val="000000"/>
          </p15:clr>
        </p15:guide>
        <p15:guide id="5" orient="horz" pos="454" userDrawn="1">
          <p15:clr>
            <a:srgbClr val="000000"/>
          </p15:clr>
        </p15:guide>
        <p15:guide id="6" pos="2739" userDrawn="1">
          <p15:clr>
            <a:srgbClr val="A4A3A4"/>
          </p15:clr>
        </p15:guide>
        <p15:guide id="7" pos="1553" userDrawn="1">
          <p15:clr>
            <a:srgbClr val="A4A3A4"/>
          </p15:clr>
        </p15:guide>
        <p15:guide id="9" pos="3750" userDrawn="1">
          <p15:clr>
            <a:srgbClr val="A4A3A4"/>
          </p15:clr>
        </p15:guide>
        <p15:guide id="10" pos="3930" userDrawn="1">
          <p15:clr>
            <a:srgbClr val="A4A3A4"/>
          </p15:clr>
        </p15:guide>
        <p15:guide id="11" pos="4932" userDrawn="1">
          <p15:clr>
            <a:srgbClr val="A4A3A4"/>
          </p15:clr>
        </p15:guide>
        <p15:guide id="12" pos="5120" userDrawn="1">
          <p15:clr>
            <a:srgbClr val="A4A3A4"/>
          </p15:clr>
        </p15:guide>
        <p15:guide id="13" pos="6123" userDrawn="1">
          <p15:clr>
            <a:srgbClr val="A4A3A4"/>
          </p15:clr>
        </p15:guide>
        <p15:guide id="15" orient="horz" pos="3861" userDrawn="1">
          <p15:clr>
            <a:srgbClr val="000000"/>
          </p15:clr>
        </p15:guide>
        <p15:guide id="17" pos="1370" userDrawn="1">
          <p15:clr>
            <a:srgbClr val="A4A3A4"/>
          </p15:clr>
        </p15:guide>
        <p15:guide id="18" orient="horz" pos="4122" userDrawn="1">
          <p15:clr>
            <a:srgbClr val="A4A3A4"/>
          </p15:clr>
        </p15:guide>
        <p15:guide id="19" orient="horz" pos="2092" userDrawn="1">
          <p15:clr>
            <a:srgbClr val="A4A3A4"/>
          </p15:clr>
        </p15:guide>
        <p15:guide id="20" orient="horz" pos="2228" userDrawn="1">
          <p15:clr>
            <a:srgbClr val="A4A3A4"/>
          </p15:clr>
        </p15:guide>
        <p15:guide id="21" pos="6306" userDrawn="1">
          <p15:clr>
            <a:srgbClr val="A4A3A4"/>
          </p15:clr>
        </p15:guide>
        <p15:guide id="22" pos="2556" userDrawn="1">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Platshållare för rubrik 1">
            <a:extLst>
              <a:ext uri="{FF2B5EF4-FFF2-40B4-BE49-F238E27FC236}">
                <a16:creationId xmlns:a16="http://schemas.microsoft.com/office/drawing/2014/main" id="{825B2822-A321-45B7-9957-B7E679D34C1E}"/>
              </a:ext>
            </a:extLst>
          </p:cNvPr>
          <p:cNvSpPr>
            <a:spLocks noGrp="1"/>
          </p:cNvSpPr>
          <p:nvPr>
            <p:ph type="title"/>
          </p:nvPr>
        </p:nvSpPr>
        <p:spPr>
          <a:xfrm>
            <a:off x="576000" y="723600"/>
            <a:ext cx="11021062" cy="576000"/>
          </a:xfrm>
          <a:prstGeom prst="rect">
            <a:avLst/>
          </a:prstGeom>
        </p:spPr>
        <p:txBody>
          <a:bodyPr vert="horz" lIns="0" tIns="0" rIns="0" bIns="0" rtlCol="0" anchor="ctr">
            <a:noAutofit/>
          </a:bodyPr>
          <a:lstStyle/>
          <a:p>
            <a:r>
              <a:rPr lang="en-US" noProof="0"/>
              <a:t>Click to edit Master title slide</a:t>
            </a:r>
          </a:p>
        </p:txBody>
      </p:sp>
      <p:grpSp>
        <p:nvGrpSpPr>
          <p:cNvPr id="34" name="Grid" hidden="1">
            <a:extLst>
              <a:ext uri="{FF2B5EF4-FFF2-40B4-BE49-F238E27FC236}">
                <a16:creationId xmlns:a16="http://schemas.microsoft.com/office/drawing/2014/main" id="{8B59028C-0DAB-C346-BDE4-CCBFEC3EE037}"/>
              </a:ext>
            </a:extLst>
          </p:cNvPr>
          <p:cNvGrpSpPr/>
          <p:nvPr userDrawn="1"/>
        </p:nvGrpSpPr>
        <p:grpSpPr>
          <a:xfrm>
            <a:off x="-1" y="-8036"/>
            <a:ext cx="12192001" cy="6866036"/>
            <a:chOff x="-1" y="-8036"/>
            <a:chExt cx="12192001" cy="6866036"/>
          </a:xfrm>
        </p:grpSpPr>
        <p:cxnSp>
          <p:nvCxnSpPr>
            <p:cNvPr id="7" name="Rak 5">
              <a:extLst>
                <a:ext uri="{FF2B5EF4-FFF2-40B4-BE49-F238E27FC236}">
                  <a16:creationId xmlns:a16="http://schemas.microsoft.com/office/drawing/2014/main" id="{1EFE181E-871B-AD44-8AAE-DFD0DE08A355}"/>
                </a:ext>
              </a:extLst>
            </p:cNvPr>
            <p:cNvCxnSpPr/>
            <p:nvPr userDrawn="1"/>
          </p:nvCxnSpPr>
          <p:spPr>
            <a:xfrm>
              <a:off x="574675" y="0"/>
              <a:ext cx="0" cy="685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Rak 6">
              <a:extLst>
                <a:ext uri="{FF2B5EF4-FFF2-40B4-BE49-F238E27FC236}">
                  <a16:creationId xmlns:a16="http://schemas.microsoft.com/office/drawing/2014/main" id="{9D5972F3-574F-DC4A-BCF8-2DA1913F0186}"/>
                </a:ext>
              </a:extLst>
            </p:cNvPr>
            <p:cNvCxnSpPr/>
            <p:nvPr userDrawn="1"/>
          </p:nvCxnSpPr>
          <p:spPr>
            <a:xfrm>
              <a:off x="2168525" y="0"/>
              <a:ext cx="0" cy="685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Rak 7">
              <a:extLst>
                <a:ext uri="{FF2B5EF4-FFF2-40B4-BE49-F238E27FC236}">
                  <a16:creationId xmlns:a16="http://schemas.microsoft.com/office/drawing/2014/main" id="{3D14882A-7F22-A449-A1E4-7EDAE587983B}"/>
                </a:ext>
              </a:extLst>
            </p:cNvPr>
            <p:cNvCxnSpPr/>
            <p:nvPr userDrawn="1"/>
          </p:nvCxnSpPr>
          <p:spPr>
            <a:xfrm>
              <a:off x="2464435" y="0"/>
              <a:ext cx="0" cy="685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Rak 8">
              <a:extLst>
                <a:ext uri="{FF2B5EF4-FFF2-40B4-BE49-F238E27FC236}">
                  <a16:creationId xmlns:a16="http://schemas.microsoft.com/office/drawing/2014/main" id="{BA03D361-78D9-0948-8E3E-E8FE9D3CCCC2}"/>
                </a:ext>
              </a:extLst>
            </p:cNvPr>
            <p:cNvCxnSpPr/>
            <p:nvPr userDrawn="1"/>
          </p:nvCxnSpPr>
          <p:spPr>
            <a:xfrm>
              <a:off x="4059555" y="0"/>
              <a:ext cx="0" cy="685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Rak 9">
              <a:extLst>
                <a:ext uri="{FF2B5EF4-FFF2-40B4-BE49-F238E27FC236}">
                  <a16:creationId xmlns:a16="http://schemas.microsoft.com/office/drawing/2014/main" id="{2CB47529-BFFA-F74E-B22E-BCAF91672C8B}"/>
                </a:ext>
              </a:extLst>
            </p:cNvPr>
            <p:cNvCxnSpPr/>
            <p:nvPr userDrawn="1"/>
          </p:nvCxnSpPr>
          <p:spPr>
            <a:xfrm>
              <a:off x="4344035" y="0"/>
              <a:ext cx="0" cy="685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Rak 10">
              <a:extLst>
                <a:ext uri="{FF2B5EF4-FFF2-40B4-BE49-F238E27FC236}">
                  <a16:creationId xmlns:a16="http://schemas.microsoft.com/office/drawing/2014/main" id="{63C34ABE-C959-624C-A3DB-9708278B37BB}"/>
                </a:ext>
              </a:extLst>
            </p:cNvPr>
            <p:cNvCxnSpPr/>
            <p:nvPr userDrawn="1"/>
          </p:nvCxnSpPr>
          <p:spPr>
            <a:xfrm>
              <a:off x="5949315" y="0"/>
              <a:ext cx="0" cy="685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Rak 11">
              <a:extLst>
                <a:ext uri="{FF2B5EF4-FFF2-40B4-BE49-F238E27FC236}">
                  <a16:creationId xmlns:a16="http://schemas.microsoft.com/office/drawing/2014/main" id="{E769680E-F889-8D4E-AC68-94BE9052D33E}"/>
                </a:ext>
              </a:extLst>
            </p:cNvPr>
            <p:cNvCxnSpPr/>
            <p:nvPr userDrawn="1"/>
          </p:nvCxnSpPr>
          <p:spPr>
            <a:xfrm>
              <a:off x="6233795" y="0"/>
              <a:ext cx="0" cy="685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Rak 12">
              <a:extLst>
                <a:ext uri="{FF2B5EF4-FFF2-40B4-BE49-F238E27FC236}">
                  <a16:creationId xmlns:a16="http://schemas.microsoft.com/office/drawing/2014/main" id="{EDD4A6A7-499C-5A4A-840D-AF0BB5CEE2C0}"/>
                </a:ext>
              </a:extLst>
            </p:cNvPr>
            <p:cNvCxnSpPr/>
            <p:nvPr userDrawn="1"/>
          </p:nvCxnSpPr>
          <p:spPr>
            <a:xfrm>
              <a:off x="7839075" y="0"/>
              <a:ext cx="0" cy="685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Rak 13">
              <a:extLst>
                <a:ext uri="{FF2B5EF4-FFF2-40B4-BE49-F238E27FC236}">
                  <a16:creationId xmlns:a16="http://schemas.microsoft.com/office/drawing/2014/main" id="{FA59B691-FE8F-6E40-A047-331F4B6F58EC}"/>
                </a:ext>
              </a:extLst>
            </p:cNvPr>
            <p:cNvCxnSpPr/>
            <p:nvPr userDrawn="1"/>
          </p:nvCxnSpPr>
          <p:spPr>
            <a:xfrm>
              <a:off x="8123555" y="0"/>
              <a:ext cx="0" cy="685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Rak 14">
              <a:extLst>
                <a:ext uri="{FF2B5EF4-FFF2-40B4-BE49-F238E27FC236}">
                  <a16:creationId xmlns:a16="http://schemas.microsoft.com/office/drawing/2014/main" id="{9FD80A21-7531-914A-AF87-16C5ECA9E2FD}"/>
                </a:ext>
              </a:extLst>
            </p:cNvPr>
            <p:cNvCxnSpPr/>
            <p:nvPr userDrawn="1"/>
          </p:nvCxnSpPr>
          <p:spPr>
            <a:xfrm>
              <a:off x="9728835" y="0"/>
              <a:ext cx="0" cy="685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Rak 15">
              <a:extLst>
                <a:ext uri="{FF2B5EF4-FFF2-40B4-BE49-F238E27FC236}">
                  <a16:creationId xmlns:a16="http://schemas.microsoft.com/office/drawing/2014/main" id="{1571C2E8-E1D1-F04A-8325-BC47DE02B6E1}"/>
                </a:ext>
              </a:extLst>
            </p:cNvPr>
            <p:cNvCxnSpPr/>
            <p:nvPr userDrawn="1"/>
          </p:nvCxnSpPr>
          <p:spPr>
            <a:xfrm>
              <a:off x="10013315" y="0"/>
              <a:ext cx="0" cy="685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Rak 16">
              <a:extLst>
                <a:ext uri="{FF2B5EF4-FFF2-40B4-BE49-F238E27FC236}">
                  <a16:creationId xmlns:a16="http://schemas.microsoft.com/office/drawing/2014/main" id="{EE96282C-29E0-324D-A57B-8DA5899B130F}"/>
                </a:ext>
              </a:extLst>
            </p:cNvPr>
            <p:cNvCxnSpPr/>
            <p:nvPr userDrawn="1"/>
          </p:nvCxnSpPr>
          <p:spPr>
            <a:xfrm>
              <a:off x="11608435" y="0"/>
              <a:ext cx="0" cy="685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Rak 18">
              <a:extLst>
                <a:ext uri="{FF2B5EF4-FFF2-40B4-BE49-F238E27FC236}">
                  <a16:creationId xmlns:a16="http://schemas.microsoft.com/office/drawing/2014/main" id="{536C4DC2-C1BD-BF40-822F-968A882DC849}"/>
                </a:ext>
              </a:extLst>
            </p:cNvPr>
            <p:cNvCxnSpPr/>
            <p:nvPr userDrawn="1"/>
          </p:nvCxnSpPr>
          <p:spPr>
            <a:xfrm>
              <a:off x="0" y="34290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Rak 19">
              <a:extLst>
                <a:ext uri="{FF2B5EF4-FFF2-40B4-BE49-F238E27FC236}">
                  <a16:creationId xmlns:a16="http://schemas.microsoft.com/office/drawing/2014/main" id="{1C19E2E0-0F88-D940-B79A-4F48A4E16DBF}"/>
                </a:ext>
              </a:extLst>
            </p:cNvPr>
            <p:cNvCxnSpPr/>
            <p:nvPr userDrawn="1"/>
          </p:nvCxnSpPr>
          <p:spPr>
            <a:xfrm>
              <a:off x="0" y="71628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Rak 20">
              <a:extLst>
                <a:ext uri="{FF2B5EF4-FFF2-40B4-BE49-F238E27FC236}">
                  <a16:creationId xmlns:a16="http://schemas.microsoft.com/office/drawing/2014/main" id="{DF47D7D8-1177-5440-9D30-384D0310254F}"/>
                </a:ext>
              </a:extLst>
            </p:cNvPr>
            <p:cNvCxnSpPr/>
            <p:nvPr userDrawn="1"/>
          </p:nvCxnSpPr>
          <p:spPr>
            <a:xfrm>
              <a:off x="0" y="613156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2" name="Grupp 36">
              <a:extLst>
                <a:ext uri="{FF2B5EF4-FFF2-40B4-BE49-F238E27FC236}">
                  <a16:creationId xmlns:a16="http://schemas.microsoft.com/office/drawing/2014/main" id="{4073CAF2-D231-AA4E-B64C-4F29C3524743}"/>
                </a:ext>
              </a:extLst>
            </p:cNvPr>
            <p:cNvGrpSpPr/>
            <p:nvPr userDrawn="1"/>
          </p:nvGrpSpPr>
          <p:grpSpPr>
            <a:xfrm>
              <a:off x="-1" y="-8036"/>
              <a:ext cx="2513041" cy="1609752"/>
              <a:chOff x="-1" y="-8036"/>
              <a:chExt cx="2513041" cy="1609752"/>
            </a:xfrm>
          </p:grpSpPr>
          <p:sp>
            <p:nvSpPr>
              <p:cNvPr id="23" name="textruta 27">
                <a:extLst>
                  <a:ext uri="{FF2B5EF4-FFF2-40B4-BE49-F238E27FC236}">
                    <a16:creationId xmlns:a16="http://schemas.microsoft.com/office/drawing/2014/main" id="{408EBDF5-7E15-7E46-9D84-3C9DAC73CFEA}"/>
                  </a:ext>
                </a:extLst>
              </p:cNvPr>
              <p:cNvSpPr txBox="1"/>
              <p:nvPr/>
            </p:nvSpPr>
            <p:spPr>
              <a:xfrm>
                <a:off x="2128926" y="257555"/>
                <a:ext cx="384114"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Arial" panose="020B0604020202020204"/>
                    <a:ea typeface="+mn-ea"/>
                    <a:cs typeface="+mn-cs"/>
                  </a:rPr>
                  <a:t>8 mm</a:t>
                </a:r>
              </a:p>
            </p:txBody>
          </p:sp>
          <p:sp>
            <p:nvSpPr>
              <p:cNvPr id="24" name="textruta 28">
                <a:extLst>
                  <a:ext uri="{FF2B5EF4-FFF2-40B4-BE49-F238E27FC236}">
                    <a16:creationId xmlns:a16="http://schemas.microsoft.com/office/drawing/2014/main" id="{59DAB34A-4CCD-084F-8415-4B0E6D9C875C}"/>
                  </a:ext>
                </a:extLst>
              </p:cNvPr>
              <p:cNvSpPr txBox="1"/>
              <p:nvPr/>
            </p:nvSpPr>
            <p:spPr>
              <a:xfrm>
                <a:off x="583563" y="259993"/>
                <a:ext cx="470490"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Arial" panose="020B0604020202020204"/>
                    <a:ea typeface="+mn-ea"/>
                    <a:cs typeface="+mn-cs"/>
                  </a:rPr>
                  <a:t>20 mm</a:t>
                </a:r>
              </a:p>
            </p:txBody>
          </p:sp>
          <p:sp>
            <p:nvSpPr>
              <p:cNvPr id="25" name="textruta 29">
                <a:extLst>
                  <a:ext uri="{FF2B5EF4-FFF2-40B4-BE49-F238E27FC236}">
                    <a16:creationId xmlns:a16="http://schemas.microsoft.com/office/drawing/2014/main" id="{B0319B5D-5C11-CC4E-A42F-45B4A1495C3A}"/>
                  </a:ext>
                </a:extLst>
              </p:cNvPr>
              <p:cNvSpPr txBox="1"/>
              <p:nvPr/>
            </p:nvSpPr>
            <p:spPr>
              <a:xfrm>
                <a:off x="-1" y="1313356"/>
                <a:ext cx="5746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Arial" panose="020B0604020202020204"/>
                    <a:ea typeface="+mn-ea"/>
                    <a:cs typeface="+mn-cs"/>
                  </a:rPr>
                  <a:t>16 mm</a:t>
                </a:r>
              </a:p>
            </p:txBody>
          </p:sp>
          <p:cxnSp>
            <p:nvCxnSpPr>
              <p:cNvPr id="26" name="Rak 30">
                <a:extLst>
                  <a:ext uri="{FF2B5EF4-FFF2-40B4-BE49-F238E27FC236}">
                    <a16:creationId xmlns:a16="http://schemas.microsoft.com/office/drawing/2014/main" id="{7254C707-F54B-3341-9421-3BCE67F2FDE4}"/>
                  </a:ext>
                </a:extLst>
              </p:cNvPr>
              <p:cNvCxnSpPr/>
              <p:nvPr/>
            </p:nvCxnSpPr>
            <p:spPr>
              <a:xfrm>
                <a:off x="1217245" y="-8036"/>
                <a:ext cx="0" cy="72072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Rak 31">
                <a:extLst>
                  <a:ext uri="{FF2B5EF4-FFF2-40B4-BE49-F238E27FC236}">
                    <a16:creationId xmlns:a16="http://schemas.microsoft.com/office/drawing/2014/main" id="{5CFF8254-561E-4946-85FF-5C226AFFC785}"/>
                  </a:ext>
                </a:extLst>
              </p:cNvPr>
              <p:cNvCxnSpPr>
                <a:cxnSpLocks/>
              </p:cNvCxnSpPr>
              <p:nvPr/>
            </p:nvCxnSpPr>
            <p:spPr>
              <a:xfrm>
                <a:off x="1128180" y="348224"/>
                <a:ext cx="89065"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Rak 32">
                <a:extLst>
                  <a:ext uri="{FF2B5EF4-FFF2-40B4-BE49-F238E27FC236}">
                    <a16:creationId xmlns:a16="http://schemas.microsoft.com/office/drawing/2014/main" id="{0699D758-408B-E845-8449-FDF2F4CFE99E}"/>
                  </a:ext>
                </a:extLst>
              </p:cNvPr>
              <p:cNvCxnSpPr>
                <a:cxnSpLocks/>
              </p:cNvCxnSpPr>
              <p:nvPr/>
            </p:nvCxnSpPr>
            <p:spPr>
              <a:xfrm flipH="1">
                <a:off x="1" y="1601715"/>
                <a:ext cx="574675" cy="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Rak 33">
                <a:extLst>
                  <a:ext uri="{FF2B5EF4-FFF2-40B4-BE49-F238E27FC236}">
                    <a16:creationId xmlns:a16="http://schemas.microsoft.com/office/drawing/2014/main" id="{D2C3CFE2-C214-F544-8C2B-B78316799C23}"/>
                  </a:ext>
                </a:extLst>
              </p:cNvPr>
              <p:cNvCxnSpPr>
                <a:cxnSpLocks/>
              </p:cNvCxnSpPr>
              <p:nvPr/>
            </p:nvCxnSpPr>
            <p:spPr>
              <a:xfrm rot="5400000">
                <a:off x="242806" y="1557183"/>
                <a:ext cx="89065"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Rak 34">
                <a:extLst>
                  <a:ext uri="{FF2B5EF4-FFF2-40B4-BE49-F238E27FC236}">
                    <a16:creationId xmlns:a16="http://schemas.microsoft.com/office/drawing/2014/main" id="{66360723-ED83-5E43-99F0-C30D4860EB97}"/>
                  </a:ext>
                </a:extLst>
              </p:cNvPr>
              <p:cNvCxnSpPr>
                <a:cxnSpLocks/>
              </p:cNvCxnSpPr>
              <p:nvPr/>
            </p:nvCxnSpPr>
            <p:spPr>
              <a:xfrm flipH="1">
                <a:off x="2173859" y="545915"/>
                <a:ext cx="289941"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Rak 35">
                <a:extLst>
                  <a:ext uri="{FF2B5EF4-FFF2-40B4-BE49-F238E27FC236}">
                    <a16:creationId xmlns:a16="http://schemas.microsoft.com/office/drawing/2014/main" id="{BBBC5458-E333-CF4F-B0CB-264B70DE25C4}"/>
                  </a:ext>
                </a:extLst>
              </p:cNvPr>
              <p:cNvCxnSpPr>
                <a:cxnSpLocks/>
              </p:cNvCxnSpPr>
              <p:nvPr/>
            </p:nvCxnSpPr>
            <p:spPr>
              <a:xfrm rot="5400000">
                <a:off x="2274297" y="501382"/>
                <a:ext cx="89065"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35" name="Text Placeholder 2">
            <a:extLst>
              <a:ext uri="{FF2B5EF4-FFF2-40B4-BE49-F238E27FC236}">
                <a16:creationId xmlns:a16="http://schemas.microsoft.com/office/drawing/2014/main" id="{B36444E1-9481-3246-8530-C77C48B222A1}"/>
              </a:ext>
            </a:extLst>
          </p:cNvPr>
          <p:cNvSpPr>
            <a:spLocks noGrp="1"/>
          </p:cNvSpPr>
          <p:nvPr>
            <p:ph type="body" idx="1"/>
          </p:nvPr>
        </p:nvSpPr>
        <p:spPr>
          <a:xfrm>
            <a:off x="576000" y="1825625"/>
            <a:ext cx="11028679" cy="430371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8" name="Platshållare för datum 3">
            <a:extLst>
              <a:ext uri="{FF2B5EF4-FFF2-40B4-BE49-F238E27FC236}">
                <a16:creationId xmlns:a16="http://schemas.microsoft.com/office/drawing/2014/main" id="{4242F37A-724B-BB45-810B-98F9E5801999}"/>
              </a:ext>
            </a:extLst>
          </p:cNvPr>
          <p:cNvSpPr>
            <a:spLocks noGrp="1"/>
          </p:cNvSpPr>
          <p:nvPr>
            <p:ph type="dt" sz="half" idx="2"/>
          </p:nvPr>
        </p:nvSpPr>
        <p:spPr>
          <a:xfrm>
            <a:off x="2185246" y="6454800"/>
            <a:ext cx="1878120" cy="112593"/>
          </a:xfrm>
          <a:prstGeom prst="rect">
            <a:avLst/>
          </a:prstGeom>
        </p:spPr>
        <p:txBody>
          <a:bodyPr vert="horz" lIns="0" tIns="0" rIns="0" bIns="0" rtlCol="0" anchor="b"/>
          <a:lstStyle>
            <a:lvl1pPr algn="l">
              <a:defRPr sz="800" spc="50" baseline="0">
                <a:solidFill>
                  <a:schemeClr val="bg2"/>
                </a:solidFill>
              </a:defRPr>
            </a:lvl1pPr>
          </a:lstStyle>
          <a:p>
            <a:fld id="{72863970-E853-F74E-B386-2DE5A779D478}" type="datetime1">
              <a:rPr lang="en-US" smtClean="0"/>
              <a:pPr/>
              <a:t>10/17/2023</a:t>
            </a:fld>
            <a:endParaRPr lang="en-US"/>
          </a:p>
        </p:txBody>
      </p:sp>
      <p:sp>
        <p:nvSpPr>
          <p:cNvPr id="39" name="Platshållare för sidfot 4">
            <a:extLst>
              <a:ext uri="{FF2B5EF4-FFF2-40B4-BE49-F238E27FC236}">
                <a16:creationId xmlns:a16="http://schemas.microsoft.com/office/drawing/2014/main" id="{E70541BD-5E93-944A-AF9C-57328432E7E0}"/>
              </a:ext>
            </a:extLst>
          </p:cNvPr>
          <p:cNvSpPr>
            <a:spLocks noGrp="1"/>
          </p:cNvSpPr>
          <p:nvPr>
            <p:ph type="ftr" sz="quarter" idx="3"/>
          </p:nvPr>
        </p:nvSpPr>
        <p:spPr>
          <a:xfrm>
            <a:off x="4359276" y="6454800"/>
            <a:ext cx="3470274" cy="112593"/>
          </a:xfrm>
          <a:prstGeom prst="rect">
            <a:avLst/>
          </a:prstGeom>
        </p:spPr>
        <p:txBody>
          <a:bodyPr vert="horz" lIns="0" tIns="0" rIns="0" bIns="0" rtlCol="0" anchor="b"/>
          <a:lstStyle>
            <a:lvl1pPr algn="l">
              <a:defRPr sz="800" spc="50" baseline="0">
                <a:solidFill>
                  <a:schemeClr val="bg2"/>
                </a:solidFill>
              </a:defRPr>
            </a:lvl1pPr>
          </a:lstStyle>
          <a:p>
            <a:r>
              <a:rPr lang="en-US"/>
              <a:t>Go to header/footer to change text </a:t>
            </a:r>
          </a:p>
        </p:txBody>
      </p:sp>
      <p:sp>
        <p:nvSpPr>
          <p:cNvPr id="40" name="Platshållare för bildnummer 5">
            <a:extLst>
              <a:ext uri="{FF2B5EF4-FFF2-40B4-BE49-F238E27FC236}">
                <a16:creationId xmlns:a16="http://schemas.microsoft.com/office/drawing/2014/main" id="{DA69EF2E-7865-3E4D-A63C-41C17B87DF45}"/>
              </a:ext>
            </a:extLst>
          </p:cNvPr>
          <p:cNvSpPr>
            <a:spLocks noGrp="1"/>
          </p:cNvSpPr>
          <p:nvPr>
            <p:ph type="sldNum" sz="quarter" idx="4"/>
          </p:nvPr>
        </p:nvSpPr>
        <p:spPr>
          <a:xfrm>
            <a:off x="10013315" y="6454800"/>
            <a:ext cx="1590676" cy="112593"/>
          </a:xfrm>
          <a:prstGeom prst="rect">
            <a:avLst/>
          </a:prstGeom>
        </p:spPr>
        <p:txBody>
          <a:bodyPr vert="horz" lIns="0" tIns="0" rIns="0" bIns="0" rtlCol="0" anchor="b"/>
          <a:lstStyle>
            <a:lvl1pPr algn="r">
              <a:defRPr sz="800" spc="50" baseline="0">
                <a:solidFill>
                  <a:schemeClr val="bg2"/>
                </a:solidFill>
              </a:defRPr>
            </a:lvl1pPr>
          </a:lstStyle>
          <a:p>
            <a:fld id="{EF8DBD5B-30F9-4F9C-AE39-E065C1AC514D}" type="slidenum">
              <a:rPr lang="en-US" smtClean="0"/>
              <a:pPr/>
              <a:t>‹#›</a:t>
            </a:fld>
            <a:endParaRPr lang="en-US"/>
          </a:p>
        </p:txBody>
      </p:sp>
    </p:spTree>
    <p:extLst>
      <p:ext uri="{BB962C8B-B14F-4D97-AF65-F5344CB8AC3E}">
        <p14:creationId xmlns:p14="http://schemas.microsoft.com/office/powerpoint/2010/main" val="1647070999"/>
      </p:ext>
    </p:extLst>
  </p:cSld>
  <p:clrMap bg1="dk1" tx1="lt1" bg2="dk2" tx2="lt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23" r:id="rId7"/>
    <p:sldLayoutId id="2147483708" r:id="rId8"/>
    <p:sldLayoutId id="2147483709" r:id="rId9"/>
    <p:sldLayoutId id="2147483710" r:id="rId10"/>
    <p:sldLayoutId id="2147483711" r:id="rId11"/>
    <p:sldLayoutId id="2147483712" r:id="rId12"/>
    <p:sldLayoutId id="2147483732" r:id="rId13"/>
    <p:sldLayoutId id="2147483713" r:id="rId14"/>
    <p:sldLayoutId id="2147483731" r:id="rId15"/>
    <p:sldLayoutId id="2147483721" r:id="rId16"/>
    <p:sldLayoutId id="2147483714" r:id="rId17"/>
    <p:sldLayoutId id="2147483715" r:id="rId18"/>
    <p:sldLayoutId id="2147483724" r:id="rId19"/>
  </p:sldLayoutIdLst>
  <p:hf hdr="0"/>
  <p:txStyles>
    <p:titleStyle>
      <a:lvl1pPr algn="l" defTabSz="914400" rtl="0" eaLnBrk="1" latinLnBrk="0" hangingPunct="1">
        <a:lnSpc>
          <a:spcPct val="90000"/>
        </a:lnSpc>
        <a:spcBef>
          <a:spcPct val="0"/>
        </a:spcBef>
        <a:buNone/>
        <a:defRPr sz="3600" kern="1200">
          <a:solidFill>
            <a:schemeClr val="bg2"/>
          </a:solidFill>
          <a:latin typeface="+mj-lt"/>
          <a:ea typeface="+mj-ea"/>
          <a:cs typeface="+mj-cs"/>
        </a:defRPr>
      </a:lvl1pPr>
    </p:titleStyle>
    <p:bodyStyle>
      <a:lvl1pPr marL="182563" indent="-176400" algn="l" defTabSz="914400" rtl="0" eaLnBrk="1" latinLnBrk="0" hangingPunct="1">
        <a:lnSpc>
          <a:spcPct val="100000"/>
        </a:lnSpc>
        <a:spcBef>
          <a:spcPts val="1000"/>
        </a:spcBef>
        <a:buFont typeface="Arial" panose="020B0604020202020204" pitchFamily="34" charset="0"/>
        <a:buChar char="•"/>
        <a:tabLst/>
        <a:defRPr sz="1600" kern="1200" spc="40" baseline="0">
          <a:solidFill>
            <a:schemeClr val="bg2"/>
          </a:solidFill>
          <a:latin typeface="+mn-lt"/>
          <a:ea typeface="+mn-ea"/>
          <a:cs typeface="+mn-cs"/>
        </a:defRPr>
      </a:lvl1pPr>
      <a:lvl2pPr marL="361950" indent="-180975" algn="l" defTabSz="914400" rtl="0" eaLnBrk="1" latinLnBrk="0" hangingPunct="1">
        <a:lnSpc>
          <a:spcPct val="100000"/>
        </a:lnSpc>
        <a:spcBef>
          <a:spcPts val="500"/>
        </a:spcBef>
        <a:buFont typeface="Arial" panose="020B0604020202020204" pitchFamily="34" charset="0"/>
        <a:buChar char="•"/>
        <a:tabLst/>
        <a:defRPr sz="1600" kern="1200" spc="40" baseline="0">
          <a:solidFill>
            <a:schemeClr val="bg2"/>
          </a:solidFill>
          <a:latin typeface="+mn-lt"/>
          <a:ea typeface="+mn-ea"/>
          <a:cs typeface="+mn-cs"/>
        </a:defRPr>
      </a:lvl2pPr>
      <a:lvl3pPr marL="534988" indent="-168275" algn="l" defTabSz="914400" rtl="0" eaLnBrk="1" latinLnBrk="0" hangingPunct="1">
        <a:lnSpc>
          <a:spcPct val="100000"/>
        </a:lnSpc>
        <a:spcBef>
          <a:spcPts val="500"/>
        </a:spcBef>
        <a:buFont typeface="Arial" panose="020B0604020202020204" pitchFamily="34" charset="0"/>
        <a:buChar char="•"/>
        <a:tabLst/>
        <a:defRPr sz="1400" kern="1200" spc="40" baseline="0">
          <a:solidFill>
            <a:schemeClr val="bg2"/>
          </a:solidFill>
          <a:latin typeface="+mn-lt"/>
          <a:ea typeface="+mn-ea"/>
          <a:cs typeface="+mn-cs"/>
        </a:defRPr>
      </a:lvl3pPr>
      <a:lvl4pPr marL="717550" indent="-182563" algn="l" defTabSz="914400" rtl="0" eaLnBrk="1" latinLnBrk="0" hangingPunct="1">
        <a:lnSpc>
          <a:spcPct val="100000"/>
        </a:lnSpc>
        <a:spcBef>
          <a:spcPts val="500"/>
        </a:spcBef>
        <a:buFont typeface="Arial" panose="020B0604020202020204" pitchFamily="34" charset="0"/>
        <a:buChar char="•"/>
        <a:tabLst/>
        <a:defRPr sz="1400" kern="1200" spc="40" baseline="0">
          <a:solidFill>
            <a:schemeClr val="bg2"/>
          </a:solidFill>
          <a:latin typeface="+mn-lt"/>
          <a:ea typeface="+mn-ea"/>
          <a:cs typeface="+mn-cs"/>
        </a:defRPr>
      </a:lvl4pPr>
      <a:lvl5pPr marL="890588" indent="-173038" algn="l" defTabSz="914400" rtl="0" eaLnBrk="1" latinLnBrk="0" hangingPunct="1">
        <a:lnSpc>
          <a:spcPct val="100000"/>
        </a:lnSpc>
        <a:spcBef>
          <a:spcPts val="500"/>
        </a:spcBef>
        <a:buFont typeface="Arial" panose="020B0604020202020204" pitchFamily="34" charset="0"/>
        <a:buChar char="•"/>
        <a:tabLst/>
        <a:defRPr sz="1200" kern="1200" spc="40" baseline="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BAE40"/>
          </p15:clr>
        </p15:guide>
        <p15:guide id="2" pos="3840">
          <p15:clr>
            <a:srgbClr val="FBAE40"/>
          </p15:clr>
        </p15:guide>
        <p15:guide id="3" pos="363">
          <p15:clr>
            <a:srgbClr val="000000"/>
          </p15:clr>
        </p15:guide>
        <p15:guide id="4" pos="7317">
          <p15:clr>
            <a:srgbClr val="000000"/>
          </p15:clr>
        </p15:guide>
        <p15:guide id="5" orient="horz" pos="454">
          <p15:clr>
            <a:srgbClr val="000000"/>
          </p15:clr>
        </p15:guide>
        <p15:guide id="6" pos="2739">
          <p15:clr>
            <a:srgbClr val="A4A3A4"/>
          </p15:clr>
        </p15:guide>
        <p15:guide id="7" pos="1553">
          <p15:clr>
            <a:srgbClr val="A4A3A4"/>
          </p15:clr>
        </p15:guide>
        <p15:guide id="9" pos="3750">
          <p15:clr>
            <a:srgbClr val="A4A3A4"/>
          </p15:clr>
        </p15:guide>
        <p15:guide id="10" pos="3930">
          <p15:clr>
            <a:srgbClr val="A4A3A4"/>
          </p15:clr>
        </p15:guide>
        <p15:guide id="11" pos="4932">
          <p15:clr>
            <a:srgbClr val="A4A3A4"/>
          </p15:clr>
        </p15:guide>
        <p15:guide id="12" pos="5120">
          <p15:clr>
            <a:srgbClr val="A4A3A4"/>
          </p15:clr>
        </p15:guide>
        <p15:guide id="13" pos="6123">
          <p15:clr>
            <a:srgbClr val="A4A3A4"/>
          </p15:clr>
        </p15:guide>
        <p15:guide id="15" orient="horz" pos="3861">
          <p15:clr>
            <a:srgbClr val="000000"/>
          </p15:clr>
        </p15:guide>
        <p15:guide id="17" pos="1370">
          <p15:clr>
            <a:srgbClr val="A4A3A4"/>
          </p15:clr>
        </p15:guide>
        <p15:guide id="18" orient="horz" pos="4120" userDrawn="1">
          <p15:clr>
            <a:srgbClr val="A4A3A4"/>
          </p15:clr>
        </p15:guide>
        <p15:guide id="19" orient="horz" pos="2092">
          <p15:clr>
            <a:srgbClr val="A4A3A4"/>
          </p15:clr>
        </p15:guide>
        <p15:guide id="20" orient="horz" pos="2228">
          <p15:clr>
            <a:srgbClr val="A4A3A4"/>
          </p15:clr>
        </p15:guide>
        <p15:guide id="21" pos="6306">
          <p15:clr>
            <a:srgbClr val="A4A3A4"/>
          </p15:clr>
        </p15:guide>
        <p15:guide id="22" pos="2556">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0.xml"/><Relationship Id="rId1" Type="http://schemas.openxmlformats.org/officeDocument/2006/relationships/slideLayout" Target="../slideLayouts/slideLayout24.xml"/><Relationship Id="rId4" Type="http://schemas.openxmlformats.org/officeDocument/2006/relationships/image" Target="../media/image38.jpeg"/></Relationships>
</file>

<file path=ppt/slides/_rels/slide11.xml.rels><?xml version="1.0" encoding="UTF-8" standalone="yes"?>
<Relationships xmlns="http://schemas.openxmlformats.org/package/2006/relationships"><Relationship Id="rId3" Type="http://schemas.microsoft.com/office/2018/10/relationships/comments" Target="../comments/modernComment_86A1334_7C76443F.xml"/><Relationship Id="rId2" Type="http://schemas.openxmlformats.org/officeDocument/2006/relationships/notesSlide" Target="../notesSlides/notesSlide11.xml"/><Relationship Id="rId1" Type="http://schemas.openxmlformats.org/officeDocument/2006/relationships/slideLayout" Target="../slideLayouts/slideLayout24.xml"/><Relationship Id="rId5" Type="http://schemas.openxmlformats.org/officeDocument/2006/relationships/image" Target="../media/image28.png"/><Relationship Id="rId4" Type="http://schemas.openxmlformats.org/officeDocument/2006/relationships/image" Target="../media/image39.jpeg"/></Relationships>
</file>

<file path=ppt/slides/_rels/slide12.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40.jpeg"/><Relationship Id="rId7" Type="http://schemas.openxmlformats.org/officeDocument/2006/relationships/image" Target="../media/image31.png"/><Relationship Id="rId12" Type="http://schemas.openxmlformats.org/officeDocument/2006/relationships/image" Target="../media/image45.jpeg"/><Relationship Id="rId2" Type="http://schemas.openxmlformats.org/officeDocument/2006/relationships/notesSlide" Target="../notesSlides/notesSlide12.xml"/><Relationship Id="rId1" Type="http://schemas.openxmlformats.org/officeDocument/2006/relationships/slideLayout" Target="../slideLayouts/slideLayout46.xml"/><Relationship Id="rId6" Type="http://schemas.openxmlformats.org/officeDocument/2006/relationships/image" Target="../media/image43.jpeg"/><Relationship Id="rId11" Type="http://schemas.openxmlformats.org/officeDocument/2006/relationships/image" Target="../media/image44.jpeg"/><Relationship Id="rId5" Type="http://schemas.openxmlformats.org/officeDocument/2006/relationships/image" Target="../media/image42.jpeg"/><Relationship Id="rId10" Type="http://schemas.openxmlformats.org/officeDocument/2006/relationships/image" Target="../media/image34.png"/><Relationship Id="rId4" Type="http://schemas.openxmlformats.org/officeDocument/2006/relationships/image" Target="../media/image41.jpeg"/><Relationship Id="rId9" Type="http://schemas.openxmlformats.org/officeDocument/2006/relationships/image" Target="../media/image32.png"/></Relationships>
</file>

<file path=ppt/slides/_rels/slide13.xml.rels><?xml version="1.0" encoding="UTF-8" standalone="yes"?>
<Relationships xmlns="http://schemas.openxmlformats.org/package/2006/relationships"><Relationship Id="rId8" Type="http://schemas.openxmlformats.org/officeDocument/2006/relationships/image" Target="../media/image51.png"/><Relationship Id="rId13" Type="http://schemas.openxmlformats.org/officeDocument/2006/relationships/image" Target="../media/image56.png"/><Relationship Id="rId3" Type="http://schemas.openxmlformats.org/officeDocument/2006/relationships/image" Target="../media/image46.jpeg"/><Relationship Id="rId7" Type="http://schemas.openxmlformats.org/officeDocument/2006/relationships/image" Target="../media/image50.jpeg"/><Relationship Id="rId12" Type="http://schemas.openxmlformats.org/officeDocument/2006/relationships/image" Target="../media/image55.png"/><Relationship Id="rId2" Type="http://schemas.openxmlformats.org/officeDocument/2006/relationships/notesSlide" Target="../notesSlides/notesSlide13.xml"/><Relationship Id="rId1" Type="http://schemas.openxmlformats.org/officeDocument/2006/relationships/slideLayout" Target="../slideLayouts/slideLayout48.xml"/><Relationship Id="rId6" Type="http://schemas.openxmlformats.org/officeDocument/2006/relationships/image" Target="../media/image49.jpeg"/><Relationship Id="rId11" Type="http://schemas.openxmlformats.org/officeDocument/2006/relationships/image" Target="../media/image54.png"/><Relationship Id="rId5" Type="http://schemas.openxmlformats.org/officeDocument/2006/relationships/image" Target="../media/image48.jpeg"/><Relationship Id="rId10" Type="http://schemas.openxmlformats.org/officeDocument/2006/relationships/image" Target="../media/image53.jpeg"/><Relationship Id="rId4" Type="http://schemas.openxmlformats.org/officeDocument/2006/relationships/image" Target="../media/image47.jpeg"/><Relationship Id="rId9" Type="http://schemas.openxmlformats.org/officeDocument/2006/relationships/image" Target="../media/image52.jpeg"/><Relationship Id="rId14" Type="http://schemas.openxmlformats.org/officeDocument/2006/relationships/image" Target="../media/image57.png"/></Relationships>
</file>

<file path=ppt/slides/_rels/slide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2.xml"/><Relationship Id="rId1" Type="http://schemas.openxmlformats.org/officeDocument/2006/relationships/slideLayout" Target="../slideLayouts/slideLayout45.xml"/></Relationships>
</file>

<file path=ppt/slides/_rels/slide3.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8.png"/><Relationship Id="rId3" Type="http://schemas.openxmlformats.org/officeDocument/2006/relationships/image" Target="../media/image8.png"/><Relationship Id="rId7" Type="http://schemas.openxmlformats.org/officeDocument/2006/relationships/image" Target="../media/image12.png"/><Relationship Id="rId12" Type="http://schemas.openxmlformats.org/officeDocument/2006/relationships/image" Target="../media/image17.svg"/><Relationship Id="rId2" Type="http://schemas.openxmlformats.org/officeDocument/2006/relationships/notesSlide" Target="../notesSlides/notesSlide3.xml"/><Relationship Id="rId16" Type="http://schemas.openxmlformats.org/officeDocument/2006/relationships/image" Target="../media/image21.svg"/><Relationship Id="rId1" Type="http://schemas.openxmlformats.org/officeDocument/2006/relationships/slideLayout" Target="../slideLayouts/slideLayout49.xml"/><Relationship Id="rId6" Type="http://schemas.openxmlformats.org/officeDocument/2006/relationships/image" Target="../media/image11.png"/><Relationship Id="rId11" Type="http://schemas.openxmlformats.org/officeDocument/2006/relationships/image" Target="../media/image16.png"/><Relationship Id="rId5" Type="http://schemas.openxmlformats.org/officeDocument/2006/relationships/image" Target="../media/image10.png"/><Relationship Id="rId15" Type="http://schemas.openxmlformats.org/officeDocument/2006/relationships/image" Target="../media/image20.png"/><Relationship Id="rId10" Type="http://schemas.openxmlformats.org/officeDocument/2006/relationships/image" Target="../media/image15.svg"/><Relationship Id="rId4" Type="http://schemas.openxmlformats.org/officeDocument/2006/relationships/image" Target="../media/image9.png"/><Relationship Id="rId9" Type="http://schemas.openxmlformats.org/officeDocument/2006/relationships/image" Target="../media/image14.png"/><Relationship Id="rId14" Type="http://schemas.openxmlformats.org/officeDocument/2006/relationships/image" Target="../media/image19.svg"/></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47.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chart" Target="../charts/chart2.xml"/></Relationships>
</file>

<file path=ppt/slides/_rels/slide5.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notesSlide" Target="../notesSlides/notesSlide5.xml"/><Relationship Id="rId7" Type="http://schemas.openxmlformats.org/officeDocument/2006/relationships/chart" Target="../charts/chart5.xml"/><Relationship Id="rId2" Type="http://schemas.openxmlformats.org/officeDocument/2006/relationships/slideLayout" Target="../slideLayouts/slideLayout50.xml"/><Relationship Id="rId1" Type="http://schemas.openxmlformats.org/officeDocument/2006/relationships/tags" Target="../tags/tag1.xml"/><Relationship Id="rId6" Type="http://schemas.openxmlformats.org/officeDocument/2006/relationships/image" Target="../media/image23.jpeg"/><Relationship Id="rId5" Type="http://schemas.openxmlformats.org/officeDocument/2006/relationships/image" Target="../media/image22.emf"/><Relationship Id="rId4" Type="http://schemas.openxmlformats.org/officeDocument/2006/relationships/oleObject" Target="../embeddings/oleObject1.bin"/></Relationships>
</file>

<file path=ppt/slides/_rels/slide6.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3.png"/><Relationship Id="rId3" Type="http://schemas.openxmlformats.org/officeDocument/2006/relationships/image" Target="../media/image25.png"/><Relationship Id="rId7" Type="http://schemas.openxmlformats.org/officeDocument/2006/relationships/image" Target="../media/image29.png"/><Relationship Id="rId12" Type="http://schemas.openxmlformats.org/officeDocument/2006/relationships/image" Target="../media/image13.png"/><Relationship Id="rId2" Type="http://schemas.openxmlformats.org/officeDocument/2006/relationships/notesSlide" Target="../notesSlides/notesSlide6.xml"/><Relationship Id="rId1" Type="http://schemas.openxmlformats.org/officeDocument/2006/relationships/slideLayout" Target="../slideLayouts/slideLayout44.xml"/><Relationship Id="rId6" Type="http://schemas.openxmlformats.org/officeDocument/2006/relationships/image" Target="../media/image28.png"/><Relationship Id="rId11" Type="http://schemas.openxmlformats.org/officeDocument/2006/relationships/image" Target="../media/image8.png"/><Relationship Id="rId5" Type="http://schemas.openxmlformats.org/officeDocument/2006/relationships/image" Target="../media/image27.png"/><Relationship Id="rId10" Type="http://schemas.openxmlformats.org/officeDocument/2006/relationships/image" Target="../media/image32.png"/><Relationship Id="rId4" Type="http://schemas.openxmlformats.org/officeDocument/2006/relationships/image" Target="../media/image26.png"/><Relationship Id="rId9" Type="http://schemas.openxmlformats.org/officeDocument/2006/relationships/image" Target="../media/image31.png"/><Relationship Id="rId14" Type="http://schemas.openxmlformats.org/officeDocument/2006/relationships/image" Target="../media/image34.png"/></Relationships>
</file>

<file path=ppt/slides/_rels/slide7.xml.rels><?xml version="1.0" encoding="UTF-8" standalone="yes"?>
<Relationships xmlns="http://schemas.openxmlformats.org/package/2006/relationships"><Relationship Id="rId3" Type="http://schemas.microsoft.com/office/2018/10/relationships/comments" Target="../comments/modernComment_1A169_5FF56BAD.xml"/><Relationship Id="rId2" Type="http://schemas.openxmlformats.org/officeDocument/2006/relationships/notesSlide" Target="../notesSlides/notesSlide7.xml"/><Relationship Id="rId1" Type="http://schemas.openxmlformats.org/officeDocument/2006/relationships/slideLayout" Target="../slideLayouts/slideLayout24.xml"/><Relationship Id="rId5" Type="http://schemas.openxmlformats.org/officeDocument/2006/relationships/image" Target="../media/image8.png"/><Relationship Id="rId4" Type="http://schemas.openxmlformats.org/officeDocument/2006/relationships/image" Target="../media/image35.jpeg"/></Relationships>
</file>

<file path=ppt/slides/_rels/slide8.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8.xml"/><Relationship Id="rId1" Type="http://schemas.openxmlformats.org/officeDocument/2006/relationships/slideLayout" Target="../slideLayouts/slideLayout24.xml"/><Relationship Id="rId4" Type="http://schemas.openxmlformats.org/officeDocument/2006/relationships/image" Target="../media/image29.png"/></Relationships>
</file>

<file path=ppt/slides/_rels/slide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9.xml"/><Relationship Id="rId1" Type="http://schemas.openxmlformats.org/officeDocument/2006/relationships/slideLayout" Target="../slideLayouts/slideLayout24.xml"/><Relationship Id="rId4" Type="http://schemas.openxmlformats.org/officeDocument/2006/relationships/image" Target="../media/image37.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A39671EB-1936-419E-9F87-7E91A304D69E}"/>
              </a:ext>
            </a:extLst>
          </p:cNvPr>
          <p:cNvSpPr>
            <a:spLocks noGrp="1"/>
          </p:cNvSpPr>
          <p:nvPr>
            <p:ph type="dt" sz="half" idx="2"/>
          </p:nvPr>
        </p:nvSpPr>
        <p:spPr/>
        <p:txBody>
          <a:bodyPr/>
          <a:lstStyle/>
          <a:p>
            <a:fld id="{2F9806AD-009B-8D45-82A9-B9E8234B6322}" type="datetime1">
              <a:rPr lang="en-US" noProof="0" smtClean="0"/>
              <a:t>10/17/2023</a:t>
            </a:fld>
            <a:endParaRPr lang="en-US" noProof="0"/>
          </a:p>
        </p:txBody>
      </p:sp>
      <p:sp>
        <p:nvSpPr>
          <p:cNvPr id="4" name="Footer Placeholder 3">
            <a:extLst>
              <a:ext uri="{FF2B5EF4-FFF2-40B4-BE49-F238E27FC236}">
                <a16:creationId xmlns:a16="http://schemas.microsoft.com/office/drawing/2014/main" id="{94476275-13BD-491C-8FAB-F5F6BDC7B509}"/>
              </a:ext>
            </a:extLst>
          </p:cNvPr>
          <p:cNvSpPr>
            <a:spLocks noGrp="1"/>
          </p:cNvSpPr>
          <p:nvPr>
            <p:ph type="ftr" sz="quarter" idx="3"/>
          </p:nvPr>
        </p:nvSpPr>
        <p:spPr/>
        <p:txBody>
          <a:bodyPr/>
          <a:lstStyle/>
          <a:p>
            <a:r>
              <a:rPr lang="en-US" noProof="0"/>
              <a:t>Go to header/footer to change text </a:t>
            </a:r>
          </a:p>
        </p:txBody>
      </p:sp>
      <p:sp>
        <p:nvSpPr>
          <p:cNvPr id="5" name="Slide Number Placeholder 4">
            <a:extLst>
              <a:ext uri="{FF2B5EF4-FFF2-40B4-BE49-F238E27FC236}">
                <a16:creationId xmlns:a16="http://schemas.microsoft.com/office/drawing/2014/main" id="{47988257-BFC6-4A70-B0DE-849256F118C9}"/>
              </a:ext>
            </a:extLst>
          </p:cNvPr>
          <p:cNvSpPr>
            <a:spLocks noGrp="1"/>
          </p:cNvSpPr>
          <p:nvPr>
            <p:ph type="sldNum" sz="quarter" idx="4"/>
          </p:nvPr>
        </p:nvSpPr>
        <p:spPr/>
        <p:txBody>
          <a:bodyPr/>
          <a:lstStyle/>
          <a:p>
            <a:fld id="{EF8DBD5B-30F9-4F9C-AE39-E065C1AC514D}" type="slidenum">
              <a:rPr lang="en-US" noProof="0" smtClean="0"/>
              <a:pPr/>
              <a:t>1</a:t>
            </a:fld>
            <a:endParaRPr lang="en-US" noProof="0"/>
          </a:p>
        </p:txBody>
      </p:sp>
      <p:sp>
        <p:nvSpPr>
          <p:cNvPr id="6" name="Text Placeholder 5">
            <a:extLst>
              <a:ext uri="{FF2B5EF4-FFF2-40B4-BE49-F238E27FC236}">
                <a16:creationId xmlns:a16="http://schemas.microsoft.com/office/drawing/2014/main" id="{15EC3944-C594-4E9F-BAE4-9F140640E554}"/>
              </a:ext>
            </a:extLst>
          </p:cNvPr>
          <p:cNvSpPr>
            <a:spLocks noGrp="1"/>
          </p:cNvSpPr>
          <p:nvPr>
            <p:ph type="body" sz="quarter" idx="14"/>
          </p:nvPr>
        </p:nvSpPr>
        <p:spPr/>
        <p:txBody>
          <a:bodyPr/>
          <a:lstStyle/>
          <a:p>
            <a:endParaRPr lang="nb-NO"/>
          </a:p>
        </p:txBody>
      </p:sp>
      <p:pic>
        <p:nvPicPr>
          <p:cNvPr id="16" name="Picture Placeholder 15">
            <a:extLst>
              <a:ext uri="{FF2B5EF4-FFF2-40B4-BE49-F238E27FC236}">
                <a16:creationId xmlns:a16="http://schemas.microsoft.com/office/drawing/2014/main" id="{7B493E10-C948-466E-BDA9-2E6208528840}"/>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t="7813" b="7813"/>
          <a:stretch>
            <a:fillRect/>
          </a:stretch>
        </p:blipFill>
        <p:spPr/>
      </p:pic>
      <p:sp>
        <p:nvSpPr>
          <p:cNvPr id="18" name="TextBox 17">
            <a:extLst>
              <a:ext uri="{FF2B5EF4-FFF2-40B4-BE49-F238E27FC236}">
                <a16:creationId xmlns:a16="http://schemas.microsoft.com/office/drawing/2014/main" id="{13165F16-3F2B-4013-8AD1-3C1F7DC2E33F}"/>
              </a:ext>
            </a:extLst>
          </p:cNvPr>
          <p:cNvSpPr txBox="1"/>
          <p:nvPr/>
        </p:nvSpPr>
        <p:spPr>
          <a:xfrm>
            <a:off x="2551113" y="5465773"/>
            <a:ext cx="7086600" cy="830997"/>
          </a:xfrm>
          <a:prstGeom prst="rect">
            <a:avLst/>
          </a:prstGeom>
          <a:noFill/>
        </p:spPr>
        <p:txBody>
          <a:bodyPr wrap="square">
            <a:spAutoFit/>
          </a:bodyPr>
          <a:lstStyle/>
          <a:p>
            <a:r>
              <a:rPr lang="nb-NO" sz="2400" b="0" i="1">
                <a:solidFill>
                  <a:schemeClr val="bg1"/>
                </a:solidFill>
                <a:effectLst/>
                <a:latin typeface="+mj-lt"/>
              </a:rPr>
              <a:t>- Klimaendringer og ressursknapphet - utfordrer vår evne til omstilling og nyskapning</a:t>
            </a:r>
            <a:endParaRPr lang="nb-NO" sz="2400" i="1">
              <a:solidFill>
                <a:schemeClr val="bg1"/>
              </a:solidFill>
              <a:latin typeface="+mj-lt"/>
            </a:endParaRPr>
          </a:p>
        </p:txBody>
      </p:sp>
    </p:spTree>
    <p:extLst>
      <p:ext uri="{BB962C8B-B14F-4D97-AF65-F5344CB8AC3E}">
        <p14:creationId xmlns:p14="http://schemas.microsoft.com/office/powerpoint/2010/main" val="97471424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lassholder for lysbildenummer 4">
            <a:extLst>
              <a:ext uri="{FF2B5EF4-FFF2-40B4-BE49-F238E27FC236}">
                <a16:creationId xmlns:a16="http://schemas.microsoft.com/office/drawing/2014/main" id="{DA1A7EBF-B848-3F6F-670A-2AD2C6CD8429}"/>
              </a:ext>
            </a:extLst>
          </p:cNvPr>
          <p:cNvSpPr>
            <a:spLocks noGrp="1"/>
          </p:cNvSpPr>
          <p:nvPr>
            <p:ph type="sldNum" sz="quarter" idx="4"/>
          </p:nvPr>
        </p:nvSpPr>
        <p:spPr/>
        <p:txBody>
          <a:bodyPr/>
          <a:lstStyle/>
          <a:p>
            <a:fld id="{EF8DBD5B-30F9-4F9C-AE39-E065C1AC514D}" type="slidenum">
              <a:rPr lang="en-US" noProof="0" smtClean="0"/>
              <a:pPr/>
              <a:t>10</a:t>
            </a:fld>
            <a:endParaRPr lang="en-US" noProof="0"/>
          </a:p>
        </p:txBody>
      </p:sp>
      <p:sp>
        <p:nvSpPr>
          <p:cNvPr id="6" name="Plassholder for tekst 5">
            <a:extLst>
              <a:ext uri="{FF2B5EF4-FFF2-40B4-BE49-F238E27FC236}">
                <a16:creationId xmlns:a16="http://schemas.microsoft.com/office/drawing/2014/main" id="{0D8F9E65-B164-44DD-BCEB-D790A005F186}"/>
              </a:ext>
            </a:extLst>
          </p:cNvPr>
          <p:cNvSpPr>
            <a:spLocks noGrp="1"/>
          </p:cNvSpPr>
          <p:nvPr>
            <p:ph type="body" sz="quarter" idx="21"/>
          </p:nvPr>
        </p:nvSpPr>
        <p:spPr/>
        <p:txBody>
          <a:bodyPr/>
          <a:lstStyle/>
          <a:p>
            <a:endParaRPr lang="nb-NO"/>
          </a:p>
        </p:txBody>
      </p:sp>
      <p:sp>
        <p:nvSpPr>
          <p:cNvPr id="15" name="Plassholder for tekst 2">
            <a:extLst>
              <a:ext uri="{FF2B5EF4-FFF2-40B4-BE49-F238E27FC236}">
                <a16:creationId xmlns:a16="http://schemas.microsoft.com/office/drawing/2014/main" id="{2AE202C7-4950-55B1-89E7-2362256CF75F}"/>
              </a:ext>
            </a:extLst>
          </p:cNvPr>
          <p:cNvSpPr txBox="1">
            <a:spLocks/>
          </p:cNvSpPr>
          <p:nvPr/>
        </p:nvSpPr>
        <p:spPr>
          <a:xfrm>
            <a:off x="293502" y="727972"/>
            <a:ext cx="5592393" cy="1365942"/>
          </a:xfrm>
          <a:prstGeom prst="rect">
            <a:avLst/>
          </a:prstGeom>
        </p:spPr>
        <p:txBody>
          <a:bodyPr vert="horz" lIns="0" tIns="0" rIns="0" bIns="0" rtlCol="0" anchor="t">
            <a:noAutofit/>
          </a:bodyPr>
          <a:lstStyle>
            <a:lvl1pPr marL="0" indent="0" algn="l" defTabSz="914400" rtl="0" eaLnBrk="1" latinLnBrk="0" hangingPunct="1">
              <a:lnSpc>
                <a:spcPct val="85000"/>
              </a:lnSpc>
              <a:spcBef>
                <a:spcPts val="0"/>
              </a:spcBef>
              <a:buFont typeface="Arial" panose="020B0604020202020204" pitchFamily="34" charset="0"/>
              <a:buNone/>
              <a:tabLst/>
              <a:defRPr sz="3600" kern="1200" spc="40" baseline="0">
                <a:solidFill>
                  <a:schemeClr val="tx2"/>
                </a:solidFill>
                <a:latin typeface="+mj-lt"/>
                <a:ea typeface="+mn-ea"/>
                <a:cs typeface="+mn-cs"/>
              </a:defRPr>
            </a:lvl1pPr>
            <a:lvl2pPr marL="361950" indent="-180975" algn="l" defTabSz="914400" rtl="0" eaLnBrk="1" latinLnBrk="0" hangingPunct="1">
              <a:lnSpc>
                <a:spcPct val="100000"/>
              </a:lnSpc>
              <a:spcBef>
                <a:spcPts val="500"/>
              </a:spcBef>
              <a:buFont typeface="Arial" panose="020B0604020202020204" pitchFamily="34" charset="0"/>
              <a:buChar char="•"/>
              <a:tabLst/>
              <a:defRPr sz="1600" kern="1200" spc="40" baseline="0">
                <a:solidFill>
                  <a:schemeClr val="bg2"/>
                </a:solidFill>
                <a:latin typeface="+mn-lt"/>
                <a:ea typeface="+mn-ea"/>
                <a:cs typeface="+mn-cs"/>
              </a:defRPr>
            </a:lvl2pPr>
            <a:lvl3pPr marL="534988" indent="-168275" algn="l" defTabSz="914400" rtl="0" eaLnBrk="1" latinLnBrk="0" hangingPunct="1">
              <a:lnSpc>
                <a:spcPct val="100000"/>
              </a:lnSpc>
              <a:spcBef>
                <a:spcPts val="500"/>
              </a:spcBef>
              <a:buFont typeface="Arial" panose="020B0604020202020204" pitchFamily="34" charset="0"/>
              <a:buChar char="•"/>
              <a:tabLst/>
              <a:defRPr sz="1400" kern="1200" spc="40" baseline="0">
                <a:solidFill>
                  <a:schemeClr val="bg2"/>
                </a:solidFill>
                <a:latin typeface="+mn-lt"/>
                <a:ea typeface="+mn-ea"/>
                <a:cs typeface="+mn-cs"/>
              </a:defRPr>
            </a:lvl3pPr>
            <a:lvl4pPr marL="717550" indent="-182563" algn="l" defTabSz="914400" rtl="0" eaLnBrk="1" latinLnBrk="0" hangingPunct="1">
              <a:lnSpc>
                <a:spcPct val="100000"/>
              </a:lnSpc>
              <a:spcBef>
                <a:spcPts val="500"/>
              </a:spcBef>
              <a:buFont typeface="Arial" panose="020B0604020202020204" pitchFamily="34" charset="0"/>
              <a:buChar char="•"/>
              <a:tabLst/>
              <a:defRPr sz="1400" kern="1200" spc="40" baseline="0">
                <a:solidFill>
                  <a:schemeClr val="bg2"/>
                </a:solidFill>
                <a:latin typeface="+mn-lt"/>
                <a:ea typeface="+mn-ea"/>
                <a:cs typeface="+mn-cs"/>
              </a:defRPr>
            </a:lvl4pPr>
            <a:lvl5pPr marL="890588" indent="-173038" algn="l" defTabSz="914400" rtl="0" eaLnBrk="1" latinLnBrk="0" hangingPunct="1">
              <a:lnSpc>
                <a:spcPct val="100000"/>
              </a:lnSpc>
              <a:spcBef>
                <a:spcPts val="500"/>
              </a:spcBef>
              <a:buFont typeface="Arial" panose="020B0604020202020204" pitchFamily="34" charset="0"/>
              <a:buChar char="•"/>
              <a:tabLst/>
              <a:defRPr sz="1200" kern="1200" spc="40" baseline="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0"/>
              </a:spcBef>
              <a:spcAft>
                <a:spcPts val="0"/>
              </a:spcAft>
              <a:buClrTx/>
              <a:buSzTx/>
              <a:buFont typeface="Arial" panose="020B0604020202020204" pitchFamily="34" charset="0"/>
              <a:buNone/>
              <a:tabLst/>
              <a:defRPr/>
            </a:pPr>
            <a:r>
              <a:rPr kumimoji="0" lang="nb-NO" sz="3600" b="0" i="0" u="none" strike="noStrike" kern="1200" cap="none" spc="40" normalizeH="0" baseline="0" noProof="0">
                <a:ln>
                  <a:noFill/>
                </a:ln>
                <a:solidFill>
                  <a:srgbClr val="143275"/>
                </a:solidFill>
                <a:effectLst/>
                <a:uLnTx/>
                <a:uFillTx/>
                <a:latin typeface="Shape Sans Display"/>
                <a:ea typeface="+mn-ea"/>
                <a:cs typeface="+mn-cs"/>
              </a:rPr>
              <a:t>Vi må bruke materialer med minst mulig klimafotavtrykk</a:t>
            </a:r>
          </a:p>
        </p:txBody>
      </p:sp>
      <p:pic>
        <p:nvPicPr>
          <p:cNvPr id="9" name="Bilde 8">
            <a:extLst>
              <a:ext uri="{FF2B5EF4-FFF2-40B4-BE49-F238E27FC236}">
                <a16:creationId xmlns:a16="http://schemas.microsoft.com/office/drawing/2014/main" id="{540A78FE-B5C3-CA48-8493-3A69C145415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34441" y="2553403"/>
            <a:ext cx="3582698" cy="3306489"/>
          </a:xfrm>
          <a:prstGeom prst="rect">
            <a:avLst/>
          </a:prstGeom>
        </p:spPr>
      </p:pic>
      <p:pic>
        <p:nvPicPr>
          <p:cNvPr id="10" name="Plassholder for bilde 14">
            <a:extLst>
              <a:ext uri="{FF2B5EF4-FFF2-40B4-BE49-F238E27FC236}">
                <a16:creationId xmlns:a16="http://schemas.microsoft.com/office/drawing/2014/main" id="{9A06B627-5933-9B27-89BC-460D344F0209}"/>
              </a:ext>
            </a:extLst>
          </p:cNvPr>
          <p:cNvPicPr>
            <a:picLocks noChangeAspect="1"/>
          </p:cNvPicPr>
          <p:nvPr/>
        </p:nvPicPr>
        <p:blipFill>
          <a:blip r:embed="rId4">
            <a:extLst>
              <a:ext uri="{28A0092B-C50C-407E-A947-70E740481C1C}">
                <a14:useLocalDpi xmlns:a14="http://schemas.microsoft.com/office/drawing/2010/main" val="0"/>
              </a:ext>
            </a:extLst>
          </a:blip>
          <a:srcRect l="25000" r="25000"/>
          <a:stretch>
            <a:fillRect/>
          </a:stretch>
        </p:blipFill>
        <p:spPr>
          <a:xfrm>
            <a:off x="6306107" y="3"/>
            <a:ext cx="6095997" cy="6857997"/>
          </a:xfrm>
          <a:custGeom>
            <a:avLst/>
            <a:gdLst>
              <a:gd name="connsiteX0" fmla="*/ 0 w 6095997"/>
              <a:gd name="connsiteY0" fmla="*/ 0 h 6857997"/>
              <a:gd name="connsiteX1" fmla="*/ 6095997 w 6095997"/>
              <a:gd name="connsiteY1" fmla="*/ 0 h 6857997"/>
              <a:gd name="connsiteX2" fmla="*/ 6095997 w 6095997"/>
              <a:gd name="connsiteY2" fmla="*/ 3157535 h 6857997"/>
              <a:gd name="connsiteX3" fmla="*/ 6095997 w 6095997"/>
              <a:gd name="connsiteY3" fmla="*/ 3428998 h 6857997"/>
              <a:gd name="connsiteX4" fmla="*/ 6095997 w 6095997"/>
              <a:gd name="connsiteY4" fmla="*/ 6857997 h 6857997"/>
              <a:gd name="connsiteX5" fmla="*/ 0 w 6095997"/>
              <a:gd name="connsiteY5" fmla="*/ 6857997 h 6857997"/>
              <a:gd name="connsiteX6" fmla="*/ 0 w 6095997"/>
              <a:gd name="connsiteY6" fmla="*/ 3428998 h 6857997"/>
              <a:gd name="connsiteX7" fmla="*/ 0 w 6095997"/>
              <a:gd name="connsiteY7" fmla="*/ 3157535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5997" h="6857997">
                <a:moveTo>
                  <a:pt x="0" y="0"/>
                </a:moveTo>
                <a:lnTo>
                  <a:pt x="6095997" y="0"/>
                </a:lnTo>
                <a:lnTo>
                  <a:pt x="6095997" y="3157535"/>
                </a:lnTo>
                <a:lnTo>
                  <a:pt x="6095997" y="3428998"/>
                </a:lnTo>
                <a:lnTo>
                  <a:pt x="6095997" y="6857997"/>
                </a:lnTo>
                <a:lnTo>
                  <a:pt x="0" y="6857997"/>
                </a:lnTo>
                <a:lnTo>
                  <a:pt x="0" y="3428998"/>
                </a:lnTo>
                <a:lnTo>
                  <a:pt x="0" y="3157535"/>
                </a:lnTo>
                <a:close/>
              </a:path>
            </a:pathLst>
          </a:custGeom>
          <a:solidFill>
            <a:schemeClr val="accent6">
              <a:lumMod val="90000"/>
            </a:schemeClr>
          </a:solidFill>
        </p:spPr>
      </p:pic>
    </p:spTree>
    <p:extLst>
      <p:ext uri="{BB962C8B-B14F-4D97-AF65-F5344CB8AC3E}">
        <p14:creationId xmlns:p14="http://schemas.microsoft.com/office/powerpoint/2010/main" val="407036909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lassholder for bilde 11">
            <a:extLst>
              <a:ext uri="{FF2B5EF4-FFF2-40B4-BE49-F238E27FC236}">
                <a16:creationId xmlns:a16="http://schemas.microsoft.com/office/drawing/2014/main" id="{37136685-6443-6E9F-665D-AA6699C07707}"/>
              </a:ext>
            </a:extLst>
          </p:cNvPr>
          <p:cNvPicPr>
            <a:picLocks noGrp="1" noChangeAspect="1"/>
          </p:cNvPicPr>
          <p:nvPr>
            <p:ph type="pic" sz="quarter" idx="18"/>
          </p:nvPr>
        </p:nvPicPr>
        <p:blipFill rotWithShape="1">
          <a:blip r:embed="rId4">
            <a:extLst>
              <a:ext uri="{28A0092B-C50C-407E-A947-70E740481C1C}">
                <a14:useLocalDpi xmlns:a14="http://schemas.microsoft.com/office/drawing/2010/main" val="0"/>
              </a:ext>
            </a:extLst>
          </a:blip>
          <a:srcRect l="25056" r="25056"/>
          <a:stretch/>
        </p:blipFill>
        <p:spPr/>
      </p:pic>
      <p:sp>
        <p:nvSpPr>
          <p:cNvPr id="3" name="Plassholder for tekst 2">
            <a:extLst>
              <a:ext uri="{FF2B5EF4-FFF2-40B4-BE49-F238E27FC236}">
                <a16:creationId xmlns:a16="http://schemas.microsoft.com/office/drawing/2014/main" id="{2A9B0AAF-7B18-AD91-DA4E-3C3905E6BC7B}"/>
              </a:ext>
            </a:extLst>
          </p:cNvPr>
          <p:cNvSpPr>
            <a:spLocks noGrp="1"/>
          </p:cNvSpPr>
          <p:nvPr>
            <p:ph type="body" sz="quarter" idx="14"/>
          </p:nvPr>
        </p:nvSpPr>
        <p:spPr>
          <a:xfrm>
            <a:off x="576000" y="731027"/>
            <a:ext cx="5159360" cy="1365942"/>
          </a:xfrm>
        </p:spPr>
        <p:txBody>
          <a:bodyPr/>
          <a:lstStyle/>
          <a:p>
            <a:r>
              <a:rPr lang="nb-NO">
                <a:solidFill>
                  <a:srgbClr val="143275"/>
                </a:solidFill>
                <a:latin typeface="Shape Sans Display"/>
              </a:rPr>
              <a:t>Karbonrike arealer håndterer vi med varsomhet</a:t>
            </a:r>
          </a:p>
        </p:txBody>
      </p:sp>
      <p:sp>
        <p:nvSpPr>
          <p:cNvPr id="5" name="Plassholder for lysbildenummer 4">
            <a:extLst>
              <a:ext uri="{FF2B5EF4-FFF2-40B4-BE49-F238E27FC236}">
                <a16:creationId xmlns:a16="http://schemas.microsoft.com/office/drawing/2014/main" id="{DA1A7EBF-B848-3F6F-670A-2AD2C6CD8429}"/>
              </a:ext>
            </a:extLst>
          </p:cNvPr>
          <p:cNvSpPr>
            <a:spLocks noGrp="1"/>
          </p:cNvSpPr>
          <p:nvPr>
            <p:ph type="sldNum" sz="quarter" idx="4"/>
          </p:nvPr>
        </p:nvSpPr>
        <p:spPr/>
        <p:txBody>
          <a:bodyPr/>
          <a:lstStyle/>
          <a:p>
            <a:fld id="{EF8DBD5B-30F9-4F9C-AE39-E065C1AC514D}" type="slidenum">
              <a:rPr lang="en-US" noProof="0" dirty="0" smtClean="0"/>
              <a:pPr/>
              <a:t>11</a:t>
            </a:fld>
            <a:endParaRPr lang="en-US" noProof="0"/>
          </a:p>
        </p:txBody>
      </p:sp>
      <p:sp>
        <p:nvSpPr>
          <p:cNvPr id="4" name="Plassholder for tekst 3">
            <a:extLst>
              <a:ext uri="{FF2B5EF4-FFF2-40B4-BE49-F238E27FC236}">
                <a16:creationId xmlns:a16="http://schemas.microsoft.com/office/drawing/2014/main" id="{84409089-04FA-5F81-5FD5-CA2861ECD74E}"/>
              </a:ext>
            </a:extLst>
          </p:cNvPr>
          <p:cNvSpPr>
            <a:spLocks noGrp="1"/>
          </p:cNvSpPr>
          <p:nvPr>
            <p:ph type="body" sz="quarter" idx="21"/>
          </p:nvPr>
        </p:nvSpPr>
        <p:spPr/>
        <p:txBody>
          <a:bodyPr/>
          <a:lstStyle/>
          <a:p>
            <a:endParaRPr lang="nb-NO"/>
          </a:p>
        </p:txBody>
      </p:sp>
      <p:pic>
        <p:nvPicPr>
          <p:cNvPr id="9" name="Bilde 8">
            <a:extLst>
              <a:ext uri="{FF2B5EF4-FFF2-40B4-BE49-F238E27FC236}">
                <a16:creationId xmlns:a16="http://schemas.microsoft.com/office/drawing/2014/main" id="{6AADA2C6-578A-3C72-937C-194A3CB7401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397599" y="3092548"/>
            <a:ext cx="2522817" cy="2520000"/>
          </a:xfrm>
          <a:prstGeom prst="rect">
            <a:avLst/>
          </a:prstGeom>
        </p:spPr>
      </p:pic>
    </p:spTree>
    <p:extLst>
      <p:ext uri="{BB962C8B-B14F-4D97-AF65-F5344CB8AC3E}">
        <p14:creationId xmlns:p14="http://schemas.microsoft.com/office/powerpoint/2010/main" val="2088125503"/>
      </p:ext>
    </p:extLst>
  </p:cSld>
  <p:clrMapOvr>
    <a:masterClrMapping/>
  </p:clrMapOvr>
  <p:extLst>
    <p:ext uri="{6950BFC3-D8DA-4A85-94F7-54DA5524770B}">
      <p188:commentRel xmlns:p188="http://schemas.microsoft.com/office/powerpoint/2018/8/main" r:id="rId3"/>
    </p:ext>
  </p:extLs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Bilde 8">
            <a:extLst>
              <a:ext uri="{FF2B5EF4-FFF2-40B4-BE49-F238E27FC236}">
                <a16:creationId xmlns:a16="http://schemas.microsoft.com/office/drawing/2014/main" id="{076C157D-9A49-B26F-1199-954208F172F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45870" y="4546212"/>
            <a:ext cx="3044952" cy="2311788"/>
          </a:xfrm>
          <a:prstGeom prst="rect">
            <a:avLst/>
          </a:prstGeom>
        </p:spPr>
      </p:pic>
      <p:pic>
        <p:nvPicPr>
          <p:cNvPr id="19" name="Bilde 18">
            <a:extLst>
              <a:ext uri="{FF2B5EF4-FFF2-40B4-BE49-F238E27FC236}">
                <a16:creationId xmlns:a16="http://schemas.microsoft.com/office/drawing/2014/main" id="{175E391A-97EF-8C9A-EC0E-38C8CE4156A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052571" y="-50412"/>
            <a:ext cx="3044952" cy="2304288"/>
          </a:xfrm>
          <a:prstGeom prst="rect">
            <a:avLst/>
          </a:prstGeom>
        </p:spPr>
      </p:pic>
      <p:pic>
        <p:nvPicPr>
          <p:cNvPr id="21" name="Bilde 20">
            <a:extLst>
              <a:ext uri="{FF2B5EF4-FFF2-40B4-BE49-F238E27FC236}">
                <a16:creationId xmlns:a16="http://schemas.microsoft.com/office/drawing/2014/main" id="{6219B653-4C95-B4DA-7BA2-BB49DA585DF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40949" y="-57912"/>
            <a:ext cx="3065227" cy="2304288"/>
          </a:xfrm>
          <a:prstGeom prst="rect">
            <a:avLst/>
          </a:prstGeom>
        </p:spPr>
      </p:pic>
      <p:pic>
        <p:nvPicPr>
          <p:cNvPr id="24" name="Bilde 23">
            <a:extLst>
              <a:ext uri="{FF2B5EF4-FFF2-40B4-BE49-F238E27FC236}">
                <a16:creationId xmlns:a16="http://schemas.microsoft.com/office/drawing/2014/main" id="{2BE78227-69D0-4EE3-F3D9-2AF14DB6524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144000" y="4553712"/>
            <a:ext cx="3048000" cy="2304288"/>
          </a:xfrm>
          <a:prstGeom prst="rect">
            <a:avLst/>
          </a:prstGeom>
        </p:spPr>
      </p:pic>
      <p:pic>
        <p:nvPicPr>
          <p:cNvPr id="28" name="Bilde 27">
            <a:extLst>
              <a:ext uri="{FF2B5EF4-FFF2-40B4-BE49-F238E27FC236}">
                <a16:creationId xmlns:a16="http://schemas.microsoft.com/office/drawing/2014/main" id="{CEC72B0E-08AE-9B7B-2F76-4266FF47D55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64020" y="285107"/>
            <a:ext cx="1113746" cy="1633250"/>
          </a:xfrm>
          <a:prstGeom prst="rect">
            <a:avLst/>
          </a:prstGeom>
        </p:spPr>
      </p:pic>
      <p:pic>
        <p:nvPicPr>
          <p:cNvPr id="29" name="Bilde 28">
            <a:extLst>
              <a:ext uri="{FF2B5EF4-FFF2-40B4-BE49-F238E27FC236}">
                <a16:creationId xmlns:a16="http://schemas.microsoft.com/office/drawing/2014/main" id="{D332BA02-65B8-92E5-BB66-990551F417C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843047" y="4993979"/>
            <a:ext cx="1438247" cy="1438247"/>
          </a:xfrm>
          <a:prstGeom prst="rect">
            <a:avLst/>
          </a:prstGeom>
        </p:spPr>
      </p:pic>
      <p:pic>
        <p:nvPicPr>
          <p:cNvPr id="30" name="Bilde 29">
            <a:extLst>
              <a:ext uri="{FF2B5EF4-FFF2-40B4-BE49-F238E27FC236}">
                <a16:creationId xmlns:a16="http://schemas.microsoft.com/office/drawing/2014/main" id="{D7D8DD87-6533-F1AB-6FB9-1EC61D59D528}"/>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843047" y="285107"/>
            <a:ext cx="1552378" cy="1545449"/>
          </a:xfrm>
          <a:prstGeom prst="rect">
            <a:avLst/>
          </a:prstGeom>
        </p:spPr>
      </p:pic>
      <p:pic>
        <p:nvPicPr>
          <p:cNvPr id="31" name="Bilde 30">
            <a:extLst>
              <a:ext uri="{FF2B5EF4-FFF2-40B4-BE49-F238E27FC236}">
                <a16:creationId xmlns:a16="http://schemas.microsoft.com/office/drawing/2014/main" id="{96F1CDFC-8FA4-9196-A07C-EE7A729C0352}"/>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70713" y="4988347"/>
            <a:ext cx="1503840" cy="1321098"/>
          </a:xfrm>
          <a:prstGeom prst="rect">
            <a:avLst/>
          </a:prstGeom>
        </p:spPr>
      </p:pic>
      <p:pic>
        <p:nvPicPr>
          <p:cNvPr id="3" name="Bilde 2">
            <a:extLst>
              <a:ext uri="{FF2B5EF4-FFF2-40B4-BE49-F238E27FC236}">
                <a16:creationId xmlns:a16="http://schemas.microsoft.com/office/drawing/2014/main" id="{AD271B0D-8AB3-4CCC-F1FA-EC9E38349009}"/>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0888" y="2253876"/>
            <a:ext cx="6101710" cy="2304000"/>
          </a:xfrm>
          <a:prstGeom prst="rect">
            <a:avLst/>
          </a:prstGeom>
        </p:spPr>
      </p:pic>
      <p:pic>
        <p:nvPicPr>
          <p:cNvPr id="7" name="Bilde 6">
            <a:extLst>
              <a:ext uri="{FF2B5EF4-FFF2-40B4-BE49-F238E27FC236}">
                <a16:creationId xmlns:a16="http://schemas.microsoft.com/office/drawing/2014/main" id="{B2685AA1-61C9-DC06-D376-237769990D80}"/>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6090178" y="2254430"/>
            <a:ext cx="6101542" cy="2306782"/>
          </a:xfrm>
          <a:prstGeom prst="rect">
            <a:avLst/>
          </a:prstGeom>
        </p:spPr>
      </p:pic>
    </p:spTree>
    <p:extLst>
      <p:ext uri="{BB962C8B-B14F-4D97-AF65-F5344CB8AC3E}">
        <p14:creationId xmlns:p14="http://schemas.microsoft.com/office/powerpoint/2010/main" val="3422277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ssholder for tekst 3">
            <a:extLst>
              <a:ext uri="{FF2B5EF4-FFF2-40B4-BE49-F238E27FC236}">
                <a16:creationId xmlns:a16="http://schemas.microsoft.com/office/drawing/2014/main" id="{D04EAFD4-073E-4D02-8E20-1E52AC9490AE}"/>
              </a:ext>
            </a:extLst>
          </p:cNvPr>
          <p:cNvSpPr>
            <a:spLocks noGrp="1"/>
          </p:cNvSpPr>
          <p:nvPr>
            <p:ph type="body" sz="quarter" idx="14"/>
          </p:nvPr>
        </p:nvSpPr>
        <p:spPr/>
        <p:txBody>
          <a:bodyPr/>
          <a:lstStyle/>
          <a:p>
            <a:r>
              <a:rPr lang="nb-NO"/>
              <a:t>Vi har en betydelig portefølje av R&amp;D, Innovasjons og utviklingsaktiviteter.</a:t>
            </a:r>
          </a:p>
        </p:txBody>
      </p:sp>
      <p:sp>
        <p:nvSpPr>
          <p:cNvPr id="7" name="Plassholder for bunntekst 6">
            <a:extLst>
              <a:ext uri="{FF2B5EF4-FFF2-40B4-BE49-F238E27FC236}">
                <a16:creationId xmlns:a16="http://schemas.microsoft.com/office/drawing/2014/main" id="{6BEC4464-069A-414F-9721-EA673F91CEB9}"/>
              </a:ext>
            </a:extLst>
          </p:cNvPr>
          <p:cNvSpPr>
            <a:spLocks noGrp="1"/>
          </p:cNvSpPr>
          <p:nvPr>
            <p:ph type="ftr" sz="quarter" idx="3"/>
          </p:nvPr>
        </p:nvSpPr>
        <p:spPr/>
        <p:txBody>
          <a:bodyPr/>
          <a:lstStyle/>
          <a:p>
            <a:r>
              <a:rPr lang="en-US" noProof="0"/>
              <a:t>Gå til topp- og bunntekst for å endre tekst</a:t>
            </a:r>
          </a:p>
        </p:txBody>
      </p:sp>
      <p:sp>
        <p:nvSpPr>
          <p:cNvPr id="8" name="Plassholder for lysbildenummer 7">
            <a:extLst>
              <a:ext uri="{FF2B5EF4-FFF2-40B4-BE49-F238E27FC236}">
                <a16:creationId xmlns:a16="http://schemas.microsoft.com/office/drawing/2014/main" id="{CA2BC1FF-8E66-4A53-B395-7C2244566300}"/>
              </a:ext>
            </a:extLst>
          </p:cNvPr>
          <p:cNvSpPr>
            <a:spLocks noGrp="1"/>
          </p:cNvSpPr>
          <p:nvPr>
            <p:ph type="sldNum" sz="quarter" idx="4"/>
          </p:nvPr>
        </p:nvSpPr>
        <p:spPr/>
        <p:txBody>
          <a:bodyPr/>
          <a:lstStyle/>
          <a:p>
            <a:fld id="{EF8DBD5B-30F9-4F9C-AE39-E065C1AC514D}" type="slidenum">
              <a:rPr lang="en-US" noProof="0" smtClean="0"/>
              <a:pPr/>
              <a:t>13</a:t>
            </a:fld>
            <a:endParaRPr lang="en-US" noProof="0"/>
          </a:p>
        </p:txBody>
      </p:sp>
      <p:grpSp>
        <p:nvGrpSpPr>
          <p:cNvPr id="11" name="Gruppe 10">
            <a:extLst>
              <a:ext uri="{FF2B5EF4-FFF2-40B4-BE49-F238E27FC236}">
                <a16:creationId xmlns:a16="http://schemas.microsoft.com/office/drawing/2014/main" id="{F584F9DA-E648-4B07-9249-C6104D6A8E89}"/>
              </a:ext>
            </a:extLst>
          </p:cNvPr>
          <p:cNvGrpSpPr/>
          <p:nvPr/>
        </p:nvGrpSpPr>
        <p:grpSpPr>
          <a:xfrm>
            <a:off x="1560669" y="1957432"/>
            <a:ext cx="8837658" cy="4014119"/>
            <a:chOff x="266229" y="554674"/>
            <a:chExt cx="11611704" cy="5837955"/>
          </a:xfrm>
        </p:grpSpPr>
        <p:pic>
          <p:nvPicPr>
            <p:cNvPr id="12" name="Bilde 11">
              <a:extLst>
                <a:ext uri="{FF2B5EF4-FFF2-40B4-BE49-F238E27FC236}">
                  <a16:creationId xmlns:a16="http://schemas.microsoft.com/office/drawing/2014/main" id="{FA920660-ECBA-4CEE-B711-0B93108897F4}"/>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2727922" y="557136"/>
              <a:ext cx="3351893" cy="2879534"/>
            </a:xfrm>
            <a:prstGeom prst="rect">
              <a:avLst/>
            </a:prstGeom>
          </p:spPr>
        </p:pic>
        <p:pic>
          <p:nvPicPr>
            <p:cNvPr id="13" name="Bilde 12">
              <a:extLst>
                <a:ext uri="{FF2B5EF4-FFF2-40B4-BE49-F238E27FC236}">
                  <a16:creationId xmlns:a16="http://schemas.microsoft.com/office/drawing/2014/main" id="{9D3B5963-18D7-4E1E-9219-DC76201F2832}"/>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8404768" y="557136"/>
              <a:ext cx="2118619" cy="2880000"/>
            </a:xfrm>
            <a:prstGeom prst="rect">
              <a:avLst/>
            </a:prstGeom>
          </p:spPr>
        </p:pic>
        <p:pic>
          <p:nvPicPr>
            <p:cNvPr id="14" name="Bilde 13">
              <a:extLst>
                <a:ext uri="{FF2B5EF4-FFF2-40B4-BE49-F238E27FC236}">
                  <a16:creationId xmlns:a16="http://schemas.microsoft.com/office/drawing/2014/main" id="{D9AECCBE-8531-404F-AEF2-AA4AB5320BFF}"/>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a:stretch/>
          </p:blipFill>
          <p:spPr>
            <a:xfrm>
              <a:off x="4751149" y="554674"/>
              <a:ext cx="1540416" cy="2880000"/>
            </a:xfrm>
            <a:prstGeom prst="rect">
              <a:avLst/>
            </a:prstGeom>
          </p:spPr>
        </p:pic>
        <p:pic>
          <p:nvPicPr>
            <p:cNvPr id="15" name="Bilde 14">
              <a:extLst>
                <a:ext uri="{FF2B5EF4-FFF2-40B4-BE49-F238E27FC236}">
                  <a16:creationId xmlns:a16="http://schemas.microsoft.com/office/drawing/2014/main" id="{EE85CA2A-D68B-4AA2-BB33-6B845ED31214}"/>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300714" y="554674"/>
              <a:ext cx="2433463" cy="2880000"/>
            </a:xfrm>
            <a:prstGeom prst="rect">
              <a:avLst/>
            </a:prstGeom>
          </p:spPr>
        </p:pic>
        <p:pic>
          <p:nvPicPr>
            <p:cNvPr id="16" name="Picture 6">
              <a:extLst>
                <a:ext uri="{FF2B5EF4-FFF2-40B4-BE49-F238E27FC236}">
                  <a16:creationId xmlns:a16="http://schemas.microsoft.com/office/drawing/2014/main" id="{B465EFA2-20AB-455E-B7B7-45D3CF03453F}"/>
                </a:ext>
              </a:extLst>
            </p:cNvPr>
            <p:cNvPicPr>
              <a:picLocks noChangeAspect="1" noChangeArrowheads="1"/>
            </p:cNvPicPr>
            <p:nvPr/>
          </p:nvPicPr>
          <p:blipFill rotWithShape="1">
            <a:blip r:embed="rId7" cstate="hqprint">
              <a:extLst>
                <a:ext uri="{28A0092B-C50C-407E-A947-70E740481C1C}">
                  <a14:useLocalDpi xmlns:a14="http://schemas.microsoft.com/office/drawing/2010/main"/>
                </a:ext>
              </a:extLst>
            </a:blip>
            <a:srcRect/>
            <a:stretch/>
          </p:blipFill>
          <p:spPr bwMode="auto">
            <a:xfrm>
              <a:off x="6291565" y="557136"/>
              <a:ext cx="2118619" cy="2864449"/>
            </a:xfrm>
            <a:prstGeom prst="rect">
              <a:avLst/>
            </a:prstGeom>
            <a:noFill/>
            <a:extLst>
              <a:ext uri="{909E8E84-426E-40DD-AFC4-6F175D3DCCD1}">
                <a14:hiddenFill xmlns:a14="http://schemas.microsoft.com/office/drawing/2010/main">
                  <a:solidFill>
                    <a:srgbClr val="FFFFFF"/>
                  </a:solidFill>
                </a14:hiddenFill>
              </a:ext>
            </a:extLst>
          </p:spPr>
        </p:pic>
        <p:pic>
          <p:nvPicPr>
            <p:cNvPr id="17" name="Bilde 16">
              <a:extLst>
                <a:ext uri="{FF2B5EF4-FFF2-40B4-BE49-F238E27FC236}">
                  <a16:creationId xmlns:a16="http://schemas.microsoft.com/office/drawing/2014/main" id="{71E3A4BA-AFEF-468B-97C7-2D1F889B982C}"/>
                </a:ext>
              </a:extLst>
            </p:cNvPr>
            <p:cNvPicPr>
              <a:picLocks noChangeAspect="1"/>
            </p:cNvPicPr>
            <p:nvPr/>
          </p:nvPicPr>
          <p:blipFill rotWithShape="1">
            <a:blip r:embed="rId8" cstate="hqprint">
              <a:extLst>
                <a:ext uri="{28A0092B-C50C-407E-A947-70E740481C1C}">
                  <a14:useLocalDpi xmlns:a14="http://schemas.microsoft.com/office/drawing/2010/main"/>
                </a:ext>
              </a:extLst>
            </a:blip>
            <a:srcRect/>
            <a:stretch/>
          </p:blipFill>
          <p:spPr>
            <a:xfrm>
              <a:off x="10180487" y="557136"/>
              <a:ext cx="1697446" cy="2864449"/>
            </a:xfrm>
            <a:prstGeom prst="rect">
              <a:avLst/>
            </a:prstGeom>
          </p:spPr>
        </p:pic>
        <p:grpSp>
          <p:nvGrpSpPr>
            <p:cNvPr id="18" name="Gruppe 17">
              <a:extLst>
                <a:ext uri="{FF2B5EF4-FFF2-40B4-BE49-F238E27FC236}">
                  <a16:creationId xmlns:a16="http://schemas.microsoft.com/office/drawing/2014/main" id="{480B97D0-4C06-4C81-9470-339827BC3663}"/>
                </a:ext>
              </a:extLst>
            </p:cNvPr>
            <p:cNvGrpSpPr/>
            <p:nvPr/>
          </p:nvGrpSpPr>
          <p:grpSpPr>
            <a:xfrm>
              <a:off x="300714" y="3738980"/>
              <a:ext cx="11577218" cy="2653649"/>
              <a:chOff x="300714" y="3738980"/>
              <a:chExt cx="11577218" cy="2653649"/>
            </a:xfrm>
          </p:grpSpPr>
          <p:pic>
            <p:nvPicPr>
              <p:cNvPr id="28" name="Picture 4" descr="Image result for ZEN FME">
                <a:extLst>
                  <a:ext uri="{FF2B5EF4-FFF2-40B4-BE49-F238E27FC236}">
                    <a16:creationId xmlns:a16="http://schemas.microsoft.com/office/drawing/2014/main" id="{4436EF4D-6260-40F5-8813-2B394F478FBC}"/>
                  </a:ext>
                </a:extLst>
              </p:cNvPr>
              <p:cNvPicPr>
                <a:picLocks noChangeAspect="1" noChangeArrowheads="1"/>
              </p:cNvPicPr>
              <p:nvPr/>
            </p:nvPicPr>
            <p:blipFill rotWithShape="1">
              <a:blip r:embed="rId9" cstate="hqprint">
                <a:extLst>
                  <a:ext uri="{28A0092B-C50C-407E-A947-70E740481C1C}">
                    <a14:useLocalDpi xmlns:a14="http://schemas.microsoft.com/office/drawing/2010/main"/>
                  </a:ext>
                </a:extLst>
              </a:blip>
              <a:srcRect/>
              <a:stretch/>
            </p:blipFill>
            <p:spPr bwMode="auto">
              <a:xfrm>
                <a:off x="3345305" y="3876506"/>
                <a:ext cx="2397660" cy="2516123"/>
              </a:xfrm>
              <a:prstGeom prst="rect">
                <a:avLst/>
              </a:prstGeom>
              <a:extLst>
                <a:ext uri="{909E8E84-426E-40DD-AFC4-6F175D3DCCD1}">
                  <a14:hiddenFill xmlns:a14="http://schemas.microsoft.com/office/drawing/2010/main">
                    <a:solidFill>
                      <a:srgbClr val="FFFFFF"/>
                    </a:solidFill>
                  </a14:hiddenFill>
                </a:ext>
              </a:extLst>
            </p:spPr>
          </p:pic>
          <p:sp>
            <p:nvSpPr>
              <p:cNvPr id="29" name="Rektangel 28">
                <a:extLst>
                  <a:ext uri="{FF2B5EF4-FFF2-40B4-BE49-F238E27FC236}">
                    <a16:creationId xmlns:a16="http://schemas.microsoft.com/office/drawing/2014/main" id="{F05A9C29-B2F0-450A-9C77-0E9D4D0B680A}"/>
                  </a:ext>
                </a:extLst>
              </p:cNvPr>
              <p:cNvSpPr/>
              <p:nvPr/>
            </p:nvSpPr>
            <p:spPr>
              <a:xfrm>
                <a:off x="7643829" y="3738980"/>
                <a:ext cx="4234103" cy="914559"/>
              </a:xfrm>
              <a:prstGeom prst="rect">
                <a:avLst/>
              </a:prstGeom>
              <a:solidFill>
                <a:srgbClr val="3D9B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2400" b="1" err="1">
                    <a:solidFill>
                      <a:schemeClr val="tx1"/>
                    </a:solidFill>
                    <a:latin typeface="Skanska Sans Pro" panose="02000503060000020004" pitchFamily="50" charset="0"/>
                  </a:rPr>
                  <a:t>LowEx</a:t>
                </a:r>
                <a:endParaRPr lang="nb-NO" sz="2400" b="1">
                  <a:solidFill>
                    <a:schemeClr val="tx1"/>
                  </a:solidFill>
                  <a:latin typeface="Skanska Sans Pro" panose="02000503060000020004" pitchFamily="50" charset="0"/>
                </a:endParaRPr>
              </a:p>
            </p:txBody>
          </p:sp>
          <p:pic>
            <p:nvPicPr>
              <p:cNvPr id="30" name="Picture 4" descr="https://images.squarespace-cdn.com/content/5a156c44ccc5c5ef7b893553/1565686013184-9ALACJDZ8HTU8C43SCXD/download.jpg?content-type=image%2Fjpeg">
                <a:extLst>
                  <a:ext uri="{FF2B5EF4-FFF2-40B4-BE49-F238E27FC236}">
                    <a16:creationId xmlns:a16="http://schemas.microsoft.com/office/drawing/2014/main" id="{5515A6AC-9046-4871-9A04-4123F759FB00}"/>
                  </a:ext>
                </a:extLst>
              </p:cNvPr>
              <p:cNvPicPr>
                <a:picLocks noChangeAspect="1" noChangeArrowheads="1"/>
              </p:cNvPicPr>
              <p:nvPr/>
            </p:nvPicPr>
            <p:blipFill>
              <a:blip r:embed="rId10">
                <a:extLst>
                  <a:ext uri="{28A0092B-C50C-407E-A947-70E740481C1C}">
                    <a14:useLocalDpi xmlns:a14="http://schemas.microsoft.com/office/drawing/2010/main"/>
                  </a:ext>
                </a:extLst>
              </a:blip>
              <a:srcRect/>
              <a:stretch>
                <a:fillRect/>
              </a:stretch>
            </p:blipFill>
            <p:spPr bwMode="auto">
              <a:xfrm>
                <a:off x="300714" y="4320063"/>
                <a:ext cx="3461562" cy="1446475"/>
              </a:xfrm>
              <a:prstGeom prst="rect">
                <a:avLst/>
              </a:prstGeom>
              <a:extLst>
                <a:ext uri="{909E8E84-426E-40DD-AFC4-6F175D3DCCD1}">
                  <a14:hiddenFill xmlns:a14="http://schemas.microsoft.com/office/drawing/2010/main">
                    <a:solidFill>
                      <a:srgbClr val="FFFFFF"/>
                    </a:solidFill>
                  </a14:hiddenFill>
                </a:ext>
              </a:extLst>
            </p:spPr>
          </p:pic>
          <p:grpSp>
            <p:nvGrpSpPr>
              <p:cNvPr id="31" name="Gruppe 30">
                <a:extLst>
                  <a:ext uri="{FF2B5EF4-FFF2-40B4-BE49-F238E27FC236}">
                    <a16:creationId xmlns:a16="http://schemas.microsoft.com/office/drawing/2014/main" id="{2EBE8B6C-FDCE-4360-8DF6-97A21953EEC3}"/>
                  </a:ext>
                </a:extLst>
              </p:cNvPr>
              <p:cNvGrpSpPr>
                <a:grpSpLocks noChangeAspect="1"/>
              </p:cNvGrpSpPr>
              <p:nvPr/>
            </p:nvGrpSpPr>
            <p:grpSpPr>
              <a:xfrm>
                <a:off x="5469634" y="3746302"/>
                <a:ext cx="2131998" cy="2566068"/>
                <a:chOff x="3561808" y="-3475081"/>
                <a:chExt cx="2931678" cy="3528561"/>
              </a:xfrm>
            </p:grpSpPr>
            <p:pic>
              <p:nvPicPr>
                <p:cNvPr id="35" name="Bilde 34">
                  <a:extLst>
                    <a:ext uri="{FF2B5EF4-FFF2-40B4-BE49-F238E27FC236}">
                      <a16:creationId xmlns:a16="http://schemas.microsoft.com/office/drawing/2014/main" id="{D4E3BDB5-7A75-4BB4-8E80-35FBD70A85D2}"/>
                    </a:ext>
                  </a:extLst>
                </p:cNvPr>
                <p:cNvPicPr>
                  <a:picLocks noChangeAspect="1"/>
                </p:cNvPicPr>
                <p:nvPr/>
              </p:nvPicPr>
              <p:blipFill>
                <a:blip r:embed="rId11" cstate="hqprint">
                  <a:extLst>
                    <a:ext uri="{28A0092B-C50C-407E-A947-70E740481C1C}">
                      <a14:useLocalDpi xmlns:a14="http://schemas.microsoft.com/office/drawing/2010/main"/>
                    </a:ext>
                  </a:extLst>
                </a:blip>
                <a:stretch>
                  <a:fillRect/>
                </a:stretch>
              </p:blipFill>
              <p:spPr>
                <a:xfrm>
                  <a:off x="3561808" y="-3475081"/>
                  <a:ext cx="2931678" cy="2525152"/>
                </a:xfrm>
                <a:prstGeom prst="rect">
                  <a:avLst/>
                </a:prstGeom>
              </p:spPr>
            </p:pic>
            <p:pic>
              <p:nvPicPr>
                <p:cNvPr id="36" name="Bilde 35">
                  <a:extLst>
                    <a:ext uri="{FF2B5EF4-FFF2-40B4-BE49-F238E27FC236}">
                      <a16:creationId xmlns:a16="http://schemas.microsoft.com/office/drawing/2014/main" id="{827B3ED6-B503-4B6B-9774-C09329621BB7}"/>
                    </a:ext>
                  </a:extLst>
                </p:cNvPr>
                <p:cNvPicPr>
                  <a:picLocks noChangeAspect="1"/>
                </p:cNvPicPr>
                <p:nvPr/>
              </p:nvPicPr>
              <p:blipFill>
                <a:blip r:embed="rId12"/>
                <a:stretch>
                  <a:fillRect/>
                </a:stretch>
              </p:blipFill>
              <p:spPr>
                <a:xfrm>
                  <a:off x="3561808" y="-978118"/>
                  <a:ext cx="2931678" cy="1031598"/>
                </a:xfrm>
                <a:prstGeom prst="rect">
                  <a:avLst/>
                </a:prstGeom>
              </p:spPr>
            </p:pic>
          </p:grpSp>
          <p:pic>
            <p:nvPicPr>
              <p:cNvPr id="32" name="Picture 8" descr="klima2050">
                <a:extLst>
                  <a:ext uri="{FF2B5EF4-FFF2-40B4-BE49-F238E27FC236}">
                    <a16:creationId xmlns:a16="http://schemas.microsoft.com/office/drawing/2014/main" id="{449E9A66-874A-4308-8D40-B4503D1AB9F6}"/>
                  </a:ext>
                </a:extLst>
              </p:cNvPr>
              <p:cNvPicPr>
                <a:picLocks noChangeAspect="1" noChangeArrowheads="1"/>
              </p:cNvPicPr>
              <p:nvPr/>
            </p:nvPicPr>
            <p:blipFill>
              <a:blip r:embed="rId13">
                <a:extLst>
                  <a:ext uri="{28A0092B-C50C-407E-A947-70E740481C1C}">
                    <a14:useLocalDpi xmlns:a14="http://schemas.microsoft.com/office/drawing/2010/main"/>
                  </a:ext>
                </a:extLst>
              </a:blip>
              <a:srcRect/>
              <a:stretch>
                <a:fillRect/>
              </a:stretch>
            </p:blipFill>
            <p:spPr bwMode="auto">
              <a:xfrm>
                <a:off x="300714" y="5734289"/>
                <a:ext cx="3325200" cy="570994"/>
              </a:xfrm>
              <a:prstGeom prst="rect">
                <a:avLst/>
              </a:prstGeom>
              <a:noFill/>
              <a:extLst>
                <a:ext uri="{909E8E84-426E-40DD-AFC4-6F175D3DCCD1}">
                  <a14:hiddenFill xmlns:a14="http://schemas.microsoft.com/office/drawing/2010/main">
                    <a:solidFill>
                      <a:srgbClr val="FFFFFF"/>
                    </a:solidFill>
                  </a14:hiddenFill>
                </a:ext>
              </a:extLst>
            </p:spPr>
          </p:pic>
          <p:sp>
            <p:nvSpPr>
              <p:cNvPr id="33" name="Rektangel 32">
                <a:extLst>
                  <a:ext uri="{FF2B5EF4-FFF2-40B4-BE49-F238E27FC236}">
                    <a16:creationId xmlns:a16="http://schemas.microsoft.com/office/drawing/2014/main" id="{CEA56750-B307-498E-BA93-50A2296B0832}"/>
                  </a:ext>
                </a:extLst>
              </p:cNvPr>
              <p:cNvSpPr/>
              <p:nvPr/>
            </p:nvSpPr>
            <p:spPr>
              <a:xfrm>
                <a:off x="7643829" y="4557163"/>
                <a:ext cx="4234103" cy="914559"/>
              </a:xfrm>
              <a:prstGeom prst="rect">
                <a:avLst/>
              </a:prstGeom>
              <a:solidFill>
                <a:srgbClr val="BED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2400" b="1" err="1">
                    <a:solidFill>
                      <a:schemeClr val="tx1"/>
                    </a:solidFill>
                    <a:latin typeface="Skanska Sans Pro" panose="02000503060000020004" pitchFamily="50" charset="0"/>
                  </a:rPr>
                  <a:t>SynHouse</a:t>
                </a:r>
                <a:endParaRPr lang="nb-NO" sz="2400" b="1">
                  <a:solidFill>
                    <a:schemeClr val="tx1"/>
                  </a:solidFill>
                  <a:latin typeface="Skanska Sans Pro" panose="02000503060000020004" pitchFamily="50" charset="0"/>
                </a:endParaRPr>
              </a:p>
            </p:txBody>
          </p:sp>
          <p:sp>
            <p:nvSpPr>
              <p:cNvPr id="34" name="Rektangel 33">
                <a:extLst>
                  <a:ext uri="{FF2B5EF4-FFF2-40B4-BE49-F238E27FC236}">
                    <a16:creationId xmlns:a16="http://schemas.microsoft.com/office/drawing/2014/main" id="{9F24ED32-C897-4722-9896-FD3939C7E5A5}"/>
                  </a:ext>
                </a:extLst>
              </p:cNvPr>
              <p:cNvSpPr/>
              <p:nvPr/>
            </p:nvSpPr>
            <p:spPr>
              <a:xfrm>
                <a:off x="7643829" y="5386305"/>
                <a:ext cx="4234103" cy="914559"/>
              </a:xfrm>
              <a:prstGeom prst="rect">
                <a:avLst/>
              </a:prstGeom>
              <a:solidFill>
                <a:srgbClr val="FFC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2400" b="1">
                    <a:solidFill>
                      <a:schemeClr val="tx1"/>
                    </a:solidFill>
                    <a:latin typeface="Skanska Sans Pro" panose="02000503060000020004" pitchFamily="50" charset="0"/>
                  </a:rPr>
                  <a:t>Datastyrt anleggsplass</a:t>
                </a:r>
              </a:p>
            </p:txBody>
          </p:sp>
        </p:grpSp>
        <p:sp>
          <p:nvSpPr>
            <p:cNvPr id="19" name="Rektangel 18">
              <a:extLst>
                <a:ext uri="{FF2B5EF4-FFF2-40B4-BE49-F238E27FC236}">
                  <a16:creationId xmlns:a16="http://schemas.microsoft.com/office/drawing/2014/main" id="{5D7CF08D-6AB1-4C9F-810C-CC3675D03666}"/>
                </a:ext>
              </a:extLst>
            </p:cNvPr>
            <p:cNvSpPr/>
            <p:nvPr/>
          </p:nvSpPr>
          <p:spPr>
            <a:xfrm>
              <a:off x="300714" y="3421586"/>
              <a:ext cx="11577218" cy="3018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bg1"/>
                </a:solidFill>
              </a:endParaRPr>
            </a:p>
          </p:txBody>
        </p:sp>
        <p:pic>
          <p:nvPicPr>
            <p:cNvPr id="20" name="Bilde 19">
              <a:extLst>
                <a:ext uri="{FF2B5EF4-FFF2-40B4-BE49-F238E27FC236}">
                  <a16:creationId xmlns:a16="http://schemas.microsoft.com/office/drawing/2014/main" id="{1C4346BE-ED4D-4CD9-BB11-CECC211C3B70}"/>
                </a:ext>
              </a:extLst>
            </p:cNvPr>
            <p:cNvPicPr>
              <a:picLocks noChangeAspect="1"/>
            </p:cNvPicPr>
            <p:nvPr/>
          </p:nvPicPr>
          <p:blipFill>
            <a:blip r:embed="rId14" cstate="hqprint">
              <a:extLst>
                <a:ext uri="{28A0092B-C50C-407E-A947-70E740481C1C}">
                  <a14:useLocalDpi xmlns:a14="http://schemas.microsoft.com/office/drawing/2010/main"/>
                </a:ext>
              </a:extLst>
            </a:blip>
            <a:stretch>
              <a:fillRect/>
            </a:stretch>
          </p:blipFill>
          <p:spPr>
            <a:xfrm>
              <a:off x="266229" y="3581401"/>
              <a:ext cx="3118993" cy="668150"/>
            </a:xfrm>
            <a:prstGeom prst="rect">
              <a:avLst/>
            </a:prstGeom>
          </p:spPr>
        </p:pic>
        <p:grpSp>
          <p:nvGrpSpPr>
            <p:cNvPr id="21" name="Gruppe 20">
              <a:extLst>
                <a:ext uri="{FF2B5EF4-FFF2-40B4-BE49-F238E27FC236}">
                  <a16:creationId xmlns:a16="http://schemas.microsoft.com/office/drawing/2014/main" id="{15DC430D-46C5-4FFE-A7DA-E641283D945F}"/>
                </a:ext>
              </a:extLst>
            </p:cNvPr>
            <p:cNvGrpSpPr/>
            <p:nvPr/>
          </p:nvGrpSpPr>
          <p:grpSpPr>
            <a:xfrm>
              <a:off x="982239" y="3210056"/>
              <a:ext cx="10554256" cy="438483"/>
              <a:chOff x="982239" y="2990981"/>
              <a:chExt cx="10554256" cy="682087"/>
            </a:xfrm>
          </p:grpSpPr>
          <p:sp>
            <p:nvSpPr>
              <p:cNvPr id="22" name="Pil: ned 21">
                <a:extLst>
                  <a:ext uri="{FF2B5EF4-FFF2-40B4-BE49-F238E27FC236}">
                    <a16:creationId xmlns:a16="http://schemas.microsoft.com/office/drawing/2014/main" id="{4B4D7FD8-A6AB-498D-9026-3BF63C707627}"/>
                  </a:ext>
                </a:extLst>
              </p:cNvPr>
              <p:cNvSpPr/>
              <p:nvPr/>
            </p:nvSpPr>
            <p:spPr>
              <a:xfrm rot="10800000">
                <a:off x="982239" y="2990981"/>
                <a:ext cx="981075" cy="682086"/>
              </a:xfrm>
              <a:prstGeom prst="down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bg1"/>
                  </a:solidFill>
                </a:endParaRPr>
              </a:p>
            </p:txBody>
          </p:sp>
          <p:sp>
            <p:nvSpPr>
              <p:cNvPr id="23" name="Pil: ned 22">
                <a:extLst>
                  <a:ext uri="{FF2B5EF4-FFF2-40B4-BE49-F238E27FC236}">
                    <a16:creationId xmlns:a16="http://schemas.microsoft.com/office/drawing/2014/main" id="{47EFD35B-A453-4255-B24C-26210A8BAB63}"/>
                  </a:ext>
                </a:extLst>
              </p:cNvPr>
              <p:cNvSpPr/>
              <p:nvPr/>
            </p:nvSpPr>
            <p:spPr>
              <a:xfrm rot="10800000">
                <a:off x="3296695" y="2990981"/>
                <a:ext cx="981075" cy="682086"/>
              </a:xfrm>
              <a:prstGeom prst="down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bg1"/>
                  </a:solidFill>
                </a:endParaRPr>
              </a:p>
            </p:txBody>
          </p:sp>
          <p:sp>
            <p:nvSpPr>
              <p:cNvPr id="24" name="Pil: ned 23">
                <a:extLst>
                  <a:ext uri="{FF2B5EF4-FFF2-40B4-BE49-F238E27FC236}">
                    <a16:creationId xmlns:a16="http://schemas.microsoft.com/office/drawing/2014/main" id="{57263E4C-AF99-4D6A-BA1B-7740940D57EE}"/>
                  </a:ext>
                </a:extLst>
              </p:cNvPr>
              <p:cNvSpPr/>
              <p:nvPr/>
            </p:nvSpPr>
            <p:spPr>
              <a:xfrm rot="10800000">
                <a:off x="5050826" y="2990981"/>
                <a:ext cx="981075" cy="682086"/>
              </a:xfrm>
              <a:prstGeom prst="down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bg1"/>
                  </a:solidFill>
                </a:endParaRPr>
              </a:p>
            </p:txBody>
          </p:sp>
          <p:sp>
            <p:nvSpPr>
              <p:cNvPr id="25" name="Pil: ned 24">
                <a:extLst>
                  <a:ext uri="{FF2B5EF4-FFF2-40B4-BE49-F238E27FC236}">
                    <a16:creationId xmlns:a16="http://schemas.microsoft.com/office/drawing/2014/main" id="{1ECC4740-7BF8-49E5-8897-B424905B60AE}"/>
                  </a:ext>
                </a:extLst>
              </p:cNvPr>
              <p:cNvSpPr/>
              <p:nvPr/>
            </p:nvSpPr>
            <p:spPr>
              <a:xfrm rot="10800000">
                <a:off x="6844423" y="2990981"/>
                <a:ext cx="981075" cy="682086"/>
              </a:xfrm>
              <a:prstGeom prst="down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bg1"/>
                  </a:solidFill>
                </a:endParaRPr>
              </a:p>
            </p:txBody>
          </p:sp>
          <p:sp>
            <p:nvSpPr>
              <p:cNvPr id="26" name="Pil: ned 25">
                <a:extLst>
                  <a:ext uri="{FF2B5EF4-FFF2-40B4-BE49-F238E27FC236}">
                    <a16:creationId xmlns:a16="http://schemas.microsoft.com/office/drawing/2014/main" id="{44D79D82-BA39-47D2-977A-34C2D862523F}"/>
                  </a:ext>
                </a:extLst>
              </p:cNvPr>
              <p:cNvSpPr/>
              <p:nvPr/>
            </p:nvSpPr>
            <p:spPr>
              <a:xfrm rot="10800000">
                <a:off x="8870639" y="2990981"/>
                <a:ext cx="981075" cy="682086"/>
              </a:xfrm>
              <a:prstGeom prst="down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bg1"/>
                  </a:solidFill>
                </a:endParaRPr>
              </a:p>
            </p:txBody>
          </p:sp>
          <p:sp>
            <p:nvSpPr>
              <p:cNvPr id="27" name="Pil: ned 26">
                <a:extLst>
                  <a:ext uri="{FF2B5EF4-FFF2-40B4-BE49-F238E27FC236}">
                    <a16:creationId xmlns:a16="http://schemas.microsoft.com/office/drawing/2014/main" id="{169E0E23-046D-4092-9E7B-C0470529DFAF}"/>
                  </a:ext>
                </a:extLst>
              </p:cNvPr>
              <p:cNvSpPr/>
              <p:nvPr/>
            </p:nvSpPr>
            <p:spPr>
              <a:xfrm rot="10800000">
                <a:off x="10555420" y="2990982"/>
                <a:ext cx="981075" cy="682086"/>
              </a:xfrm>
              <a:prstGeom prst="down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bg1"/>
                  </a:solidFill>
                </a:endParaRPr>
              </a:p>
            </p:txBody>
          </p:sp>
        </p:grpSp>
      </p:grpSp>
    </p:spTree>
    <p:extLst>
      <p:ext uri="{BB962C8B-B14F-4D97-AF65-F5344CB8AC3E}">
        <p14:creationId xmlns:p14="http://schemas.microsoft.com/office/powerpoint/2010/main" val="377756066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lassholder for bilde 9">
            <a:extLst>
              <a:ext uri="{FF2B5EF4-FFF2-40B4-BE49-F238E27FC236}">
                <a16:creationId xmlns:a16="http://schemas.microsoft.com/office/drawing/2014/main" id="{E8E64813-EAD3-4243-BBA1-7EC46903B62C}"/>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t="6169" b="6169"/>
          <a:stretch>
            <a:fillRect/>
          </a:stretch>
        </p:blipFill>
        <p:spPr>
          <a:xfrm>
            <a:off x="3" y="-161827"/>
            <a:ext cx="12191997" cy="7029452"/>
          </a:xfrm>
        </p:spPr>
      </p:pic>
      <p:sp>
        <p:nvSpPr>
          <p:cNvPr id="4" name="Plassholder for lysbildenummer 3">
            <a:extLst>
              <a:ext uri="{FF2B5EF4-FFF2-40B4-BE49-F238E27FC236}">
                <a16:creationId xmlns:a16="http://schemas.microsoft.com/office/drawing/2014/main" id="{7FADA143-F7F9-456A-9D00-94B450B9E9EE}"/>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F8DBD5B-30F9-4F9C-AE39-E065C1AC514D}" type="slidenum">
              <a:rPr kumimoji="0" lang="en-US" sz="800" b="0" i="0" u="none" strike="noStrike" kern="1200" cap="none" spc="50" normalizeH="0" baseline="0" noProof="0" smtClean="0">
                <a:ln>
                  <a:noFill/>
                </a:ln>
                <a:solidFill>
                  <a:srgbClr val="FFFFFF"/>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800" b="0" i="0" u="none" strike="noStrike" kern="1200" cap="none" spc="50" normalizeH="0" baseline="0" noProof="0">
              <a:ln>
                <a:noFill/>
              </a:ln>
              <a:solidFill>
                <a:srgbClr val="FFFFFF"/>
              </a:solidFill>
              <a:effectLst/>
              <a:uLnTx/>
              <a:uFillTx/>
              <a:latin typeface="Arial"/>
              <a:ea typeface="+mn-ea"/>
              <a:cs typeface="+mn-cs"/>
            </a:endParaRPr>
          </a:p>
        </p:txBody>
      </p:sp>
      <p:sp>
        <p:nvSpPr>
          <p:cNvPr id="8" name="Plassholder for tekst 7">
            <a:extLst>
              <a:ext uri="{FF2B5EF4-FFF2-40B4-BE49-F238E27FC236}">
                <a16:creationId xmlns:a16="http://schemas.microsoft.com/office/drawing/2014/main" id="{92720FAD-45B1-4AE5-A71E-A1BA1B7E0D23}"/>
              </a:ext>
            </a:extLst>
          </p:cNvPr>
          <p:cNvSpPr>
            <a:spLocks noGrp="1"/>
          </p:cNvSpPr>
          <p:nvPr>
            <p:ph type="body" sz="quarter" idx="14"/>
          </p:nvPr>
        </p:nvSpPr>
        <p:spPr/>
        <p:txBody>
          <a:bodyPr/>
          <a:lstStyle/>
          <a:p>
            <a:r>
              <a:rPr lang="nb-NO" err="1"/>
              <a:t>Poerhouse</a:t>
            </a:r>
            <a:r>
              <a:rPr lang="nb-NO"/>
              <a:t> </a:t>
            </a:r>
            <a:r>
              <a:rPr lang="nb-NO" err="1"/>
              <a:t>Brattørkaia</a:t>
            </a:r>
            <a:endParaRPr lang="nb-NO"/>
          </a:p>
        </p:txBody>
      </p:sp>
      <p:sp>
        <p:nvSpPr>
          <p:cNvPr id="11" name="Plassholder for innhold 1">
            <a:extLst>
              <a:ext uri="{FF2B5EF4-FFF2-40B4-BE49-F238E27FC236}">
                <a16:creationId xmlns:a16="http://schemas.microsoft.com/office/drawing/2014/main" id="{18895BF3-1E1E-4988-B3A3-C834825EE746}"/>
              </a:ext>
            </a:extLst>
          </p:cNvPr>
          <p:cNvSpPr txBox="1">
            <a:spLocks/>
          </p:cNvSpPr>
          <p:nvPr/>
        </p:nvSpPr>
        <p:spPr>
          <a:xfrm>
            <a:off x="1320918" y="885610"/>
            <a:ext cx="774584" cy="539497"/>
          </a:xfrm>
          <a:prstGeom prst="rect">
            <a:avLst/>
          </a:prstGeom>
        </p:spPr>
        <p:txBody>
          <a:bodyPr/>
          <a:lstStyle>
            <a:lvl1pPr marL="182563" indent="-176213" algn="l" defTabSz="914400" rtl="0" eaLnBrk="1" latinLnBrk="0" hangingPunct="1">
              <a:lnSpc>
                <a:spcPct val="100000"/>
              </a:lnSpc>
              <a:spcBef>
                <a:spcPts val="1000"/>
              </a:spcBef>
              <a:spcAft>
                <a:spcPts val="0"/>
              </a:spcAft>
              <a:buFont typeface="Arial" panose="020B0604020202020204" pitchFamily="34" charset="0"/>
              <a:buChar char="•"/>
              <a:tabLst/>
              <a:defRPr sz="1800" kern="1200" spc="40" baseline="0">
                <a:solidFill>
                  <a:schemeClr val="tx2"/>
                </a:solidFill>
                <a:latin typeface="+mn-lt"/>
                <a:ea typeface="+mn-ea"/>
                <a:cs typeface="+mn-cs"/>
              </a:defRPr>
            </a:lvl1pPr>
            <a:lvl2pPr marL="357188" indent="-176213" algn="l" defTabSz="914400" rtl="0" eaLnBrk="1" latinLnBrk="0" hangingPunct="1">
              <a:lnSpc>
                <a:spcPct val="100000"/>
              </a:lnSpc>
              <a:spcBef>
                <a:spcPts val="500"/>
              </a:spcBef>
              <a:spcAft>
                <a:spcPts val="0"/>
              </a:spcAft>
              <a:buFont typeface="Arial" panose="020B0604020202020204" pitchFamily="34" charset="0"/>
              <a:buChar char="•"/>
              <a:tabLst/>
              <a:defRPr sz="1800" kern="1200" spc="40" baseline="0">
                <a:solidFill>
                  <a:schemeClr val="tx2"/>
                </a:solidFill>
                <a:latin typeface="+mn-lt"/>
                <a:ea typeface="+mn-ea"/>
                <a:cs typeface="+mn-cs"/>
              </a:defRPr>
            </a:lvl2pPr>
            <a:lvl3pPr marL="534988" indent="-177800" algn="l" defTabSz="914400" rtl="0" eaLnBrk="1" latinLnBrk="0" hangingPunct="1">
              <a:lnSpc>
                <a:spcPct val="100000"/>
              </a:lnSpc>
              <a:spcBef>
                <a:spcPts val="500"/>
              </a:spcBef>
              <a:spcAft>
                <a:spcPts val="0"/>
              </a:spcAft>
              <a:buFont typeface="Arial" panose="020B0604020202020204" pitchFamily="34" charset="0"/>
              <a:buChar char="•"/>
              <a:tabLst/>
              <a:defRPr sz="1600" kern="1200" spc="40" baseline="0">
                <a:solidFill>
                  <a:schemeClr val="tx2"/>
                </a:solidFill>
                <a:latin typeface="+mn-lt"/>
                <a:ea typeface="+mn-ea"/>
                <a:cs typeface="+mn-cs"/>
              </a:defRPr>
            </a:lvl3pPr>
            <a:lvl4pPr marL="715963" indent="-176400" algn="l" defTabSz="914400" rtl="0" eaLnBrk="1" latinLnBrk="0" hangingPunct="1">
              <a:lnSpc>
                <a:spcPct val="100000"/>
              </a:lnSpc>
              <a:spcBef>
                <a:spcPts val="500"/>
              </a:spcBef>
              <a:spcAft>
                <a:spcPts val="0"/>
              </a:spcAft>
              <a:buFont typeface="Arial" panose="020B0604020202020204" pitchFamily="34" charset="0"/>
              <a:buChar char="•"/>
              <a:tabLst/>
              <a:defRPr sz="1400" kern="1200" spc="40" baseline="0">
                <a:solidFill>
                  <a:schemeClr val="tx2"/>
                </a:solidFill>
                <a:latin typeface="+mn-lt"/>
                <a:ea typeface="+mn-ea"/>
                <a:cs typeface="+mn-cs"/>
              </a:defRPr>
            </a:lvl4pPr>
            <a:lvl5pPr marL="892175" indent="-176213" algn="l" defTabSz="914400" rtl="0" eaLnBrk="1" latinLnBrk="0" hangingPunct="1">
              <a:lnSpc>
                <a:spcPct val="100000"/>
              </a:lnSpc>
              <a:spcBef>
                <a:spcPts val="500"/>
              </a:spcBef>
              <a:spcAft>
                <a:spcPts val="0"/>
              </a:spcAft>
              <a:buFont typeface="Arial" panose="020B0604020202020204" pitchFamily="34" charset="0"/>
              <a:buChar char="•"/>
              <a:tabLst/>
              <a:defRPr sz="1200" kern="1200" spc="4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nb-NO" sz="2000" b="1" i="0" u="none" strike="noStrike" kern="1200" cap="none" spc="40" normalizeH="0" baseline="0" noProof="0">
                <a:ln>
                  <a:noFill/>
                </a:ln>
                <a:solidFill>
                  <a:srgbClr val="FFFFFF"/>
                </a:solidFill>
                <a:effectLst/>
                <a:uLnTx/>
                <a:uFillTx/>
                <a:ea typeface="+mn-ea"/>
                <a:cs typeface="+mn-cs"/>
              </a:rPr>
              <a:t>2015</a:t>
            </a:r>
          </a:p>
        </p:txBody>
      </p:sp>
      <p:sp>
        <p:nvSpPr>
          <p:cNvPr id="12" name="Plassholder for innhold 1">
            <a:extLst>
              <a:ext uri="{FF2B5EF4-FFF2-40B4-BE49-F238E27FC236}">
                <a16:creationId xmlns:a16="http://schemas.microsoft.com/office/drawing/2014/main" id="{5A0EA109-B318-467B-A747-F9E0D3EDBB9F}"/>
              </a:ext>
            </a:extLst>
          </p:cNvPr>
          <p:cNvSpPr txBox="1">
            <a:spLocks/>
          </p:cNvSpPr>
          <p:nvPr/>
        </p:nvSpPr>
        <p:spPr>
          <a:xfrm>
            <a:off x="5623894" y="885082"/>
            <a:ext cx="774584" cy="539497"/>
          </a:xfrm>
          <a:prstGeom prst="rect">
            <a:avLst/>
          </a:prstGeom>
        </p:spPr>
        <p:txBody>
          <a:bodyPr vert="horz" lIns="46800" tIns="46800" rIns="46800" bIns="46800" rtlCol="0">
            <a:noAutofit/>
          </a:bodyPr>
          <a:lstStyle>
            <a:lvl1pPr marL="288000" indent="-288000" algn="l" defTabSz="914400" rtl="0" eaLnBrk="1" latinLnBrk="0" hangingPunct="1">
              <a:spcBef>
                <a:spcPts val="1200"/>
              </a:spcBef>
              <a:buFont typeface="Arial" panose="020B0604020202020204" pitchFamily="34" charset="0"/>
              <a:buChar char="−"/>
              <a:defRPr sz="2400" kern="1200">
                <a:solidFill>
                  <a:schemeClr val="tx1"/>
                </a:solidFill>
                <a:latin typeface="+mn-lt"/>
                <a:ea typeface="+mn-ea"/>
                <a:cs typeface="+mn-cs"/>
              </a:defRPr>
            </a:lvl1pPr>
            <a:lvl2pPr marL="576000" indent="-288000" algn="l" defTabSz="914400" rtl="0" eaLnBrk="1" latinLnBrk="0" hangingPunct="1">
              <a:spcBef>
                <a:spcPts val="600"/>
              </a:spcBef>
              <a:buFont typeface="Arial" panose="020B0604020202020204" pitchFamily="34" charset="0"/>
              <a:buChar char="–"/>
              <a:defRPr sz="2000" kern="1200">
                <a:solidFill>
                  <a:schemeClr val="tx1"/>
                </a:solidFill>
                <a:latin typeface="+mn-lt"/>
                <a:ea typeface="+mn-ea"/>
                <a:cs typeface="+mn-cs"/>
              </a:defRPr>
            </a:lvl2pPr>
            <a:lvl3pPr marL="864000" indent="-288000" algn="l" defTabSz="914400" rtl="0" eaLnBrk="1" latinLnBrk="0" hangingPunct="1">
              <a:spcBef>
                <a:spcPts val="600"/>
              </a:spcBef>
              <a:buFont typeface="Arial" panose="020B0604020202020204" pitchFamily="34" charset="0"/>
              <a:buChar char="−"/>
              <a:defRPr sz="1800" kern="1200">
                <a:solidFill>
                  <a:schemeClr val="tx1"/>
                </a:solidFill>
                <a:latin typeface="+mn-lt"/>
                <a:ea typeface="+mn-ea"/>
                <a:cs typeface="+mn-cs"/>
              </a:defRPr>
            </a:lvl3pPr>
            <a:lvl4pPr marL="1152000" indent="-288000" algn="l" defTabSz="914400" rtl="0" eaLnBrk="1" latinLnBrk="0" hangingPunct="1">
              <a:spcBef>
                <a:spcPts val="600"/>
              </a:spcBef>
              <a:buFont typeface="Arial" panose="020B0604020202020204" pitchFamily="34" charset="0"/>
              <a:buChar char="–"/>
              <a:defRPr sz="1600" kern="1200">
                <a:solidFill>
                  <a:schemeClr val="tx1"/>
                </a:solidFill>
                <a:latin typeface="+mn-lt"/>
                <a:ea typeface="+mn-ea"/>
                <a:cs typeface="+mn-cs"/>
              </a:defRPr>
            </a:lvl4pPr>
            <a:lvl5pPr marL="1440000" indent="-288000" algn="l" defTabSz="914400" rtl="0" eaLnBrk="1" latinLnBrk="0" hangingPunct="1">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nb-NO" sz="2000" b="1" i="0" u="none" strike="noStrike" kern="1200" cap="none" spc="0" normalizeH="0" baseline="0" noProof="0">
                <a:ln>
                  <a:noFill/>
                </a:ln>
                <a:solidFill>
                  <a:srgbClr val="FFFFFF"/>
                </a:solidFill>
                <a:effectLst/>
                <a:uLnTx/>
                <a:uFillTx/>
              </a:rPr>
              <a:t>2030</a:t>
            </a:r>
          </a:p>
        </p:txBody>
      </p:sp>
      <p:sp>
        <p:nvSpPr>
          <p:cNvPr id="13" name="Plassholder for innhold 1">
            <a:extLst>
              <a:ext uri="{FF2B5EF4-FFF2-40B4-BE49-F238E27FC236}">
                <a16:creationId xmlns:a16="http://schemas.microsoft.com/office/drawing/2014/main" id="{D235B96B-774B-42A2-A41C-857AD2D8317A}"/>
              </a:ext>
            </a:extLst>
          </p:cNvPr>
          <p:cNvSpPr txBox="1">
            <a:spLocks/>
          </p:cNvSpPr>
          <p:nvPr/>
        </p:nvSpPr>
        <p:spPr>
          <a:xfrm>
            <a:off x="9872366" y="885081"/>
            <a:ext cx="774584" cy="539497"/>
          </a:xfrm>
          <a:prstGeom prst="rect">
            <a:avLst/>
          </a:prstGeom>
        </p:spPr>
        <p:txBody>
          <a:bodyPr vert="horz" lIns="46800" tIns="46800" rIns="46800" bIns="46800" rtlCol="0">
            <a:noAutofit/>
          </a:bodyPr>
          <a:lstStyle>
            <a:lvl1pPr marL="288000" indent="-288000" algn="l" defTabSz="914400" rtl="0" eaLnBrk="1" latinLnBrk="0" hangingPunct="1">
              <a:spcBef>
                <a:spcPts val="1200"/>
              </a:spcBef>
              <a:buFont typeface="Arial" panose="020B0604020202020204" pitchFamily="34" charset="0"/>
              <a:buChar char="−"/>
              <a:defRPr sz="2400" kern="1200">
                <a:solidFill>
                  <a:schemeClr val="tx1"/>
                </a:solidFill>
                <a:latin typeface="+mn-lt"/>
                <a:ea typeface="+mn-ea"/>
                <a:cs typeface="+mn-cs"/>
              </a:defRPr>
            </a:lvl1pPr>
            <a:lvl2pPr marL="576000" indent="-288000" algn="l" defTabSz="914400" rtl="0" eaLnBrk="1" latinLnBrk="0" hangingPunct="1">
              <a:spcBef>
                <a:spcPts val="600"/>
              </a:spcBef>
              <a:buFont typeface="Arial" panose="020B0604020202020204" pitchFamily="34" charset="0"/>
              <a:buChar char="–"/>
              <a:defRPr sz="2000" kern="1200">
                <a:solidFill>
                  <a:schemeClr val="tx1"/>
                </a:solidFill>
                <a:latin typeface="+mn-lt"/>
                <a:ea typeface="+mn-ea"/>
                <a:cs typeface="+mn-cs"/>
              </a:defRPr>
            </a:lvl2pPr>
            <a:lvl3pPr marL="864000" indent="-288000" algn="l" defTabSz="914400" rtl="0" eaLnBrk="1" latinLnBrk="0" hangingPunct="1">
              <a:spcBef>
                <a:spcPts val="600"/>
              </a:spcBef>
              <a:buFont typeface="Arial" panose="020B0604020202020204" pitchFamily="34" charset="0"/>
              <a:buChar char="−"/>
              <a:defRPr sz="1800" kern="1200">
                <a:solidFill>
                  <a:schemeClr val="tx1"/>
                </a:solidFill>
                <a:latin typeface="+mn-lt"/>
                <a:ea typeface="+mn-ea"/>
                <a:cs typeface="+mn-cs"/>
              </a:defRPr>
            </a:lvl3pPr>
            <a:lvl4pPr marL="1152000" indent="-288000" algn="l" defTabSz="914400" rtl="0" eaLnBrk="1" latinLnBrk="0" hangingPunct="1">
              <a:spcBef>
                <a:spcPts val="600"/>
              </a:spcBef>
              <a:buFont typeface="Arial" panose="020B0604020202020204" pitchFamily="34" charset="0"/>
              <a:buChar char="–"/>
              <a:defRPr sz="1600" kern="1200">
                <a:solidFill>
                  <a:schemeClr val="tx1"/>
                </a:solidFill>
                <a:latin typeface="+mn-lt"/>
                <a:ea typeface="+mn-ea"/>
                <a:cs typeface="+mn-cs"/>
              </a:defRPr>
            </a:lvl4pPr>
            <a:lvl5pPr marL="1440000" indent="-288000" algn="l" defTabSz="914400" rtl="0" eaLnBrk="1" latinLnBrk="0" hangingPunct="1">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nb-NO" sz="2000" b="1" i="0" u="none" strike="noStrike" kern="1200" cap="none" spc="0" normalizeH="0" baseline="0" noProof="0">
                <a:ln>
                  <a:noFill/>
                </a:ln>
                <a:solidFill>
                  <a:srgbClr val="FFFFFF"/>
                </a:solidFill>
                <a:effectLst/>
                <a:uLnTx/>
                <a:uFillTx/>
                <a:ea typeface="+mn-ea"/>
                <a:cs typeface="+mn-cs"/>
              </a:rPr>
              <a:t>2045</a:t>
            </a:r>
          </a:p>
        </p:txBody>
      </p:sp>
      <p:sp>
        <p:nvSpPr>
          <p:cNvPr id="14" name="Pil: høyre 13">
            <a:extLst>
              <a:ext uri="{FF2B5EF4-FFF2-40B4-BE49-F238E27FC236}">
                <a16:creationId xmlns:a16="http://schemas.microsoft.com/office/drawing/2014/main" id="{12369423-3267-4255-8B4B-812AABDFDE5D}"/>
              </a:ext>
            </a:extLst>
          </p:cNvPr>
          <p:cNvSpPr/>
          <p:nvPr/>
        </p:nvSpPr>
        <p:spPr>
          <a:xfrm>
            <a:off x="2231165" y="885608"/>
            <a:ext cx="3240360" cy="395481"/>
          </a:xfrm>
          <a:prstGeom prst="rightArrow">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a:ea typeface="+mn-ea"/>
              <a:cs typeface="+mn-cs"/>
            </a:endParaRPr>
          </a:p>
        </p:txBody>
      </p:sp>
      <p:sp>
        <p:nvSpPr>
          <p:cNvPr id="15" name="Pil: høyre 14">
            <a:extLst>
              <a:ext uri="{FF2B5EF4-FFF2-40B4-BE49-F238E27FC236}">
                <a16:creationId xmlns:a16="http://schemas.microsoft.com/office/drawing/2014/main" id="{E3C382EC-1A00-4D1C-A86F-CEE1C0E65DD7}"/>
              </a:ext>
            </a:extLst>
          </p:cNvPr>
          <p:cNvSpPr/>
          <p:nvPr/>
        </p:nvSpPr>
        <p:spPr>
          <a:xfrm>
            <a:off x="6502902" y="885082"/>
            <a:ext cx="3240360" cy="395481"/>
          </a:xfrm>
          <a:prstGeom prst="rightArrow">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a:ea typeface="+mn-ea"/>
              <a:cs typeface="+mn-cs"/>
            </a:endParaRPr>
          </a:p>
        </p:txBody>
      </p:sp>
      <p:sp>
        <p:nvSpPr>
          <p:cNvPr id="16" name="TekstSylinder 15">
            <a:extLst>
              <a:ext uri="{FF2B5EF4-FFF2-40B4-BE49-F238E27FC236}">
                <a16:creationId xmlns:a16="http://schemas.microsoft.com/office/drawing/2014/main" id="{09DA0093-F038-4B64-BB96-DE84992C2280}"/>
              </a:ext>
            </a:extLst>
          </p:cNvPr>
          <p:cNvSpPr txBox="1"/>
          <p:nvPr/>
        </p:nvSpPr>
        <p:spPr>
          <a:xfrm>
            <a:off x="1058429" y="1339146"/>
            <a:ext cx="1296144" cy="307777"/>
          </a:xfrm>
          <a:prstGeom prst="rect">
            <a:avLst/>
          </a:prstGeom>
          <a:noFill/>
        </p:spPr>
        <p:txBody>
          <a:bodyPr wrap="square" lIns="46800" rIns="468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FFFFFF"/>
                </a:solidFill>
                <a:effectLst/>
                <a:uLnTx/>
                <a:uFillTx/>
                <a:latin typeface="Shape Sans" panose="00000500000000000000" pitchFamily="50" charset="0"/>
              </a:rPr>
              <a:t>Referanseår</a:t>
            </a:r>
          </a:p>
        </p:txBody>
      </p:sp>
      <p:sp>
        <p:nvSpPr>
          <p:cNvPr id="17" name="TekstSylinder 16">
            <a:extLst>
              <a:ext uri="{FF2B5EF4-FFF2-40B4-BE49-F238E27FC236}">
                <a16:creationId xmlns:a16="http://schemas.microsoft.com/office/drawing/2014/main" id="{C375F1DF-5689-4BA0-B006-DD31C70894F9}"/>
              </a:ext>
            </a:extLst>
          </p:cNvPr>
          <p:cNvSpPr txBox="1"/>
          <p:nvPr/>
        </p:nvSpPr>
        <p:spPr>
          <a:xfrm>
            <a:off x="4503594" y="1339146"/>
            <a:ext cx="3168352" cy="523220"/>
          </a:xfrm>
          <a:prstGeom prst="rect">
            <a:avLst/>
          </a:prstGeom>
          <a:noFill/>
        </p:spPr>
        <p:txBody>
          <a:bodyPr wrap="square" lIns="46800" rIns="468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FFFFFF"/>
                </a:solidFill>
                <a:effectLst/>
                <a:uLnTx/>
                <a:uFillTx/>
              </a:rPr>
              <a:t>Innen 2030 skal vi redusere klimagassutslippene våre med 70%</a:t>
            </a:r>
          </a:p>
        </p:txBody>
      </p:sp>
      <p:sp>
        <p:nvSpPr>
          <p:cNvPr id="18" name="TekstSylinder 17">
            <a:extLst>
              <a:ext uri="{FF2B5EF4-FFF2-40B4-BE49-F238E27FC236}">
                <a16:creationId xmlns:a16="http://schemas.microsoft.com/office/drawing/2014/main" id="{56A659C2-529B-9608-8AAE-47200500A519}"/>
              </a:ext>
            </a:extLst>
          </p:cNvPr>
          <p:cNvSpPr txBox="1"/>
          <p:nvPr/>
        </p:nvSpPr>
        <p:spPr>
          <a:xfrm>
            <a:off x="8675482" y="1339146"/>
            <a:ext cx="3168352" cy="523220"/>
          </a:xfrm>
          <a:prstGeom prst="rect">
            <a:avLst/>
          </a:prstGeom>
          <a:noFill/>
        </p:spPr>
        <p:txBody>
          <a:bodyPr wrap="square" lIns="46800" rIns="468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FFFFFF"/>
                </a:solidFill>
                <a:effectLst/>
                <a:uLnTx/>
                <a:uFillTx/>
                <a:ea typeface="+mn-ea"/>
                <a:cs typeface="+mn-cs"/>
              </a:rPr>
              <a:t>Innen 2045 skal vi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FFFFFF"/>
                </a:solidFill>
                <a:effectLst/>
                <a:uLnTx/>
                <a:uFillTx/>
                <a:ea typeface="+mn-ea"/>
                <a:cs typeface="+mn-cs"/>
              </a:rPr>
              <a:t>være klimanøytrale</a:t>
            </a:r>
          </a:p>
        </p:txBody>
      </p:sp>
    </p:spTree>
    <p:extLst>
      <p:ext uri="{BB962C8B-B14F-4D97-AF65-F5344CB8AC3E}">
        <p14:creationId xmlns:p14="http://schemas.microsoft.com/office/powerpoint/2010/main" val="356202654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ktangel: avrundede hjørner 6">
            <a:extLst>
              <a:ext uri="{FF2B5EF4-FFF2-40B4-BE49-F238E27FC236}">
                <a16:creationId xmlns:a16="http://schemas.microsoft.com/office/drawing/2014/main" id="{1085E143-1A11-4C9F-A981-FC192A41D80B}"/>
              </a:ext>
            </a:extLst>
          </p:cNvPr>
          <p:cNvSpPr/>
          <p:nvPr/>
        </p:nvSpPr>
        <p:spPr>
          <a:xfrm>
            <a:off x="2324100" y="3441198"/>
            <a:ext cx="7543800" cy="3188603"/>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400" b="1"/>
              <a:t>Scope 3 </a:t>
            </a:r>
            <a:r>
              <a:rPr lang="nb-NO" sz="1200"/>
              <a:t>- Andre indirekte </a:t>
            </a:r>
            <a:r>
              <a:rPr lang="nb-NO" sz="1200">
                <a:latin typeface="Shape Sans" panose="00000500000000000000" pitchFamily="50" charset="0"/>
              </a:rPr>
              <a:t>utslipp</a:t>
            </a:r>
          </a:p>
          <a:p>
            <a:pPr algn="ctr"/>
            <a:endParaRPr lang="nb-NO" sz="1200">
              <a:latin typeface="Shape Sans" panose="00000500000000000000" pitchFamily="50" charset="0"/>
            </a:endParaRPr>
          </a:p>
          <a:p>
            <a:pPr algn="ctr"/>
            <a:endParaRPr lang="nb-NO" sz="1200">
              <a:latin typeface="Shape Sans" panose="00000500000000000000" pitchFamily="50" charset="0"/>
            </a:endParaRPr>
          </a:p>
          <a:p>
            <a:pPr algn="ctr"/>
            <a:endParaRPr lang="nb-NO" sz="1200">
              <a:latin typeface="Shape Sans" panose="00000500000000000000" pitchFamily="50" charset="0"/>
            </a:endParaRPr>
          </a:p>
          <a:p>
            <a:pPr algn="ctr"/>
            <a:endParaRPr lang="nb-NO" sz="1200">
              <a:latin typeface="Shape Sans" panose="00000500000000000000" pitchFamily="50" charset="0"/>
            </a:endParaRPr>
          </a:p>
          <a:p>
            <a:pPr algn="ctr"/>
            <a:endParaRPr lang="nb-NO" sz="1200">
              <a:latin typeface="Shape Sans" panose="00000500000000000000" pitchFamily="50" charset="0"/>
            </a:endParaRPr>
          </a:p>
          <a:p>
            <a:pPr algn="ctr"/>
            <a:endParaRPr lang="nb-NO" sz="1200">
              <a:latin typeface="Shape Sans" panose="00000500000000000000" pitchFamily="50" charset="0"/>
            </a:endParaRPr>
          </a:p>
          <a:p>
            <a:pPr algn="ctr"/>
            <a:endParaRPr lang="nb-NO" sz="1200">
              <a:latin typeface="Shape Sans" panose="00000500000000000000" pitchFamily="50" charset="0"/>
            </a:endParaRPr>
          </a:p>
          <a:p>
            <a:pPr algn="ctr"/>
            <a:endParaRPr lang="nb-NO" sz="1200">
              <a:latin typeface="Shape Sans" panose="00000500000000000000" pitchFamily="50" charset="0"/>
            </a:endParaRPr>
          </a:p>
          <a:p>
            <a:pPr algn="ctr"/>
            <a:endParaRPr lang="nb-NO" sz="1200">
              <a:latin typeface="Shape Sans" panose="00000500000000000000" pitchFamily="50" charset="0"/>
            </a:endParaRPr>
          </a:p>
          <a:p>
            <a:pPr algn="ctr"/>
            <a:endParaRPr lang="nb-NO" sz="1200">
              <a:latin typeface="Shape Sans" panose="00000500000000000000" pitchFamily="50" charset="0"/>
            </a:endParaRPr>
          </a:p>
          <a:p>
            <a:pPr algn="ctr"/>
            <a:endParaRPr lang="nb-NO" sz="1200">
              <a:latin typeface="Shape Sans" panose="00000500000000000000" pitchFamily="50" charset="0"/>
            </a:endParaRPr>
          </a:p>
          <a:p>
            <a:pPr algn="ctr"/>
            <a:endParaRPr lang="nb-NO" sz="1200">
              <a:latin typeface="Shape Sans" panose="00000500000000000000" pitchFamily="50" charset="0"/>
            </a:endParaRPr>
          </a:p>
          <a:p>
            <a:pPr algn="ctr"/>
            <a:endParaRPr lang="nb-NO" sz="1200">
              <a:latin typeface="Shape Sans" panose="00000500000000000000" pitchFamily="50" charset="0"/>
            </a:endParaRPr>
          </a:p>
        </p:txBody>
      </p:sp>
      <p:sp>
        <p:nvSpPr>
          <p:cNvPr id="4" name="Plassholder for lysbildenummer 3">
            <a:extLst>
              <a:ext uri="{FF2B5EF4-FFF2-40B4-BE49-F238E27FC236}">
                <a16:creationId xmlns:a16="http://schemas.microsoft.com/office/drawing/2014/main" id="{BF9D1AC6-1693-49EE-9F77-68953F8874EE}"/>
              </a:ext>
            </a:extLst>
          </p:cNvPr>
          <p:cNvSpPr>
            <a:spLocks noGrp="1"/>
          </p:cNvSpPr>
          <p:nvPr>
            <p:ph type="sldNum" sz="quarter" idx="4"/>
          </p:nvPr>
        </p:nvSpPr>
        <p:spPr/>
        <p:txBody>
          <a:bodyPr/>
          <a:lstStyle/>
          <a:p>
            <a:fld id="{EF8DBD5B-30F9-4F9C-AE39-E065C1AC514D}" type="slidenum">
              <a:rPr lang="en-US" noProof="0" smtClean="0"/>
              <a:pPr/>
              <a:t>3</a:t>
            </a:fld>
            <a:endParaRPr lang="en-US" noProof="0"/>
          </a:p>
        </p:txBody>
      </p:sp>
      <p:sp>
        <p:nvSpPr>
          <p:cNvPr id="5" name="Rektangel: avrundede hjørner 4">
            <a:extLst>
              <a:ext uri="{FF2B5EF4-FFF2-40B4-BE49-F238E27FC236}">
                <a16:creationId xmlns:a16="http://schemas.microsoft.com/office/drawing/2014/main" id="{4A22C26C-8B0A-47A1-975A-0FD7FCC4B97F}"/>
              </a:ext>
            </a:extLst>
          </p:cNvPr>
          <p:cNvSpPr/>
          <p:nvPr/>
        </p:nvSpPr>
        <p:spPr>
          <a:xfrm>
            <a:off x="2442776" y="1109202"/>
            <a:ext cx="3590925" cy="2095500"/>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400" b="1">
                <a:latin typeface="Shape Sans" panose="00000500000000000000" pitchFamily="50" charset="0"/>
              </a:rPr>
              <a:t>Scope 1 - </a:t>
            </a:r>
            <a:r>
              <a:rPr lang="nb-NO" sz="1200">
                <a:latin typeface="Shape Sans" panose="00000500000000000000" pitchFamily="50" charset="0"/>
              </a:rPr>
              <a:t>Direkte utslipp fra eget utstyr</a:t>
            </a:r>
          </a:p>
          <a:p>
            <a:pPr algn="ctr"/>
            <a:endParaRPr lang="nb-NO" sz="1200">
              <a:latin typeface="Shape Sans" panose="00000500000000000000" pitchFamily="50" charset="0"/>
            </a:endParaRPr>
          </a:p>
          <a:p>
            <a:pPr algn="ctr"/>
            <a:endParaRPr lang="nb-NO" sz="1200">
              <a:latin typeface="Shape Sans" panose="00000500000000000000" pitchFamily="50" charset="0"/>
            </a:endParaRPr>
          </a:p>
          <a:p>
            <a:pPr algn="ctr"/>
            <a:endParaRPr lang="nb-NO" sz="1200"/>
          </a:p>
          <a:p>
            <a:pPr algn="ctr"/>
            <a:endParaRPr lang="nb-NO" sz="1200"/>
          </a:p>
          <a:p>
            <a:pPr algn="ctr"/>
            <a:endParaRPr lang="nb-NO" sz="1200"/>
          </a:p>
          <a:p>
            <a:pPr algn="ctr"/>
            <a:endParaRPr lang="nb-NO" sz="1200"/>
          </a:p>
          <a:p>
            <a:pPr algn="ctr"/>
            <a:endParaRPr lang="nb-NO" sz="1200"/>
          </a:p>
          <a:p>
            <a:pPr algn="ctr"/>
            <a:endParaRPr lang="nb-NO" sz="1200"/>
          </a:p>
        </p:txBody>
      </p:sp>
      <p:sp>
        <p:nvSpPr>
          <p:cNvPr id="6" name="Rektangel: avrundede hjørner 5">
            <a:extLst>
              <a:ext uri="{FF2B5EF4-FFF2-40B4-BE49-F238E27FC236}">
                <a16:creationId xmlns:a16="http://schemas.microsoft.com/office/drawing/2014/main" id="{79EE2782-85AF-46F9-B79F-348F4FB3A4A1}"/>
              </a:ext>
            </a:extLst>
          </p:cNvPr>
          <p:cNvSpPr/>
          <p:nvPr/>
        </p:nvSpPr>
        <p:spPr>
          <a:xfrm>
            <a:off x="6276974" y="1106956"/>
            <a:ext cx="3590925" cy="2095500"/>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400" b="1">
                <a:latin typeface="Shape Sans" panose="00000500000000000000" pitchFamily="50" charset="0"/>
              </a:rPr>
              <a:t>Scope 2 - </a:t>
            </a:r>
            <a:r>
              <a:rPr lang="nb-NO" sz="1200">
                <a:latin typeface="Shape Sans" panose="00000500000000000000" pitchFamily="50" charset="0"/>
              </a:rPr>
              <a:t>Utslipp fra innkjøpt energi</a:t>
            </a:r>
          </a:p>
          <a:p>
            <a:pPr algn="ctr"/>
            <a:endParaRPr lang="nb-NO" sz="1200"/>
          </a:p>
          <a:p>
            <a:pPr algn="ctr"/>
            <a:endParaRPr lang="nb-NO" sz="1200"/>
          </a:p>
          <a:p>
            <a:pPr algn="ctr"/>
            <a:endParaRPr lang="nb-NO" sz="1200"/>
          </a:p>
          <a:p>
            <a:pPr algn="ctr"/>
            <a:endParaRPr lang="nb-NO" sz="1200"/>
          </a:p>
          <a:p>
            <a:pPr algn="ctr"/>
            <a:endParaRPr lang="nb-NO" sz="1200"/>
          </a:p>
          <a:p>
            <a:pPr algn="ctr"/>
            <a:endParaRPr lang="nb-NO" sz="1200"/>
          </a:p>
          <a:p>
            <a:pPr algn="ctr"/>
            <a:endParaRPr lang="nb-NO" sz="1200"/>
          </a:p>
          <a:p>
            <a:pPr algn="ctr"/>
            <a:endParaRPr lang="nb-NO" sz="1200"/>
          </a:p>
        </p:txBody>
      </p:sp>
      <p:pic>
        <p:nvPicPr>
          <p:cNvPr id="8" name="Bilde 7">
            <a:extLst>
              <a:ext uri="{FF2B5EF4-FFF2-40B4-BE49-F238E27FC236}">
                <a16:creationId xmlns:a16="http://schemas.microsoft.com/office/drawing/2014/main" id="{270DC282-54A3-413F-A6C6-6FB5DD23294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43748" y="1738705"/>
            <a:ext cx="750707" cy="750707"/>
          </a:xfrm>
          <a:prstGeom prst="rect">
            <a:avLst/>
          </a:prstGeom>
        </p:spPr>
      </p:pic>
      <p:pic>
        <p:nvPicPr>
          <p:cNvPr id="10" name="Bilde 9">
            <a:extLst>
              <a:ext uri="{FF2B5EF4-FFF2-40B4-BE49-F238E27FC236}">
                <a16:creationId xmlns:a16="http://schemas.microsoft.com/office/drawing/2014/main" id="{604EDC42-7C7A-46B1-A6E2-992EF9344C4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29113" y="1776099"/>
            <a:ext cx="733425" cy="733425"/>
          </a:xfrm>
          <a:prstGeom prst="rect">
            <a:avLst/>
          </a:prstGeom>
        </p:spPr>
      </p:pic>
      <p:sp>
        <p:nvSpPr>
          <p:cNvPr id="12" name="TekstSylinder 11">
            <a:extLst>
              <a:ext uri="{FF2B5EF4-FFF2-40B4-BE49-F238E27FC236}">
                <a16:creationId xmlns:a16="http://schemas.microsoft.com/office/drawing/2014/main" id="{571A10ED-3371-4576-8598-E3F06CC242B5}"/>
              </a:ext>
            </a:extLst>
          </p:cNvPr>
          <p:cNvSpPr txBox="1"/>
          <p:nvPr/>
        </p:nvSpPr>
        <p:spPr>
          <a:xfrm>
            <a:off x="4917470" y="1915463"/>
            <a:ext cx="500466" cy="246221"/>
          </a:xfrm>
          <a:prstGeom prst="rect">
            <a:avLst/>
          </a:prstGeom>
          <a:noFill/>
        </p:spPr>
        <p:txBody>
          <a:bodyPr wrap="square" lIns="0" tIns="0" rIns="0" bIns="0" rtlCol="0">
            <a:spAutoFit/>
          </a:bodyPr>
          <a:lstStyle/>
          <a:p>
            <a:pPr algn="l"/>
            <a:r>
              <a:rPr lang="nb-NO" sz="1600" spc="40">
                <a:solidFill>
                  <a:schemeClr val="tx2"/>
                </a:solidFill>
              </a:rPr>
              <a:t>CO</a:t>
            </a:r>
            <a:r>
              <a:rPr lang="nb-NO" sz="1600" spc="40" baseline="-25000">
                <a:solidFill>
                  <a:schemeClr val="tx2"/>
                </a:solidFill>
              </a:rPr>
              <a:t>2</a:t>
            </a:r>
          </a:p>
        </p:txBody>
      </p:sp>
      <p:sp>
        <p:nvSpPr>
          <p:cNvPr id="13" name="TekstSylinder 12">
            <a:extLst>
              <a:ext uri="{FF2B5EF4-FFF2-40B4-BE49-F238E27FC236}">
                <a16:creationId xmlns:a16="http://schemas.microsoft.com/office/drawing/2014/main" id="{B8BF0EBB-EB64-43F4-AACE-7D7709E6C575}"/>
              </a:ext>
            </a:extLst>
          </p:cNvPr>
          <p:cNvSpPr txBox="1"/>
          <p:nvPr/>
        </p:nvSpPr>
        <p:spPr>
          <a:xfrm>
            <a:off x="3186611" y="2781878"/>
            <a:ext cx="1142502" cy="153888"/>
          </a:xfrm>
          <a:prstGeom prst="rect">
            <a:avLst/>
          </a:prstGeom>
          <a:noFill/>
        </p:spPr>
        <p:txBody>
          <a:bodyPr wrap="square" lIns="0" tIns="0" rIns="0" bIns="0" rtlCol="0">
            <a:spAutoFit/>
          </a:bodyPr>
          <a:lstStyle/>
          <a:p>
            <a:pPr algn="l"/>
            <a:r>
              <a:rPr lang="nb-NO" sz="1000" spc="40">
                <a:solidFill>
                  <a:schemeClr val="tx2"/>
                </a:solidFill>
                <a:latin typeface="Shape Sans" panose="00000500000000000000" pitchFamily="50" charset="0"/>
              </a:rPr>
              <a:t>Drivstoff</a:t>
            </a:r>
          </a:p>
        </p:txBody>
      </p:sp>
      <p:sp>
        <p:nvSpPr>
          <p:cNvPr id="14" name="TekstSylinder 13">
            <a:extLst>
              <a:ext uri="{FF2B5EF4-FFF2-40B4-BE49-F238E27FC236}">
                <a16:creationId xmlns:a16="http://schemas.microsoft.com/office/drawing/2014/main" id="{8A540BBE-79A9-4B6D-A85C-6C7D4CD04476}"/>
              </a:ext>
            </a:extLst>
          </p:cNvPr>
          <p:cNvSpPr txBox="1"/>
          <p:nvPr/>
        </p:nvSpPr>
        <p:spPr>
          <a:xfrm>
            <a:off x="4448424" y="2781878"/>
            <a:ext cx="1142502" cy="153888"/>
          </a:xfrm>
          <a:prstGeom prst="rect">
            <a:avLst/>
          </a:prstGeom>
          <a:noFill/>
        </p:spPr>
        <p:txBody>
          <a:bodyPr wrap="square" lIns="0" tIns="0" rIns="0" bIns="0" rtlCol="0">
            <a:spAutoFit/>
          </a:bodyPr>
          <a:lstStyle/>
          <a:p>
            <a:pPr algn="l"/>
            <a:r>
              <a:rPr lang="nb-NO" sz="1000" spc="40">
                <a:solidFill>
                  <a:schemeClr val="tx2"/>
                </a:solidFill>
                <a:latin typeface="Shape Sans" panose="00000500000000000000" pitchFamily="50" charset="0"/>
              </a:rPr>
              <a:t>Prosessutslipp</a:t>
            </a:r>
          </a:p>
        </p:txBody>
      </p:sp>
      <p:pic>
        <p:nvPicPr>
          <p:cNvPr id="15" name="Bilde 14">
            <a:extLst>
              <a:ext uri="{FF2B5EF4-FFF2-40B4-BE49-F238E27FC236}">
                <a16:creationId xmlns:a16="http://schemas.microsoft.com/office/drawing/2014/main" id="{6EFAA51A-FC98-41C5-B7AF-8D6200D773C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072437" y="1794971"/>
            <a:ext cx="1317943" cy="733425"/>
          </a:xfrm>
          <a:prstGeom prst="rect">
            <a:avLst/>
          </a:prstGeom>
        </p:spPr>
      </p:pic>
      <mc:AlternateContent xmlns:mc="http://schemas.openxmlformats.org/markup-compatibility/2006" xmlns:a14="http://schemas.microsoft.com/office/drawing/2010/main">
        <mc:Choice Requires="a14">
          <p:sp>
            <p:nvSpPr>
              <p:cNvPr id="16" name="TekstSylinder 15">
                <a:extLst>
                  <a:ext uri="{FF2B5EF4-FFF2-40B4-BE49-F238E27FC236}">
                    <a16:creationId xmlns:a16="http://schemas.microsoft.com/office/drawing/2014/main" id="{617DF2AE-CCCC-4461-8F7D-2F9984D083CF}"/>
                  </a:ext>
                </a:extLst>
              </p:cNvPr>
              <p:cNvSpPr txBox="1"/>
              <p:nvPr/>
            </p:nvSpPr>
            <p:spPr>
              <a:xfrm rot="5400000">
                <a:off x="8419466" y="2077684"/>
                <a:ext cx="924176" cy="246221"/>
              </a:xfrm>
              <a:prstGeom prst="rect">
                <a:avLst/>
              </a:prstGeom>
              <a:noFill/>
            </p:spPr>
            <p:txBody>
              <a:bodyPr wrap="square" lIns="0" tIns="0" rIns="0" bIns="0" rtlCol="0">
                <a:spAutoFit/>
              </a:bodyPr>
              <a:lstStyle/>
              <a:p>
                <a:pPr algn="l"/>
                <a14:m>
                  <m:oMathPara xmlns:m="http://schemas.openxmlformats.org/officeDocument/2006/math">
                    <m:oMathParaPr>
                      <m:jc m:val="centerGroup"/>
                    </m:oMathParaPr>
                    <m:oMath xmlns:m="http://schemas.openxmlformats.org/officeDocument/2006/math">
                      <m:r>
                        <a:rPr lang="nb-NO" sz="1600" i="1" spc="40" smtClean="0">
                          <a:solidFill>
                            <a:schemeClr val="tx2"/>
                          </a:solidFill>
                          <a:latin typeface="Cambria Math" panose="02040503050406030204" pitchFamily="18" charset="0"/>
                          <a:ea typeface="Cambria Math" panose="02040503050406030204" pitchFamily="18" charset="0"/>
                        </a:rPr>
                        <m:t>~</m:t>
                      </m:r>
                    </m:oMath>
                  </m:oMathPara>
                </a14:m>
                <a:endParaRPr lang="nb-NO" sz="1600" spc="40">
                  <a:solidFill>
                    <a:schemeClr val="tx2"/>
                  </a:solidFill>
                </a:endParaRPr>
              </a:p>
            </p:txBody>
          </p:sp>
        </mc:Choice>
        <mc:Fallback xmlns="">
          <p:sp>
            <p:nvSpPr>
              <p:cNvPr id="16" name="TekstSylinder 15">
                <a:extLst>
                  <a:ext uri="{FF2B5EF4-FFF2-40B4-BE49-F238E27FC236}">
                    <a16:creationId xmlns:a16="http://schemas.microsoft.com/office/drawing/2014/main" id="{617DF2AE-CCCC-4461-8F7D-2F9984D083CF}"/>
                  </a:ext>
                </a:extLst>
              </p:cNvPr>
              <p:cNvSpPr txBox="1">
                <a:spLocks noRot="1" noChangeAspect="1" noMove="1" noResize="1" noEditPoints="1" noAdjustHandles="1" noChangeArrowheads="1" noChangeShapeType="1" noTextEdit="1"/>
              </p:cNvSpPr>
              <p:nvPr/>
            </p:nvSpPr>
            <p:spPr>
              <a:xfrm rot="5400000">
                <a:off x="8419466" y="2077684"/>
                <a:ext cx="924176" cy="246221"/>
              </a:xfrm>
              <a:prstGeom prst="rect">
                <a:avLst/>
              </a:prstGeom>
              <a:blipFill>
                <a:blip r:embed="rId5"/>
                <a:stretch>
                  <a:fillRect/>
                </a:stretch>
              </a:blipFill>
            </p:spPr>
            <p:txBody>
              <a:bodyPr/>
              <a:lstStyle/>
              <a:p>
                <a:r>
                  <a:rPr lang="nb-NO">
                    <a:noFill/>
                  </a:rPr>
                  <a:t> </a:t>
                </a:r>
              </a:p>
            </p:txBody>
          </p:sp>
        </mc:Fallback>
      </mc:AlternateContent>
      <mc:AlternateContent xmlns:mc="http://schemas.openxmlformats.org/markup-compatibility/2006" xmlns:a14="http://schemas.microsoft.com/office/drawing/2010/main">
        <mc:Choice Requires="a14">
          <p:sp>
            <p:nvSpPr>
              <p:cNvPr id="17" name="TekstSylinder 16">
                <a:extLst>
                  <a:ext uri="{FF2B5EF4-FFF2-40B4-BE49-F238E27FC236}">
                    <a16:creationId xmlns:a16="http://schemas.microsoft.com/office/drawing/2014/main" id="{BADD207F-4EFF-411B-86C3-759E8B41E2FD}"/>
                  </a:ext>
                </a:extLst>
              </p:cNvPr>
              <p:cNvSpPr txBox="1"/>
              <p:nvPr/>
            </p:nvSpPr>
            <p:spPr>
              <a:xfrm rot="5400000">
                <a:off x="8287191" y="2077684"/>
                <a:ext cx="924176" cy="246221"/>
              </a:xfrm>
              <a:prstGeom prst="rect">
                <a:avLst/>
              </a:prstGeom>
              <a:noFill/>
            </p:spPr>
            <p:txBody>
              <a:bodyPr wrap="square" lIns="0" tIns="0" rIns="0" bIns="0" rtlCol="0">
                <a:spAutoFit/>
              </a:bodyPr>
              <a:lstStyle/>
              <a:p>
                <a:pPr algn="l"/>
                <a14:m>
                  <m:oMathPara xmlns:m="http://schemas.openxmlformats.org/officeDocument/2006/math">
                    <m:oMathParaPr>
                      <m:jc m:val="centerGroup"/>
                    </m:oMathParaPr>
                    <m:oMath xmlns:m="http://schemas.openxmlformats.org/officeDocument/2006/math">
                      <m:r>
                        <a:rPr lang="nb-NO" sz="1600" i="1" spc="40" smtClean="0">
                          <a:solidFill>
                            <a:schemeClr val="tx2"/>
                          </a:solidFill>
                          <a:latin typeface="Cambria Math" panose="02040503050406030204" pitchFamily="18" charset="0"/>
                          <a:ea typeface="Cambria Math" panose="02040503050406030204" pitchFamily="18" charset="0"/>
                        </a:rPr>
                        <m:t>~</m:t>
                      </m:r>
                    </m:oMath>
                  </m:oMathPara>
                </a14:m>
                <a:endParaRPr lang="nb-NO" sz="1600" spc="40">
                  <a:solidFill>
                    <a:schemeClr val="tx2"/>
                  </a:solidFill>
                </a:endParaRPr>
              </a:p>
            </p:txBody>
          </p:sp>
        </mc:Choice>
        <mc:Fallback xmlns="">
          <p:sp>
            <p:nvSpPr>
              <p:cNvPr id="17" name="TekstSylinder 16">
                <a:extLst>
                  <a:ext uri="{FF2B5EF4-FFF2-40B4-BE49-F238E27FC236}">
                    <a16:creationId xmlns:a16="http://schemas.microsoft.com/office/drawing/2014/main" id="{BADD207F-4EFF-411B-86C3-759E8B41E2FD}"/>
                  </a:ext>
                </a:extLst>
              </p:cNvPr>
              <p:cNvSpPr txBox="1">
                <a:spLocks noRot="1" noChangeAspect="1" noMove="1" noResize="1" noEditPoints="1" noAdjustHandles="1" noChangeArrowheads="1" noChangeShapeType="1" noTextEdit="1"/>
              </p:cNvSpPr>
              <p:nvPr/>
            </p:nvSpPr>
            <p:spPr>
              <a:xfrm rot="5400000">
                <a:off x="8287191" y="2077684"/>
                <a:ext cx="924176" cy="246221"/>
              </a:xfrm>
              <a:prstGeom prst="rect">
                <a:avLst/>
              </a:prstGeom>
              <a:blipFill>
                <a:blip r:embed="rId6"/>
                <a:stretch>
                  <a:fillRect/>
                </a:stretch>
              </a:blipFill>
            </p:spPr>
            <p:txBody>
              <a:bodyPr/>
              <a:lstStyle/>
              <a:p>
                <a:r>
                  <a:rPr lang="nb-NO">
                    <a:noFill/>
                  </a:rPr>
                  <a:t> </a:t>
                </a:r>
              </a:p>
            </p:txBody>
          </p:sp>
        </mc:Fallback>
      </mc:AlternateContent>
      <p:sp>
        <p:nvSpPr>
          <p:cNvPr id="20" name="Rektangel 19">
            <a:extLst>
              <a:ext uri="{FF2B5EF4-FFF2-40B4-BE49-F238E27FC236}">
                <a16:creationId xmlns:a16="http://schemas.microsoft.com/office/drawing/2014/main" id="{2B6B9730-D5D6-4E08-8E3B-60F4C03FE65B}"/>
              </a:ext>
            </a:extLst>
          </p:cNvPr>
          <p:cNvSpPr/>
          <p:nvPr/>
        </p:nvSpPr>
        <p:spPr>
          <a:xfrm>
            <a:off x="7010704" y="1871389"/>
            <a:ext cx="628540" cy="65880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mc:AlternateContent xmlns:mc="http://schemas.openxmlformats.org/markup-compatibility/2006" xmlns:a14="http://schemas.microsoft.com/office/drawing/2010/main">
        <mc:Choice Requires="a14">
          <p:sp>
            <p:nvSpPr>
              <p:cNvPr id="18" name="TekstSylinder 17">
                <a:extLst>
                  <a:ext uri="{FF2B5EF4-FFF2-40B4-BE49-F238E27FC236}">
                    <a16:creationId xmlns:a16="http://schemas.microsoft.com/office/drawing/2014/main" id="{63D9B91E-5957-405C-A967-16E2D3B5298F}"/>
                  </a:ext>
                </a:extLst>
              </p:cNvPr>
              <p:cNvSpPr txBox="1"/>
              <p:nvPr/>
            </p:nvSpPr>
            <p:spPr>
              <a:xfrm rot="5400000">
                <a:off x="8142128" y="2077683"/>
                <a:ext cx="924176" cy="246221"/>
              </a:xfrm>
              <a:prstGeom prst="rect">
                <a:avLst/>
              </a:prstGeom>
              <a:noFill/>
            </p:spPr>
            <p:txBody>
              <a:bodyPr wrap="square" lIns="0" tIns="0" rIns="0" bIns="0" rtlCol="0">
                <a:spAutoFit/>
              </a:bodyPr>
              <a:lstStyle/>
              <a:p>
                <a:pPr algn="l"/>
                <a14:m>
                  <m:oMathPara xmlns:m="http://schemas.openxmlformats.org/officeDocument/2006/math">
                    <m:oMathParaPr>
                      <m:jc m:val="centerGroup"/>
                    </m:oMathParaPr>
                    <m:oMath xmlns:m="http://schemas.openxmlformats.org/officeDocument/2006/math">
                      <m:r>
                        <a:rPr lang="nb-NO" sz="1600" i="1" spc="40" smtClean="0">
                          <a:solidFill>
                            <a:schemeClr val="tx2"/>
                          </a:solidFill>
                          <a:latin typeface="Cambria Math" panose="02040503050406030204" pitchFamily="18" charset="0"/>
                          <a:ea typeface="Cambria Math" panose="02040503050406030204" pitchFamily="18" charset="0"/>
                        </a:rPr>
                        <m:t>~</m:t>
                      </m:r>
                    </m:oMath>
                  </m:oMathPara>
                </a14:m>
                <a:endParaRPr lang="nb-NO" sz="1600" spc="40">
                  <a:solidFill>
                    <a:schemeClr val="tx2"/>
                  </a:solidFill>
                </a:endParaRPr>
              </a:p>
            </p:txBody>
          </p:sp>
        </mc:Choice>
        <mc:Fallback xmlns="">
          <p:sp>
            <p:nvSpPr>
              <p:cNvPr id="18" name="TekstSylinder 17">
                <a:extLst>
                  <a:ext uri="{FF2B5EF4-FFF2-40B4-BE49-F238E27FC236}">
                    <a16:creationId xmlns:a16="http://schemas.microsoft.com/office/drawing/2014/main" id="{63D9B91E-5957-405C-A967-16E2D3B5298F}"/>
                  </a:ext>
                </a:extLst>
              </p:cNvPr>
              <p:cNvSpPr txBox="1">
                <a:spLocks noRot="1" noChangeAspect="1" noMove="1" noResize="1" noEditPoints="1" noAdjustHandles="1" noChangeArrowheads="1" noChangeShapeType="1" noTextEdit="1"/>
              </p:cNvSpPr>
              <p:nvPr/>
            </p:nvSpPr>
            <p:spPr>
              <a:xfrm rot="5400000">
                <a:off x="8142128" y="2077683"/>
                <a:ext cx="924176" cy="246221"/>
              </a:xfrm>
              <a:prstGeom prst="rect">
                <a:avLst/>
              </a:prstGeom>
              <a:blipFill>
                <a:blip r:embed="rId7"/>
                <a:stretch>
                  <a:fillRect/>
                </a:stretch>
              </a:blipFill>
            </p:spPr>
            <p:txBody>
              <a:bodyPr/>
              <a:lstStyle/>
              <a:p>
                <a:r>
                  <a:rPr lang="nb-NO">
                    <a:noFill/>
                  </a:rPr>
                  <a:t> </a:t>
                </a:r>
              </a:p>
            </p:txBody>
          </p:sp>
        </mc:Fallback>
      </mc:AlternateContent>
      <p:sp>
        <p:nvSpPr>
          <p:cNvPr id="19" name="Ellipse 18">
            <a:extLst>
              <a:ext uri="{FF2B5EF4-FFF2-40B4-BE49-F238E27FC236}">
                <a16:creationId xmlns:a16="http://schemas.microsoft.com/office/drawing/2014/main" id="{AA45C29F-685C-4AAC-BF6E-04462984CCC3}"/>
              </a:ext>
            </a:extLst>
          </p:cNvPr>
          <p:cNvSpPr/>
          <p:nvPr/>
        </p:nvSpPr>
        <p:spPr>
          <a:xfrm>
            <a:off x="7094445" y="2020602"/>
            <a:ext cx="461057" cy="4163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 name="Ellipse 20">
            <a:extLst>
              <a:ext uri="{FF2B5EF4-FFF2-40B4-BE49-F238E27FC236}">
                <a16:creationId xmlns:a16="http://schemas.microsoft.com/office/drawing/2014/main" id="{3AA93354-3B85-4CD6-A0A9-F65AFD52C782}"/>
              </a:ext>
            </a:extLst>
          </p:cNvPr>
          <p:cNvSpPr/>
          <p:nvPr/>
        </p:nvSpPr>
        <p:spPr>
          <a:xfrm>
            <a:off x="7246926" y="2205911"/>
            <a:ext cx="45719" cy="457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 name="Ellipse 21">
            <a:extLst>
              <a:ext uri="{FF2B5EF4-FFF2-40B4-BE49-F238E27FC236}">
                <a16:creationId xmlns:a16="http://schemas.microsoft.com/office/drawing/2014/main" id="{DD9587C4-4705-4ABB-9693-4345465C78E3}"/>
              </a:ext>
            </a:extLst>
          </p:cNvPr>
          <p:cNvSpPr/>
          <p:nvPr/>
        </p:nvSpPr>
        <p:spPr>
          <a:xfrm>
            <a:off x="7372953" y="2205911"/>
            <a:ext cx="45719" cy="457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3" name="TekstSylinder 22">
            <a:extLst>
              <a:ext uri="{FF2B5EF4-FFF2-40B4-BE49-F238E27FC236}">
                <a16:creationId xmlns:a16="http://schemas.microsoft.com/office/drawing/2014/main" id="{07B51F6D-BAE5-406D-A55C-7E9A73E0E744}"/>
              </a:ext>
            </a:extLst>
          </p:cNvPr>
          <p:cNvSpPr txBox="1"/>
          <p:nvPr/>
        </p:nvSpPr>
        <p:spPr>
          <a:xfrm>
            <a:off x="7042647" y="2649963"/>
            <a:ext cx="1142502" cy="153888"/>
          </a:xfrm>
          <a:prstGeom prst="rect">
            <a:avLst/>
          </a:prstGeom>
          <a:noFill/>
        </p:spPr>
        <p:txBody>
          <a:bodyPr wrap="square" lIns="0" tIns="0" rIns="0" bIns="0" rtlCol="0">
            <a:spAutoFit/>
          </a:bodyPr>
          <a:lstStyle/>
          <a:p>
            <a:pPr algn="l"/>
            <a:r>
              <a:rPr lang="nb-NO" sz="1000" spc="40">
                <a:solidFill>
                  <a:schemeClr val="tx2"/>
                </a:solidFill>
                <a:latin typeface="Shape Sans" panose="00000500000000000000" pitchFamily="50" charset="0"/>
              </a:rPr>
              <a:t>Strøm</a:t>
            </a:r>
          </a:p>
        </p:txBody>
      </p:sp>
      <p:sp>
        <p:nvSpPr>
          <p:cNvPr id="24" name="TekstSylinder 23">
            <a:extLst>
              <a:ext uri="{FF2B5EF4-FFF2-40B4-BE49-F238E27FC236}">
                <a16:creationId xmlns:a16="http://schemas.microsoft.com/office/drawing/2014/main" id="{2C3436F3-11DE-43CE-9C38-5320F0170ED4}"/>
              </a:ext>
            </a:extLst>
          </p:cNvPr>
          <p:cNvSpPr txBox="1"/>
          <p:nvPr/>
        </p:nvSpPr>
        <p:spPr>
          <a:xfrm>
            <a:off x="8428422" y="2573019"/>
            <a:ext cx="1142502" cy="153888"/>
          </a:xfrm>
          <a:prstGeom prst="rect">
            <a:avLst/>
          </a:prstGeom>
          <a:noFill/>
        </p:spPr>
        <p:txBody>
          <a:bodyPr wrap="square" lIns="0" tIns="0" rIns="0" bIns="0" rtlCol="0">
            <a:spAutoFit/>
          </a:bodyPr>
          <a:lstStyle/>
          <a:p>
            <a:pPr algn="l"/>
            <a:r>
              <a:rPr lang="nb-NO" sz="1000" spc="40">
                <a:solidFill>
                  <a:schemeClr val="tx2"/>
                </a:solidFill>
                <a:latin typeface="Shape Sans" panose="00000500000000000000" pitchFamily="50" charset="0"/>
              </a:rPr>
              <a:t>Fjernvarme</a:t>
            </a:r>
          </a:p>
        </p:txBody>
      </p:sp>
      <p:sp>
        <p:nvSpPr>
          <p:cNvPr id="25" name="Rektangel: avrundede hjørner 24">
            <a:extLst>
              <a:ext uri="{FF2B5EF4-FFF2-40B4-BE49-F238E27FC236}">
                <a16:creationId xmlns:a16="http://schemas.microsoft.com/office/drawing/2014/main" id="{55221326-AC69-42AB-B39D-86C36A58859E}"/>
              </a:ext>
            </a:extLst>
          </p:cNvPr>
          <p:cNvSpPr/>
          <p:nvPr/>
        </p:nvSpPr>
        <p:spPr>
          <a:xfrm>
            <a:off x="2603500" y="4010963"/>
            <a:ext cx="3311525" cy="2433240"/>
          </a:xfrm>
          <a:prstGeom prst="roundRect">
            <a:avLst/>
          </a:prstGeom>
          <a:noFill/>
          <a:ln>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6" name="Rektangel: avrundede hjørner 25">
            <a:extLst>
              <a:ext uri="{FF2B5EF4-FFF2-40B4-BE49-F238E27FC236}">
                <a16:creationId xmlns:a16="http://schemas.microsoft.com/office/drawing/2014/main" id="{ABA6B777-5F74-4A3A-8194-30C39F97F05A}"/>
              </a:ext>
            </a:extLst>
          </p:cNvPr>
          <p:cNvSpPr/>
          <p:nvPr/>
        </p:nvSpPr>
        <p:spPr>
          <a:xfrm>
            <a:off x="6276975" y="4010963"/>
            <a:ext cx="3311525" cy="2433240"/>
          </a:xfrm>
          <a:prstGeom prst="roundRect">
            <a:avLst/>
          </a:prstGeom>
          <a:noFill/>
          <a:ln>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7" name="TekstSylinder 26">
            <a:extLst>
              <a:ext uri="{FF2B5EF4-FFF2-40B4-BE49-F238E27FC236}">
                <a16:creationId xmlns:a16="http://schemas.microsoft.com/office/drawing/2014/main" id="{4AA811A8-C593-4C2D-B70B-913569D0AA61}"/>
              </a:ext>
            </a:extLst>
          </p:cNvPr>
          <p:cNvSpPr txBox="1"/>
          <p:nvPr/>
        </p:nvSpPr>
        <p:spPr>
          <a:xfrm>
            <a:off x="2902709" y="4162078"/>
            <a:ext cx="2713106" cy="276999"/>
          </a:xfrm>
          <a:prstGeom prst="rect">
            <a:avLst/>
          </a:prstGeom>
          <a:noFill/>
        </p:spPr>
        <p:txBody>
          <a:bodyPr wrap="square" lIns="0" tIns="0" rIns="0" bIns="0" rtlCol="0">
            <a:spAutoFit/>
          </a:bodyPr>
          <a:lstStyle/>
          <a:p>
            <a:pPr algn="ctr"/>
            <a:r>
              <a:rPr lang="nb-NO" sz="1000" spc="40" err="1">
                <a:solidFill>
                  <a:schemeClr val="tx2"/>
                </a:solidFill>
                <a:latin typeface="Shape Sans" panose="00000500000000000000" pitchFamily="50" charset="0"/>
              </a:rPr>
              <a:t>Oppstrømsutslipp</a:t>
            </a:r>
            <a:r>
              <a:rPr lang="nb-NO" sz="800" spc="40">
                <a:solidFill>
                  <a:schemeClr val="tx2"/>
                </a:solidFill>
                <a:latin typeface="Shape Sans" panose="00000500000000000000" pitchFamily="50" charset="0"/>
              </a:rPr>
              <a:t> </a:t>
            </a:r>
          </a:p>
          <a:p>
            <a:pPr algn="ctr"/>
            <a:r>
              <a:rPr lang="nb-NO" sz="800" spc="40">
                <a:solidFill>
                  <a:schemeClr val="tx2"/>
                </a:solidFill>
                <a:latin typeface="Shape Sans" panose="00000500000000000000" pitchFamily="50" charset="0"/>
              </a:rPr>
              <a:t> innkjøpte varer og tjenester</a:t>
            </a:r>
          </a:p>
        </p:txBody>
      </p:sp>
      <p:sp>
        <p:nvSpPr>
          <p:cNvPr id="28" name="TekstSylinder 27">
            <a:extLst>
              <a:ext uri="{FF2B5EF4-FFF2-40B4-BE49-F238E27FC236}">
                <a16:creationId xmlns:a16="http://schemas.microsoft.com/office/drawing/2014/main" id="{A04CBB0A-3F6D-408C-8E25-769CADAF6C6B}"/>
              </a:ext>
            </a:extLst>
          </p:cNvPr>
          <p:cNvSpPr txBox="1"/>
          <p:nvPr/>
        </p:nvSpPr>
        <p:spPr>
          <a:xfrm>
            <a:off x="6576184" y="4162077"/>
            <a:ext cx="2713106" cy="276999"/>
          </a:xfrm>
          <a:prstGeom prst="rect">
            <a:avLst/>
          </a:prstGeom>
          <a:noFill/>
        </p:spPr>
        <p:txBody>
          <a:bodyPr wrap="square" lIns="0" tIns="0" rIns="0" bIns="0" rtlCol="0">
            <a:spAutoFit/>
          </a:bodyPr>
          <a:lstStyle/>
          <a:p>
            <a:pPr algn="ctr"/>
            <a:r>
              <a:rPr lang="nb-NO" sz="1000" spc="40" err="1">
                <a:solidFill>
                  <a:schemeClr val="tx2"/>
                </a:solidFill>
                <a:latin typeface="Shape Sans" panose="00000500000000000000" pitchFamily="50" charset="0"/>
              </a:rPr>
              <a:t>Nedstrømsutslipp</a:t>
            </a:r>
            <a:r>
              <a:rPr lang="nb-NO" sz="800" spc="40">
                <a:solidFill>
                  <a:schemeClr val="tx2"/>
                </a:solidFill>
                <a:latin typeface="Shape Sans" panose="00000500000000000000" pitchFamily="50" charset="0"/>
              </a:rPr>
              <a:t> </a:t>
            </a:r>
          </a:p>
          <a:p>
            <a:pPr algn="ctr"/>
            <a:r>
              <a:rPr lang="nb-NO" sz="800" spc="40">
                <a:solidFill>
                  <a:schemeClr val="tx2"/>
                </a:solidFill>
                <a:latin typeface="Shape Sans" panose="00000500000000000000" pitchFamily="50" charset="0"/>
              </a:rPr>
              <a:t>Solgte varer og tjenester</a:t>
            </a:r>
          </a:p>
        </p:txBody>
      </p:sp>
      <p:pic>
        <p:nvPicPr>
          <p:cNvPr id="29" name="Bilde 28">
            <a:extLst>
              <a:ext uri="{FF2B5EF4-FFF2-40B4-BE49-F238E27FC236}">
                <a16:creationId xmlns:a16="http://schemas.microsoft.com/office/drawing/2014/main" id="{51A578FF-416A-4E29-B51F-0F129EC6B7F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43748" y="4690932"/>
            <a:ext cx="1185365" cy="1185365"/>
          </a:xfrm>
          <a:prstGeom prst="rect">
            <a:avLst/>
          </a:prstGeom>
        </p:spPr>
      </p:pic>
      <p:sp>
        <p:nvSpPr>
          <p:cNvPr id="30" name="Rektangel 29">
            <a:extLst>
              <a:ext uri="{FF2B5EF4-FFF2-40B4-BE49-F238E27FC236}">
                <a16:creationId xmlns:a16="http://schemas.microsoft.com/office/drawing/2014/main" id="{4B7F186C-E5F1-4267-9BE8-52F6BB568A4B}"/>
              </a:ext>
            </a:extLst>
          </p:cNvPr>
          <p:cNvSpPr/>
          <p:nvPr/>
        </p:nvSpPr>
        <p:spPr>
          <a:xfrm>
            <a:off x="2989580" y="5071250"/>
            <a:ext cx="1458844" cy="91575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31" name="Bilde 30">
            <a:extLst>
              <a:ext uri="{FF2B5EF4-FFF2-40B4-BE49-F238E27FC236}">
                <a16:creationId xmlns:a16="http://schemas.microsoft.com/office/drawing/2014/main" id="{619D897C-2628-4E81-9040-AE63B8DFE1F3}"/>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172536" y="5606197"/>
            <a:ext cx="585326" cy="540200"/>
          </a:xfrm>
          <a:prstGeom prst="rect">
            <a:avLst/>
          </a:prstGeom>
        </p:spPr>
      </p:pic>
      <p:pic>
        <p:nvPicPr>
          <p:cNvPr id="35" name="Grafikk 34" descr="Ta av med heldekkende fyll">
            <a:extLst>
              <a:ext uri="{FF2B5EF4-FFF2-40B4-BE49-F238E27FC236}">
                <a16:creationId xmlns:a16="http://schemas.microsoft.com/office/drawing/2014/main" id="{6383CFC1-11C2-4069-B240-56C391D51B36}"/>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534465" y="4493115"/>
            <a:ext cx="600077" cy="600077"/>
          </a:xfrm>
          <a:prstGeom prst="rect">
            <a:avLst/>
          </a:prstGeom>
        </p:spPr>
      </p:pic>
      <p:pic>
        <p:nvPicPr>
          <p:cNvPr id="37" name="Grafikk 36" descr="Bil med heldekkende fyll">
            <a:extLst>
              <a:ext uri="{FF2B5EF4-FFF2-40B4-BE49-F238E27FC236}">
                <a16:creationId xmlns:a16="http://schemas.microsoft.com/office/drawing/2014/main" id="{72C7FFC3-A143-4D42-A9CD-6E4A2BB48FED}"/>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972285" y="5046344"/>
            <a:ext cx="747091" cy="747091"/>
          </a:xfrm>
          <a:prstGeom prst="rect">
            <a:avLst/>
          </a:prstGeom>
        </p:spPr>
      </p:pic>
      <p:sp>
        <p:nvSpPr>
          <p:cNvPr id="40" name="TekstSylinder 39">
            <a:extLst>
              <a:ext uri="{FF2B5EF4-FFF2-40B4-BE49-F238E27FC236}">
                <a16:creationId xmlns:a16="http://schemas.microsoft.com/office/drawing/2014/main" id="{635C8E26-A11C-4013-B898-4D36DEA27071}"/>
              </a:ext>
            </a:extLst>
          </p:cNvPr>
          <p:cNvSpPr txBox="1"/>
          <p:nvPr/>
        </p:nvSpPr>
        <p:spPr>
          <a:xfrm>
            <a:off x="4563291" y="4987146"/>
            <a:ext cx="1142502" cy="153888"/>
          </a:xfrm>
          <a:prstGeom prst="rect">
            <a:avLst/>
          </a:prstGeom>
          <a:noFill/>
        </p:spPr>
        <p:txBody>
          <a:bodyPr wrap="square" lIns="0" tIns="0" rIns="0" bIns="0" rtlCol="0">
            <a:spAutoFit/>
          </a:bodyPr>
          <a:lstStyle/>
          <a:p>
            <a:pPr algn="l"/>
            <a:r>
              <a:rPr lang="nb-NO" sz="1000" spc="40">
                <a:solidFill>
                  <a:schemeClr val="tx2"/>
                </a:solidFill>
                <a:latin typeface="Shape Sans" panose="00000500000000000000" pitchFamily="50" charset="0"/>
              </a:rPr>
              <a:t>Flyreiser</a:t>
            </a:r>
          </a:p>
        </p:txBody>
      </p:sp>
      <p:sp>
        <p:nvSpPr>
          <p:cNvPr id="41" name="TekstSylinder 40">
            <a:extLst>
              <a:ext uri="{FF2B5EF4-FFF2-40B4-BE49-F238E27FC236}">
                <a16:creationId xmlns:a16="http://schemas.microsoft.com/office/drawing/2014/main" id="{AD7F5E15-38F4-4EB3-8BE4-8753AFAD7413}"/>
              </a:ext>
            </a:extLst>
          </p:cNvPr>
          <p:cNvSpPr txBox="1"/>
          <p:nvPr/>
        </p:nvSpPr>
        <p:spPr>
          <a:xfrm>
            <a:off x="4021720" y="5630545"/>
            <a:ext cx="1142502" cy="307777"/>
          </a:xfrm>
          <a:prstGeom prst="rect">
            <a:avLst/>
          </a:prstGeom>
          <a:noFill/>
        </p:spPr>
        <p:txBody>
          <a:bodyPr wrap="square" lIns="0" tIns="0" rIns="0" bIns="0" rtlCol="0">
            <a:spAutoFit/>
          </a:bodyPr>
          <a:lstStyle/>
          <a:p>
            <a:pPr algn="l"/>
            <a:r>
              <a:rPr lang="nb-NO" sz="1000" spc="40">
                <a:solidFill>
                  <a:schemeClr val="tx2"/>
                </a:solidFill>
                <a:latin typeface="Shape Sans" panose="00000500000000000000" pitchFamily="50" charset="0"/>
              </a:rPr>
              <a:t>Ansattes reiser til/fra jobb</a:t>
            </a:r>
          </a:p>
        </p:txBody>
      </p:sp>
      <p:sp>
        <p:nvSpPr>
          <p:cNvPr id="42" name="TekstSylinder 41">
            <a:extLst>
              <a:ext uri="{FF2B5EF4-FFF2-40B4-BE49-F238E27FC236}">
                <a16:creationId xmlns:a16="http://schemas.microsoft.com/office/drawing/2014/main" id="{0F821652-8D2E-480E-A53E-B38ACA8528FD}"/>
              </a:ext>
            </a:extLst>
          </p:cNvPr>
          <p:cNvSpPr txBox="1"/>
          <p:nvPr/>
        </p:nvSpPr>
        <p:spPr>
          <a:xfrm>
            <a:off x="4695825" y="6169717"/>
            <a:ext cx="1142502" cy="153888"/>
          </a:xfrm>
          <a:prstGeom prst="rect">
            <a:avLst/>
          </a:prstGeom>
          <a:noFill/>
        </p:spPr>
        <p:txBody>
          <a:bodyPr wrap="square" lIns="0" tIns="0" rIns="0" bIns="0" rtlCol="0">
            <a:spAutoFit/>
          </a:bodyPr>
          <a:lstStyle/>
          <a:p>
            <a:pPr algn="l"/>
            <a:r>
              <a:rPr lang="nb-NO" sz="1000" spc="40">
                <a:solidFill>
                  <a:schemeClr val="tx2"/>
                </a:solidFill>
                <a:latin typeface="Shape Sans" panose="00000500000000000000" pitchFamily="50" charset="0"/>
              </a:rPr>
              <a:t>Avfallsbehandling</a:t>
            </a:r>
          </a:p>
        </p:txBody>
      </p:sp>
      <p:pic>
        <p:nvPicPr>
          <p:cNvPr id="44" name="Grafikk 43" descr="Resirkuler kontur">
            <a:extLst>
              <a:ext uri="{FF2B5EF4-FFF2-40B4-BE49-F238E27FC236}">
                <a16:creationId xmlns:a16="http://schemas.microsoft.com/office/drawing/2014/main" id="{E2D139EE-6C83-4A31-99A1-30762F7FFB19}"/>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869361" y="5595913"/>
            <a:ext cx="678552" cy="678552"/>
          </a:xfrm>
          <a:prstGeom prst="rect">
            <a:avLst/>
          </a:prstGeom>
        </p:spPr>
      </p:pic>
      <p:sp>
        <p:nvSpPr>
          <p:cNvPr id="45" name="TekstSylinder 44">
            <a:extLst>
              <a:ext uri="{FF2B5EF4-FFF2-40B4-BE49-F238E27FC236}">
                <a16:creationId xmlns:a16="http://schemas.microsoft.com/office/drawing/2014/main" id="{0C1BA55A-9E52-405D-866C-23E1D1D59A5A}"/>
              </a:ext>
            </a:extLst>
          </p:cNvPr>
          <p:cNvSpPr txBox="1"/>
          <p:nvPr/>
        </p:nvSpPr>
        <p:spPr>
          <a:xfrm>
            <a:off x="3137293" y="5129726"/>
            <a:ext cx="1142502" cy="153888"/>
          </a:xfrm>
          <a:prstGeom prst="rect">
            <a:avLst/>
          </a:prstGeom>
          <a:noFill/>
        </p:spPr>
        <p:txBody>
          <a:bodyPr wrap="square" lIns="0" tIns="0" rIns="0" bIns="0" rtlCol="0">
            <a:spAutoFit/>
          </a:bodyPr>
          <a:lstStyle/>
          <a:p>
            <a:pPr algn="l"/>
            <a:r>
              <a:rPr lang="nb-NO" sz="1000" spc="40">
                <a:solidFill>
                  <a:schemeClr val="tx2"/>
                </a:solidFill>
                <a:latin typeface="Shape Sans" panose="00000500000000000000" pitchFamily="50" charset="0"/>
              </a:rPr>
              <a:t>Transport</a:t>
            </a:r>
          </a:p>
        </p:txBody>
      </p:sp>
      <p:sp>
        <p:nvSpPr>
          <p:cNvPr id="46" name="TekstSylinder 45">
            <a:extLst>
              <a:ext uri="{FF2B5EF4-FFF2-40B4-BE49-F238E27FC236}">
                <a16:creationId xmlns:a16="http://schemas.microsoft.com/office/drawing/2014/main" id="{8C75D5B5-85F4-403C-BDEB-40A06170534B}"/>
              </a:ext>
            </a:extLst>
          </p:cNvPr>
          <p:cNvSpPr txBox="1"/>
          <p:nvPr/>
        </p:nvSpPr>
        <p:spPr>
          <a:xfrm>
            <a:off x="3186611" y="6206002"/>
            <a:ext cx="1142502" cy="153888"/>
          </a:xfrm>
          <a:prstGeom prst="rect">
            <a:avLst/>
          </a:prstGeom>
          <a:noFill/>
        </p:spPr>
        <p:txBody>
          <a:bodyPr wrap="square" lIns="0" tIns="0" rIns="0" bIns="0" rtlCol="0">
            <a:spAutoFit/>
          </a:bodyPr>
          <a:lstStyle/>
          <a:p>
            <a:pPr algn="l"/>
            <a:r>
              <a:rPr lang="nb-NO" sz="1000" spc="40">
                <a:solidFill>
                  <a:schemeClr val="tx2"/>
                </a:solidFill>
                <a:latin typeface="Shape Sans" panose="00000500000000000000" pitchFamily="50" charset="0"/>
              </a:rPr>
              <a:t>Varer og tjenester</a:t>
            </a:r>
          </a:p>
        </p:txBody>
      </p:sp>
      <p:pic>
        <p:nvPicPr>
          <p:cNvPr id="47" name="Grafikk 46" descr="Resirkuler kontur">
            <a:extLst>
              <a:ext uri="{FF2B5EF4-FFF2-40B4-BE49-F238E27FC236}">
                <a16:creationId xmlns:a16="http://schemas.microsoft.com/office/drawing/2014/main" id="{250F4703-90BC-48A8-B5F8-F7D6EDEA6FB7}"/>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659110" y="5455354"/>
            <a:ext cx="691043" cy="691043"/>
          </a:xfrm>
          <a:prstGeom prst="rect">
            <a:avLst/>
          </a:prstGeom>
        </p:spPr>
      </p:pic>
      <p:sp>
        <p:nvSpPr>
          <p:cNvPr id="48" name="Rektangel 47">
            <a:extLst>
              <a:ext uri="{FF2B5EF4-FFF2-40B4-BE49-F238E27FC236}">
                <a16:creationId xmlns:a16="http://schemas.microsoft.com/office/drawing/2014/main" id="{26426FA1-B8A1-4382-88F6-5990BE6FD597}"/>
              </a:ext>
            </a:extLst>
          </p:cNvPr>
          <p:cNvSpPr/>
          <p:nvPr/>
        </p:nvSpPr>
        <p:spPr>
          <a:xfrm>
            <a:off x="6790132" y="4622109"/>
            <a:ext cx="628540" cy="65880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9" name="Ellipse 48">
            <a:extLst>
              <a:ext uri="{FF2B5EF4-FFF2-40B4-BE49-F238E27FC236}">
                <a16:creationId xmlns:a16="http://schemas.microsoft.com/office/drawing/2014/main" id="{18158743-35D8-4B25-86A5-3ECB327DADED}"/>
              </a:ext>
            </a:extLst>
          </p:cNvPr>
          <p:cNvSpPr/>
          <p:nvPr/>
        </p:nvSpPr>
        <p:spPr>
          <a:xfrm>
            <a:off x="6873873" y="4743343"/>
            <a:ext cx="461057" cy="4163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0" name="Ellipse 49">
            <a:extLst>
              <a:ext uri="{FF2B5EF4-FFF2-40B4-BE49-F238E27FC236}">
                <a16:creationId xmlns:a16="http://schemas.microsoft.com/office/drawing/2014/main" id="{25376C2D-124E-472C-B42C-5329A3326312}"/>
              </a:ext>
            </a:extLst>
          </p:cNvPr>
          <p:cNvSpPr/>
          <p:nvPr/>
        </p:nvSpPr>
        <p:spPr>
          <a:xfrm>
            <a:off x="7042647" y="4950231"/>
            <a:ext cx="45719" cy="457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1" name="Ellipse 50">
            <a:extLst>
              <a:ext uri="{FF2B5EF4-FFF2-40B4-BE49-F238E27FC236}">
                <a16:creationId xmlns:a16="http://schemas.microsoft.com/office/drawing/2014/main" id="{0CCA77F5-A02F-4B6E-9BE4-135864283BEA}"/>
              </a:ext>
            </a:extLst>
          </p:cNvPr>
          <p:cNvSpPr/>
          <p:nvPr/>
        </p:nvSpPr>
        <p:spPr>
          <a:xfrm>
            <a:off x="7149247" y="4950230"/>
            <a:ext cx="45719" cy="457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53" name="Grafikk 52" descr="Mynter med heldekkende fyll">
            <a:extLst>
              <a:ext uri="{FF2B5EF4-FFF2-40B4-BE49-F238E27FC236}">
                <a16:creationId xmlns:a16="http://schemas.microsoft.com/office/drawing/2014/main" id="{3E7627E2-2053-43DC-A189-A92F0D52C769}"/>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8246545" y="4536209"/>
            <a:ext cx="828041" cy="828041"/>
          </a:xfrm>
          <a:prstGeom prst="rect">
            <a:avLst/>
          </a:prstGeom>
        </p:spPr>
      </p:pic>
      <p:sp>
        <p:nvSpPr>
          <p:cNvPr id="54" name="TekstSylinder 53">
            <a:extLst>
              <a:ext uri="{FF2B5EF4-FFF2-40B4-BE49-F238E27FC236}">
                <a16:creationId xmlns:a16="http://schemas.microsoft.com/office/drawing/2014/main" id="{820E0640-B668-42AE-8708-DC260279124A}"/>
              </a:ext>
            </a:extLst>
          </p:cNvPr>
          <p:cNvSpPr txBox="1"/>
          <p:nvPr/>
        </p:nvSpPr>
        <p:spPr>
          <a:xfrm>
            <a:off x="8361730" y="5350511"/>
            <a:ext cx="1142502" cy="153888"/>
          </a:xfrm>
          <a:prstGeom prst="rect">
            <a:avLst/>
          </a:prstGeom>
          <a:noFill/>
        </p:spPr>
        <p:txBody>
          <a:bodyPr wrap="square" lIns="0" tIns="0" rIns="0" bIns="0" rtlCol="0">
            <a:spAutoFit/>
          </a:bodyPr>
          <a:lstStyle/>
          <a:p>
            <a:pPr algn="l"/>
            <a:r>
              <a:rPr lang="nb-NO" sz="1000" spc="40">
                <a:solidFill>
                  <a:schemeClr val="tx2"/>
                </a:solidFill>
                <a:latin typeface="Shape Sans" panose="00000500000000000000" pitchFamily="50" charset="0"/>
              </a:rPr>
              <a:t>Investeringer</a:t>
            </a:r>
          </a:p>
        </p:txBody>
      </p:sp>
      <p:sp>
        <p:nvSpPr>
          <p:cNvPr id="55" name="TekstSylinder 54">
            <a:extLst>
              <a:ext uri="{FF2B5EF4-FFF2-40B4-BE49-F238E27FC236}">
                <a16:creationId xmlns:a16="http://schemas.microsoft.com/office/drawing/2014/main" id="{384BB5CA-9222-42B4-A18A-0A7408F99955}"/>
              </a:ext>
            </a:extLst>
          </p:cNvPr>
          <p:cNvSpPr txBox="1"/>
          <p:nvPr/>
        </p:nvSpPr>
        <p:spPr>
          <a:xfrm>
            <a:off x="7438430" y="6108057"/>
            <a:ext cx="1331515" cy="307777"/>
          </a:xfrm>
          <a:prstGeom prst="rect">
            <a:avLst/>
          </a:prstGeom>
          <a:noFill/>
        </p:spPr>
        <p:txBody>
          <a:bodyPr wrap="square" lIns="0" tIns="0" rIns="0" bIns="0" rtlCol="0">
            <a:spAutoFit/>
          </a:bodyPr>
          <a:lstStyle/>
          <a:p>
            <a:pPr algn="l"/>
            <a:r>
              <a:rPr lang="nb-NO" sz="1000" spc="40">
                <a:solidFill>
                  <a:schemeClr val="tx2"/>
                </a:solidFill>
                <a:latin typeface="Shape Sans" panose="00000500000000000000" pitchFamily="50" charset="0"/>
              </a:rPr>
              <a:t>Sluttbehandling av solgte produkter</a:t>
            </a:r>
          </a:p>
        </p:txBody>
      </p:sp>
      <p:sp>
        <p:nvSpPr>
          <p:cNvPr id="56" name="TekstSylinder 55">
            <a:extLst>
              <a:ext uri="{FF2B5EF4-FFF2-40B4-BE49-F238E27FC236}">
                <a16:creationId xmlns:a16="http://schemas.microsoft.com/office/drawing/2014/main" id="{AF7E0175-3ACD-49DD-B492-352E899916AD}"/>
              </a:ext>
            </a:extLst>
          </p:cNvPr>
          <p:cNvSpPr txBox="1"/>
          <p:nvPr/>
        </p:nvSpPr>
        <p:spPr>
          <a:xfrm>
            <a:off x="6590129" y="5314696"/>
            <a:ext cx="1142502" cy="461665"/>
          </a:xfrm>
          <a:prstGeom prst="rect">
            <a:avLst/>
          </a:prstGeom>
          <a:noFill/>
        </p:spPr>
        <p:txBody>
          <a:bodyPr wrap="square" lIns="0" tIns="0" rIns="0" bIns="0" rtlCol="0">
            <a:spAutoFit/>
          </a:bodyPr>
          <a:lstStyle/>
          <a:p>
            <a:pPr algn="l"/>
            <a:r>
              <a:rPr lang="nb-NO" sz="1000" spc="40">
                <a:solidFill>
                  <a:schemeClr val="tx2"/>
                </a:solidFill>
                <a:latin typeface="Shape Sans" panose="00000500000000000000" pitchFamily="50" charset="0"/>
              </a:rPr>
              <a:t>Bruk av solgte produkter/utleide lokaler</a:t>
            </a:r>
          </a:p>
        </p:txBody>
      </p:sp>
      <p:sp>
        <p:nvSpPr>
          <p:cNvPr id="2" name="Tittel 5">
            <a:extLst>
              <a:ext uri="{FF2B5EF4-FFF2-40B4-BE49-F238E27FC236}">
                <a16:creationId xmlns:a16="http://schemas.microsoft.com/office/drawing/2014/main" id="{67356D9F-EE9D-C2B0-1F7C-F6D451967C53}"/>
              </a:ext>
            </a:extLst>
          </p:cNvPr>
          <p:cNvSpPr txBox="1">
            <a:spLocks/>
          </p:cNvSpPr>
          <p:nvPr/>
        </p:nvSpPr>
        <p:spPr>
          <a:xfrm>
            <a:off x="856086" y="303517"/>
            <a:ext cx="11021062" cy="576000"/>
          </a:xfrm>
          <a:prstGeom prst="rect">
            <a:avLst/>
          </a:prstGeom>
        </p:spPr>
        <p:txBody>
          <a:bodyPr/>
          <a:lstStyle>
            <a:lvl1pPr algn="l" defTabSz="914400" rtl="0" eaLnBrk="1" latinLnBrk="0" hangingPunct="1">
              <a:lnSpc>
                <a:spcPct val="90000"/>
              </a:lnSpc>
              <a:spcBef>
                <a:spcPct val="0"/>
              </a:spcBef>
              <a:buNone/>
              <a:defRPr sz="4400" kern="1200">
                <a:solidFill>
                  <a:schemeClr val="tx2"/>
                </a:solidFill>
                <a:latin typeface="+mj-lt"/>
                <a:ea typeface="+mj-ea"/>
                <a:cs typeface="+mj-cs"/>
              </a:defRPr>
            </a:lvl1pPr>
          </a:lstStyle>
          <a:p>
            <a:r>
              <a:rPr lang="nb-NO"/>
              <a:t>Klimamålinger </a:t>
            </a:r>
          </a:p>
        </p:txBody>
      </p:sp>
    </p:spTree>
    <p:extLst>
      <p:ext uri="{BB962C8B-B14F-4D97-AF65-F5344CB8AC3E}">
        <p14:creationId xmlns:p14="http://schemas.microsoft.com/office/powerpoint/2010/main" val="22779719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 4">
            <a:extLst>
              <a:ext uri="{FF2B5EF4-FFF2-40B4-BE49-F238E27FC236}">
                <a16:creationId xmlns:a16="http://schemas.microsoft.com/office/drawing/2014/main" id="{3CA1D3D7-D5A8-410D-9E2C-2E308D0EB5D3}"/>
              </a:ext>
            </a:extLst>
          </p:cNvPr>
          <p:cNvGraphicFramePr>
            <a:graphicFrameLocks/>
          </p:cNvGraphicFramePr>
          <p:nvPr/>
        </p:nvGraphicFramePr>
        <p:xfrm>
          <a:off x="153822" y="1398326"/>
          <a:ext cx="5495925" cy="4057649"/>
        </p:xfrm>
        <a:graphic>
          <a:graphicData uri="http://schemas.openxmlformats.org/drawingml/2006/chart">
            <c:chart xmlns:c="http://schemas.openxmlformats.org/drawingml/2006/chart" xmlns:r="http://schemas.openxmlformats.org/officeDocument/2006/relationships" r:id="rId3"/>
          </a:graphicData>
        </a:graphic>
      </p:graphicFrame>
      <p:sp>
        <p:nvSpPr>
          <p:cNvPr id="3" name="TekstSylinder 2">
            <a:extLst>
              <a:ext uri="{FF2B5EF4-FFF2-40B4-BE49-F238E27FC236}">
                <a16:creationId xmlns:a16="http://schemas.microsoft.com/office/drawing/2014/main" id="{BE9563CE-F13E-163D-1C8B-D9BC0028FF2A}"/>
              </a:ext>
            </a:extLst>
          </p:cNvPr>
          <p:cNvSpPr txBox="1"/>
          <p:nvPr/>
        </p:nvSpPr>
        <p:spPr>
          <a:xfrm>
            <a:off x="438150" y="348212"/>
            <a:ext cx="7772400" cy="584775"/>
          </a:xfrm>
          <a:prstGeom prst="rect">
            <a:avLst/>
          </a:prstGeom>
          <a:noFill/>
        </p:spPr>
        <p:txBody>
          <a:bodyPr wrap="square">
            <a:spAutoFit/>
          </a:bodyPr>
          <a:lstStyle/>
          <a:p>
            <a:r>
              <a:rPr lang="nb-NO" sz="3200" spc="40">
                <a:solidFill>
                  <a:srgbClr val="002060"/>
                </a:solidFill>
                <a:latin typeface="Shape Sans" panose="00000500000000000000" pitchFamily="50" charset="0"/>
              </a:rPr>
              <a:t>Klimafotavtrykk i Skanska Norge i 2022</a:t>
            </a:r>
          </a:p>
        </p:txBody>
      </p:sp>
      <p:sp>
        <p:nvSpPr>
          <p:cNvPr id="6" name="Google Shape;714;p34">
            <a:extLst>
              <a:ext uri="{FF2B5EF4-FFF2-40B4-BE49-F238E27FC236}">
                <a16:creationId xmlns:a16="http://schemas.microsoft.com/office/drawing/2014/main" id="{5A690311-4C6E-2336-FFF3-6877E930532A}"/>
              </a:ext>
            </a:extLst>
          </p:cNvPr>
          <p:cNvSpPr/>
          <p:nvPr/>
        </p:nvSpPr>
        <p:spPr>
          <a:xfrm rot="987511" flipH="1" flipV="1">
            <a:off x="4688050" y="2168320"/>
            <a:ext cx="2110765" cy="1260487"/>
          </a:xfrm>
          <a:custGeom>
            <a:avLst/>
            <a:gdLst/>
            <a:ahLst/>
            <a:cxnLst/>
            <a:rect l="l" t="t" r="r" b="b"/>
            <a:pathLst>
              <a:path w="28444" h="20434" extrusionOk="0">
                <a:moveTo>
                  <a:pt x="28443" y="1"/>
                </a:moveTo>
                <a:cubicBezTo>
                  <a:pt x="28443" y="1"/>
                  <a:pt x="27742" y="72"/>
                  <a:pt x="26686" y="151"/>
                </a:cubicBezTo>
                <a:cubicBezTo>
                  <a:pt x="26163" y="193"/>
                  <a:pt x="25554" y="241"/>
                  <a:pt x="24901" y="294"/>
                </a:cubicBezTo>
                <a:cubicBezTo>
                  <a:pt x="24578" y="320"/>
                  <a:pt x="24243" y="347"/>
                  <a:pt x="23904" y="373"/>
                </a:cubicBezTo>
                <a:cubicBezTo>
                  <a:pt x="23564" y="396"/>
                  <a:pt x="23218" y="418"/>
                  <a:pt x="22872" y="440"/>
                </a:cubicBezTo>
                <a:cubicBezTo>
                  <a:pt x="21491" y="528"/>
                  <a:pt x="20145" y="628"/>
                  <a:pt x="19123" y="673"/>
                </a:cubicBezTo>
                <a:cubicBezTo>
                  <a:pt x="18113" y="725"/>
                  <a:pt x="17440" y="761"/>
                  <a:pt x="17440" y="761"/>
                </a:cubicBezTo>
                <a:lnTo>
                  <a:pt x="18479" y="2255"/>
                </a:lnTo>
                <a:cubicBezTo>
                  <a:pt x="18479" y="2255"/>
                  <a:pt x="18205" y="2456"/>
                  <a:pt x="17724" y="2807"/>
                </a:cubicBezTo>
                <a:cubicBezTo>
                  <a:pt x="17237" y="3148"/>
                  <a:pt x="16540" y="3637"/>
                  <a:pt x="15705" y="4224"/>
                </a:cubicBezTo>
                <a:cubicBezTo>
                  <a:pt x="14872" y="4813"/>
                  <a:pt x="13873" y="5464"/>
                  <a:pt x="12816" y="6182"/>
                </a:cubicBezTo>
                <a:cubicBezTo>
                  <a:pt x="12284" y="6536"/>
                  <a:pt x="11725" y="6888"/>
                  <a:pt x="11161" y="7253"/>
                </a:cubicBezTo>
                <a:cubicBezTo>
                  <a:pt x="10597" y="7617"/>
                  <a:pt x="10028" y="7993"/>
                  <a:pt x="9445" y="8347"/>
                </a:cubicBezTo>
                <a:cubicBezTo>
                  <a:pt x="8864" y="8706"/>
                  <a:pt x="8284" y="9066"/>
                  <a:pt x="7712" y="9419"/>
                </a:cubicBezTo>
                <a:cubicBezTo>
                  <a:pt x="7141" y="9774"/>
                  <a:pt x="6568" y="10105"/>
                  <a:pt x="6019" y="10434"/>
                </a:cubicBezTo>
                <a:cubicBezTo>
                  <a:pt x="4923" y="11097"/>
                  <a:pt x="3880" y="11687"/>
                  <a:pt x="2990" y="12195"/>
                </a:cubicBezTo>
                <a:cubicBezTo>
                  <a:pt x="2103" y="12711"/>
                  <a:pt x="1348" y="13114"/>
                  <a:pt x="825" y="13405"/>
                </a:cubicBezTo>
                <a:cubicBezTo>
                  <a:pt x="300" y="13694"/>
                  <a:pt x="1" y="13859"/>
                  <a:pt x="1" y="13859"/>
                </a:cubicBezTo>
                <a:cubicBezTo>
                  <a:pt x="1" y="13859"/>
                  <a:pt x="461" y="13871"/>
                  <a:pt x="1154" y="13888"/>
                </a:cubicBezTo>
                <a:cubicBezTo>
                  <a:pt x="1846" y="13904"/>
                  <a:pt x="2783" y="13939"/>
                  <a:pt x="3714" y="13951"/>
                </a:cubicBezTo>
                <a:cubicBezTo>
                  <a:pt x="4655" y="13969"/>
                  <a:pt x="5597" y="13989"/>
                  <a:pt x="6303" y="14003"/>
                </a:cubicBezTo>
                <a:cubicBezTo>
                  <a:pt x="7013" y="14011"/>
                  <a:pt x="7487" y="14017"/>
                  <a:pt x="7487" y="14017"/>
                </a:cubicBezTo>
                <a:cubicBezTo>
                  <a:pt x="7487" y="14017"/>
                  <a:pt x="7246" y="14427"/>
                  <a:pt x="6884" y="15044"/>
                </a:cubicBezTo>
                <a:cubicBezTo>
                  <a:pt x="6513" y="15651"/>
                  <a:pt x="6014" y="16459"/>
                  <a:pt x="5505" y="17264"/>
                </a:cubicBezTo>
                <a:cubicBezTo>
                  <a:pt x="4999" y="18075"/>
                  <a:pt x="4470" y="18856"/>
                  <a:pt x="4074" y="19450"/>
                </a:cubicBezTo>
                <a:cubicBezTo>
                  <a:pt x="3674" y="20041"/>
                  <a:pt x="3407" y="20434"/>
                  <a:pt x="3407" y="20434"/>
                </a:cubicBezTo>
                <a:cubicBezTo>
                  <a:pt x="3407" y="20434"/>
                  <a:pt x="3725" y="20274"/>
                  <a:pt x="4283" y="19996"/>
                </a:cubicBezTo>
                <a:cubicBezTo>
                  <a:pt x="4838" y="19714"/>
                  <a:pt x="5639" y="19325"/>
                  <a:pt x="6584" y="18825"/>
                </a:cubicBezTo>
                <a:cubicBezTo>
                  <a:pt x="7531" y="18330"/>
                  <a:pt x="8640" y="17758"/>
                  <a:pt x="9811" y="17111"/>
                </a:cubicBezTo>
                <a:cubicBezTo>
                  <a:pt x="10397" y="16788"/>
                  <a:pt x="11009" y="16467"/>
                  <a:pt x="11620" y="16119"/>
                </a:cubicBezTo>
                <a:cubicBezTo>
                  <a:pt x="12231" y="15772"/>
                  <a:pt x="12852" y="15420"/>
                  <a:pt x="13473" y="15068"/>
                </a:cubicBezTo>
                <a:cubicBezTo>
                  <a:pt x="14097" y="14721"/>
                  <a:pt x="14708" y="14350"/>
                  <a:pt x="15315" y="13994"/>
                </a:cubicBezTo>
                <a:cubicBezTo>
                  <a:pt x="15918" y="13634"/>
                  <a:pt x="16518" y="13286"/>
                  <a:pt x="17090" y="12937"/>
                </a:cubicBezTo>
                <a:cubicBezTo>
                  <a:pt x="18228" y="12228"/>
                  <a:pt x="19302" y="11583"/>
                  <a:pt x="20203" y="10998"/>
                </a:cubicBezTo>
                <a:cubicBezTo>
                  <a:pt x="21105" y="10416"/>
                  <a:pt x="21857" y="9930"/>
                  <a:pt x="22384" y="9590"/>
                </a:cubicBezTo>
                <a:cubicBezTo>
                  <a:pt x="22904" y="9239"/>
                  <a:pt x="23201" y="9040"/>
                  <a:pt x="23201" y="9040"/>
                </a:cubicBezTo>
                <a:lnTo>
                  <a:pt x="24241" y="10535"/>
                </a:lnTo>
                <a:cubicBezTo>
                  <a:pt x="24241" y="10535"/>
                  <a:pt x="24537" y="9888"/>
                  <a:pt x="24980" y="8920"/>
                </a:cubicBezTo>
                <a:cubicBezTo>
                  <a:pt x="25423" y="7960"/>
                  <a:pt x="25969" y="6635"/>
                  <a:pt x="26501" y="5326"/>
                </a:cubicBezTo>
                <a:cubicBezTo>
                  <a:pt x="26631" y="4997"/>
                  <a:pt x="26762" y="4669"/>
                  <a:pt x="26891" y="4345"/>
                </a:cubicBezTo>
                <a:cubicBezTo>
                  <a:pt x="27014" y="4018"/>
                  <a:pt x="27134" y="3695"/>
                  <a:pt x="27251" y="3383"/>
                </a:cubicBezTo>
                <a:cubicBezTo>
                  <a:pt x="27478" y="2757"/>
                  <a:pt x="27690" y="2174"/>
                  <a:pt x="27871" y="1674"/>
                </a:cubicBezTo>
                <a:cubicBezTo>
                  <a:pt x="28229" y="679"/>
                  <a:pt x="28443" y="1"/>
                  <a:pt x="28443"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aphicFrame>
        <p:nvGraphicFramePr>
          <p:cNvPr id="2" name="Chart 2">
            <a:extLst>
              <a:ext uri="{FF2B5EF4-FFF2-40B4-BE49-F238E27FC236}">
                <a16:creationId xmlns:a16="http://schemas.microsoft.com/office/drawing/2014/main" id="{22B753F4-3CF3-364A-CD75-253979DFEE5B}"/>
              </a:ext>
            </a:extLst>
          </p:cNvPr>
          <p:cNvGraphicFramePr>
            <a:graphicFrameLocks/>
          </p:cNvGraphicFramePr>
          <p:nvPr/>
        </p:nvGraphicFramePr>
        <p:xfrm>
          <a:off x="4621642" y="160450"/>
          <a:ext cx="8685080" cy="6351638"/>
        </p:xfrm>
        <a:graphic>
          <a:graphicData uri="http://schemas.openxmlformats.org/drawingml/2006/chart">
            <c:chart xmlns:c="http://schemas.openxmlformats.org/drawingml/2006/chart" xmlns:r="http://schemas.openxmlformats.org/officeDocument/2006/relationships" r:id="rId4"/>
          </a:graphicData>
        </a:graphic>
      </p:graphicFrame>
      <p:sp>
        <p:nvSpPr>
          <p:cNvPr id="4" name="Plassholder for lysbildenummer 3">
            <a:extLst>
              <a:ext uri="{FF2B5EF4-FFF2-40B4-BE49-F238E27FC236}">
                <a16:creationId xmlns:a16="http://schemas.microsoft.com/office/drawing/2014/main" id="{38016C18-CE6D-9D04-4176-61E230571790}"/>
              </a:ext>
            </a:extLst>
          </p:cNvPr>
          <p:cNvSpPr>
            <a:spLocks noGrp="1"/>
          </p:cNvSpPr>
          <p:nvPr>
            <p:ph type="sldNum" sz="quarter" idx="12"/>
          </p:nvPr>
        </p:nvSpPr>
        <p:spPr/>
        <p:txBody>
          <a:bodyPr/>
          <a:lstStyle/>
          <a:p>
            <a:fld id="{E07FCF37-0424-4E99-B3FC-C45380CDD7A6}" type="slidenum">
              <a:rPr lang="nb-NO" smtClean="0"/>
              <a:t>4</a:t>
            </a:fld>
            <a:endParaRPr lang="nb-NO"/>
          </a:p>
        </p:txBody>
      </p:sp>
      <p:graphicFrame>
        <p:nvGraphicFramePr>
          <p:cNvPr id="7" name="Chart 6">
            <a:extLst>
              <a:ext uri="{FF2B5EF4-FFF2-40B4-BE49-F238E27FC236}">
                <a16:creationId xmlns:a16="http://schemas.microsoft.com/office/drawing/2014/main" id="{FCABFC01-4488-1EDC-21F8-875DE83F4BBF}"/>
              </a:ext>
            </a:extLst>
          </p:cNvPr>
          <p:cNvGraphicFramePr>
            <a:graphicFrameLocks/>
          </p:cNvGraphicFramePr>
          <p:nvPr/>
        </p:nvGraphicFramePr>
        <p:xfrm>
          <a:off x="5743432" y="1141212"/>
          <a:ext cx="6294746" cy="529006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9" name="Chart 8">
            <a:extLst>
              <a:ext uri="{FF2B5EF4-FFF2-40B4-BE49-F238E27FC236}">
                <a16:creationId xmlns:a16="http://schemas.microsoft.com/office/drawing/2014/main" id="{2D169D81-8D96-3FD8-4DB7-8B6F5A41EA40}"/>
              </a:ext>
            </a:extLst>
          </p:cNvPr>
          <p:cNvGraphicFramePr>
            <a:graphicFrameLocks/>
          </p:cNvGraphicFramePr>
          <p:nvPr/>
        </p:nvGraphicFramePr>
        <p:xfrm>
          <a:off x="153822" y="1820333"/>
          <a:ext cx="5357977" cy="3699934"/>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0439583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ACA2C9E-820E-4FFE-B60A-4EC05DEB88A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411" imgH="411" progId="TCLayout.ActiveDocument.1">
                  <p:embed/>
                </p:oleObj>
              </mc:Choice>
              <mc:Fallback>
                <p:oleObj name="think-cell Slide" r:id="rId4" imgW="411" imgH="411" progId="TCLayout.ActiveDocument.1">
                  <p:embed/>
                  <p:pic>
                    <p:nvPicPr>
                      <p:cNvPr id="4" name="Object 3" hidden="1">
                        <a:extLst>
                          <a:ext uri="{FF2B5EF4-FFF2-40B4-BE49-F238E27FC236}">
                            <a16:creationId xmlns:a16="http://schemas.microsoft.com/office/drawing/2014/main" id="{AACA2C9E-820E-4FFE-B60A-4EC05DEB88AB}"/>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pic>
        <p:nvPicPr>
          <p:cNvPr id="13" name="Platshållare för bild 7" descr="En bild som visar gräs, utomhus, skatebordåkning, pojke&#10;&#10;Automatiskt genererad beskrivning">
            <a:extLst>
              <a:ext uri="{FF2B5EF4-FFF2-40B4-BE49-F238E27FC236}">
                <a16:creationId xmlns:a16="http://schemas.microsoft.com/office/drawing/2014/main" id="{EB0D1CD0-816F-BE40-ADB0-3B6220EDAA62}"/>
              </a:ext>
            </a:extLst>
          </p:cNvPr>
          <p:cNvPicPr>
            <a:picLocks noGrp="1" noChangeAspect="1"/>
          </p:cNvPicPr>
          <p:nvPr>
            <p:ph type="pic" sz="quarter" idx="18"/>
          </p:nvPr>
        </p:nvPicPr>
        <p:blipFill rotWithShape="1">
          <a:blip r:embed="rId6" cstate="screen">
            <a:extLst>
              <a:ext uri="{28A0092B-C50C-407E-A947-70E740481C1C}">
                <a14:useLocalDpi xmlns:a14="http://schemas.microsoft.com/office/drawing/2010/main"/>
              </a:ext>
            </a:extLst>
          </a:blip>
          <a:srcRect/>
          <a:stretch/>
        </p:blipFill>
        <p:spPr>
          <a:xfrm>
            <a:off x="8128000" y="0"/>
            <a:ext cx="4062413" cy="6858000"/>
          </a:xfrm>
        </p:spPr>
      </p:pic>
      <p:sp>
        <p:nvSpPr>
          <p:cNvPr id="3" name="Text Placeholder 2">
            <a:extLst>
              <a:ext uri="{FF2B5EF4-FFF2-40B4-BE49-F238E27FC236}">
                <a16:creationId xmlns:a16="http://schemas.microsoft.com/office/drawing/2014/main" id="{93A819A0-26B3-AC42-B410-8F0AF0D8C86D}"/>
              </a:ext>
            </a:extLst>
          </p:cNvPr>
          <p:cNvSpPr>
            <a:spLocks noGrp="1"/>
          </p:cNvSpPr>
          <p:nvPr>
            <p:ph type="body" sz="quarter" idx="14"/>
          </p:nvPr>
        </p:nvSpPr>
        <p:spPr>
          <a:xfrm>
            <a:off x="576001" y="720001"/>
            <a:ext cx="7253551" cy="860400"/>
          </a:xfrm>
        </p:spPr>
        <p:txBody>
          <a:bodyPr/>
          <a:lstStyle/>
          <a:p>
            <a:r>
              <a:rPr lang="en-US">
                <a:latin typeface="Shape Sans" panose="00000500000000000000" pitchFamily="50" charset="0"/>
              </a:rPr>
              <a:t>Skanska Group carbon emissions (Scope 1 &amp; 2)</a:t>
            </a:r>
          </a:p>
        </p:txBody>
      </p:sp>
      <p:sp>
        <p:nvSpPr>
          <p:cNvPr id="20" name="Text Placeholder 19">
            <a:extLst>
              <a:ext uri="{FF2B5EF4-FFF2-40B4-BE49-F238E27FC236}">
                <a16:creationId xmlns:a16="http://schemas.microsoft.com/office/drawing/2014/main" id="{FA16BBCA-B1AA-0F4A-9657-86E7B59C3448}"/>
              </a:ext>
            </a:extLst>
          </p:cNvPr>
          <p:cNvSpPr>
            <a:spLocks noGrp="1"/>
          </p:cNvSpPr>
          <p:nvPr>
            <p:ph type="body" sz="quarter" idx="16"/>
          </p:nvPr>
        </p:nvSpPr>
        <p:spPr>
          <a:xfrm rot="5400000">
            <a:off x="10901732" y="803644"/>
            <a:ext cx="2093913" cy="486626"/>
          </a:xfrm>
        </p:spPr>
        <p:txBody>
          <a:bodyPr/>
          <a:lstStyle/>
          <a:p>
            <a:r>
              <a:rPr lang="en-US" err="1"/>
              <a:t>Täby</a:t>
            </a:r>
            <a:r>
              <a:rPr lang="en-US"/>
              <a:t> Park Stockholm Sverige</a:t>
            </a:r>
          </a:p>
        </p:txBody>
      </p:sp>
      <p:sp>
        <p:nvSpPr>
          <p:cNvPr id="15" name="TextBox 14">
            <a:extLst>
              <a:ext uri="{FF2B5EF4-FFF2-40B4-BE49-F238E27FC236}">
                <a16:creationId xmlns:a16="http://schemas.microsoft.com/office/drawing/2014/main" id="{F61B7DF0-1700-4877-81A4-7DD93B37E5C1}"/>
              </a:ext>
            </a:extLst>
          </p:cNvPr>
          <p:cNvSpPr txBox="1"/>
          <p:nvPr/>
        </p:nvSpPr>
        <p:spPr>
          <a:xfrm>
            <a:off x="575999" y="1893859"/>
            <a:ext cx="7253551" cy="379463"/>
          </a:xfrm>
          <a:prstGeom prst="rect">
            <a:avLst/>
          </a:prstGeom>
          <a:noFill/>
        </p:spPr>
        <p:txBody>
          <a:bodyPr wrap="square" lIns="0" rIns="0" rtlCol="0">
            <a:spAutoFit/>
          </a:bodyPr>
          <a:lstStyle/>
          <a:p>
            <a:pPr defTabSz="1219170">
              <a:buClr>
                <a:srgbClr val="000000"/>
              </a:buClr>
            </a:pPr>
            <a:r>
              <a:rPr lang="en-US" sz="933" kern="0" spc="40">
                <a:solidFill>
                  <a:srgbClr val="143275"/>
                </a:solidFill>
                <a:latin typeface="Shape Sans" panose="00000500000000000000" pitchFamily="50" charset="0"/>
                <a:cs typeface="Arial"/>
                <a:sym typeface="Arial"/>
              </a:rPr>
              <a:t>Scope 1: Direct emissions from owned or controlled sources</a:t>
            </a:r>
          </a:p>
          <a:p>
            <a:pPr defTabSz="1219170">
              <a:buClr>
                <a:srgbClr val="000000"/>
              </a:buClr>
            </a:pPr>
            <a:r>
              <a:rPr lang="en-US" sz="933" kern="0" spc="40">
                <a:solidFill>
                  <a:srgbClr val="143275"/>
                </a:solidFill>
                <a:latin typeface="Shape Sans" panose="00000500000000000000" pitchFamily="50" charset="0"/>
                <a:cs typeface="Arial"/>
                <a:sym typeface="Arial"/>
              </a:rPr>
              <a:t>Scope 2: Indirect emissions from the generation of purchased energy</a:t>
            </a:r>
          </a:p>
        </p:txBody>
      </p:sp>
      <p:sp>
        <p:nvSpPr>
          <p:cNvPr id="2" name="TextBox 1">
            <a:extLst>
              <a:ext uri="{FF2B5EF4-FFF2-40B4-BE49-F238E27FC236}">
                <a16:creationId xmlns:a16="http://schemas.microsoft.com/office/drawing/2014/main" id="{D088688D-47E2-FDD2-49A0-BC4297272010}"/>
              </a:ext>
            </a:extLst>
          </p:cNvPr>
          <p:cNvSpPr txBox="1"/>
          <p:nvPr/>
        </p:nvSpPr>
        <p:spPr>
          <a:xfrm>
            <a:off x="6327187" y="1603421"/>
            <a:ext cx="1783459" cy="707886"/>
          </a:xfrm>
          <a:prstGeom prst="rect">
            <a:avLst/>
          </a:prstGeom>
          <a:noFill/>
        </p:spPr>
        <p:txBody>
          <a:bodyPr wrap="square" lIns="0" tIns="0" rIns="0" bIns="0" rtlCol="0">
            <a:spAutoFit/>
          </a:bodyPr>
          <a:lstStyle/>
          <a:p>
            <a:pPr algn="ctr" defTabSz="685783">
              <a:defRPr/>
            </a:pPr>
            <a:r>
              <a:rPr lang="sv-SE" sz="3600" dirty="0">
                <a:solidFill>
                  <a:srgbClr val="143275"/>
                </a:solidFill>
                <a:latin typeface="Shape Sans" panose="00000500000000000000" pitchFamily="50" charset="0"/>
                <a:cs typeface="Arial"/>
                <a:sym typeface="Arial"/>
              </a:rPr>
              <a:t>-57%*</a:t>
            </a:r>
          </a:p>
          <a:p>
            <a:pPr algn="ctr" defTabSz="685783">
              <a:defRPr/>
            </a:pPr>
            <a:r>
              <a:rPr lang="sv-SE" sz="1000" dirty="0">
                <a:solidFill>
                  <a:srgbClr val="143275"/>
                </a:solidFill>
                <a:latin typeface="Shape Sans" panose="00000500000000000000" pitchFamily="50" charset="0"/>
                <a:cs typeface="Arial"/>
                <a:sym typeface="Arial"/>
              </a:rPr>
              <a:t>Absolute </a:t>
            </a:r>
            <a:r>
              <a:rPr lang="sv-SE" sz="1000" dirty="0" err="1">
                <a:solidFill>
                  <a:srgbClr val="143275"/>
                </a:solidFill>
                <a:latin typeface="Shape Sans" panose="00000500000000000000" pitchFamily="50" charset="0"/>
                <a:cs typeface="Arial"/>
                <a:sym typeface="Arial"/>
              </a:rPr>
              <a:t>carbon</a:t>
            </a:r>
            <a:r>
              <a:rPr lang="sv-SE" sz="1000" dirty="0">
                <a:solidFill>
                  <a:srgbClr val="143275"/>
                </a:solidFill>
                <a:latin typeface="Shape Sans" panose="00000500000000000000" pitchFamily="50" charset="0"/>
                <a:cs typeface="Arial"/>
                <a:sym typeface="Arial"/>
              </a:rPr>
              <a:t> </a:t>
            </a:r>
            <a:r>
              <a:rPr lang="sv-SE" sz="1000" dirty="0" err="1">
                <a:solidFill>
                  <a:srgbClr val="143275"/>
                </a:solidFill>
                <a:latin typeface="Shape Sans" panose="00000500000000000000" pitchFamily="50" charset="0"/>
                <a:cs typeface="Arial"/>
                <a:sym typeface="Arial"/>
              </a:rPr>
              <a:t>reduction</a:t>
            </a:r>
            <a:endParaRPr lang="en-US" sz="800" dirty="0">
              <a:solidFill>
                <a:srgbClr val="143275"/>
              </a:solidFill>
              <a:latin typeface="Shape Sans" panose="00000500000000000000" pitchFamily="50" charset="0"/>
              <a:cs typeface="Arial"/>
              <a:sym typeface="Arial"/>
            </a:endParaRPr>
          </a:p>
        </p:txBody>
      </p:sp>
      <p:graphicFrame>
        <p:nvGraphicFramePr>
          <p:cNvPr id="5" name="Chart 4">
            <a:extLst>
              <a:ext uri="{FF2B5EF4-FFF2-40B4-BE49-F238E27FC236}">
                <a16:creationId xmlns:a16="http://schemas.microsoft.com/office/drawing/2014/main" id="{AE55CCFF-F42E-3F27-CB17-C830EAB8428E}"/>
              </a:ext>
            </a:extLst>
          </p:cNvPr>
          <p:cNvGraphicFramePr/>
          <p:nvPr/>
        </p:nvGraphicFramePr>
        <p:xfrm>
          <a:off x="575999" y="2372780"/>
          <a:ext cx="7489828" cy="3533755"/>
        </p:xfrm>
        <a:graphic>
          <a:graphicData uri="http://schemas.openxmlformats.org/drawingml/2006/chart">
            <c:chart xmlns:c="http://schemas.openxmlformats.org/drawingml/2006/chart" xmlns:r="http://schemas.openxmlformats.org/officeDocument/2006/relationships" r:id="rId7"/>
          </a:graphicData>
        </a:graphic>
      </p:graphicFrame>
      <p:sp>
        <p:nvSpPr>
          <p:cNvPr id="8" name="TextBox 7">
            <a:extLst>
              <a:ext uri="{FF2B5EF4-FFF2-40B4-BE49-F238E27FC236}">
                <a16:creationId xmlns:a16="http://schemas.microsoft.com/office/drawing/2014/main" id="{D74FCB92-AEF2-15B9-2286-0AF9D062ECFF}"/>
              </a:ext>
            </a:extLst>
          </p:cNvPr>
          <p:cNvSpPr txBox="1"/>
          <p:nvPr/>
        </p:nvSpPr>
        <p:spPr>
          <a:xfrm>
            <a:off x="3793471" y="3810214"/>
            <a:ext cx="539791" cy="143565"/>
          </a:xfrm>
          <a:prstGeom prst="rect">
            <a:avLst/>
          </a:prstGeom>
          <a:noFill/>
        </p:spPr>
        <p:txBody>
          <a:bodyPr wrap="square" lIns="0" tIns="0" rIns="0" bIns="0" rtlCol="0">
            <a:spAutoFit/>
          </a:bodyPr>
          <a:lstStyle/>
          <a:p>
            <a:pPr algn="ctr" defTabSz="685783">
              <a:defRPr/>
            </a:pPr>
            <a:r>
              <a:rPr lang="sv-SE" sz="933">
                <a:solidFill>
                  <a:srgbClr val="143275"/>
                </a:solidFill>
                <a:latin typeface="Shape Sans" panose="00000500000000000000" pitchFamily="50" charset="0"/>
                <a:cs typeface="Arial"/>
                <a:sym typeface="Arial"/>
              </a:rPr>
              <a:t>179</a:t>
            </a:r>
            <a:endParaRPr lang="en-US" sz="933">
              <a:solidFill>
                <a:srgbClr val="143275"/>
              </a:solidFill>
              <a:latin typeface="Shape Sans" panose="00000500000000000000" pitchFamily="50" charset="0"/>
              <a:cs typeface="Arial"/>
              <a:sym typeface="Arial"/>
            </a:endParaRPr>
          </a:p>
        </p:txBody>
      </p:sp>
      <p:sp>
        <p:nvSpPr>
          <p:cNvPr id="9" name="TextBox 8">
            <a:extLst>
              <a:ext uri="{FF2B5EF4-FFF2-40B4-BE49-F238E27FC236}">
                <a16:creationId xmlns:a16="http://schemas.microsoft.com/office/drawing/2014/main" id="{41956FD3-AEEE-0E04-CADC-616A7C6446FC}"/>
              </a:ext>
            </a:extLst>
          </p:cNvPr>
          <p:cNvSpPr txBox="1"/>
          <p:nvPr/>
        </p:nvSpPr>
        <p:spPr>
          <a:xfrm>
            <a:off x="3399930" y="3646094"/>
            <a:ext cx="539791" cy="143565"/>
          </a:xfrm>
          <a:prstGeom prst="rect">
            <a:avLst/>
          </a:prstGeom>
          <a:noFill/>
        </p:spPr>
        <p:txBody>
          <a:bodyPr wrap="square" lIns="0" tIns="0" rIns="0" bIns="0" rtlCol="0">
            <a:spAutoFit/>
          </a:bodyPr>
          <a:lstStyle/>
          <a:p>
            <a:pPr algn="ctr" defTabSz="685783">
              <a:defRPr/>
            </a:pPr>
            <a:r>
              <a:rPr lang="sv-SE" sz="933">
                <a:solidFill>
                  <a:srgbClr val="143275"/>
                </a:solidFill>
                <a:latin typeface="Shape Sans" panose="00000500000000000000" pitchFamily="50" charset="0"/>
                <a:cs typeface="Arial"/>
                <a:sym typeface="Arial"/>
              </a:rPr>
              <a:t>216</a:t>
            </a:r>
            <a:endParaRPr lang="en-US" sz="933">
              <a:solidFill>
                <a:srgbClr val="143275"/>
              </a:solidFill>
              <a:latin typeface="Shape Sans" panose="00000500000000000000" pitchFamily="50" charset="0"/>
              <a:cs typeface="Arial"/>
              <a:sym typeface="Arial"/>
            </a:endParaRPr>
          </a:p>
        </p:txBody>
      </p:sp>
      <p:sp>
        <p:nvSpPr>
          <p:cNvPr id="10" name="TextBox 9">
            <a:extLst>
              <a:ext uri="{FF2B5EF4-FFF2-40B4-BE49-F238E27FC236}">
                <a16:creationId xmlns:a16="http://schemas.microsoft.com/office/drawing/2014/main" id="{66E177CF-AE7D-9D4B-8419-68F6D7240AF2}"/>
              </a:ext>
            </a:extLst>
          </p:cNvPr>
          <p:cNvSpPr txBox="1"/>
          <p:nvPr/>
        </p:nvSpPr>
        <p:spPr>
          <a:xfrm>
            <a:off x="3008898" y="3375566"/>
            <a:ext cx="539791" cy="143565"/>
          </a:xfrm>
          <a:prstGeom prst="rect">
            <a:avLst/>
          </a:prstGeom>
          <a:noFill/>
        </p:spPr>
        <p:txBody>
          <a:bodyPr wrap="square" lIns="0" tIns="0" rIns="0" bIns="0" rtlCol="0">
            <a:spAutoFit/>
          </a:bodyPr>
          <a:lstStyle/>
          <a:p>
            <a:pPr algn="ctr" defTabSz="685783">
              <a:defRPr/>
            </a:pPr>
            <a:r>
              <a:rPr lang="sv-SE" sz="933">
                <a:solidFill>
                  <a:srgbClr val="143275"/>
                </a:solidFill>
                <a:latin typeface="Shape Sans" panose="00000500000000000000" pitchFamily="50" charset="0"/>
                <a:cs typeface="Arial"/>
                <a:sym typeface="Arial"/>
              </a:rPr>
              <a:t>265</a:t>
            </a:r>
            <a:endParaRPr lang="en-US" sz="933">
              <a:solidFill>
                <a:srgbClr val="143275"/>
              </a:solidFill>
              <a:latin typeface="Shape Sans" panose="00000500000000000000" pitchFamily="50" charset="0"/>
              <a:cs typeface="Arial"/>
              <a:sym typeface="Arial"/>
            </a:endParaRPr>
          </a:p>
        </p:txBody>
      </p:sp>
      <p:sp>
        <p:nvSpPr>
          <p:cNvPr id="11" name="TextBox 10">
            <a:extLst>
              <a:ext uri="{FF2B5EF4-FFF2-40B4-BE49-F238E27FC236}">
                <a16:creationId xmlns:a16="http://schemas.microsoft.com/office/drawing/2014/main" id="{F8EB9D65-15E7-CE12-6F11-13BB3013B00B}"/>
              </a:ext>
            </a:extLst>
          </p:cNvPr>
          <p:cNvSpPr txBox="1"/>
          <p:nvPr/>
        </p:nvSpPr>
        <p:spPr>
          <a:xfrm>
            <a:off x="2624301" y="3231937"/>
            <a:ext cx="539791" cy="143565"/>
          </a:xfrm>
          <a:prstGeom prst="rect">
            <a:avLst/>
          </a:prstGeom>
          <a:noFill/>
        </p:spPr>
        <p:txBody>
          <a:bodyPr wrap="square" lIns="0" tIns="0" rIns="0" bIns="0" rtlCol="0">
            <a:spAutoFit/>
          </a:bodyPr>
          <a:lstStyle/>
          <a:p>
            <a:pPr algn="ctr" defTabSz="685783">
              <a:defRPr/>
            </a:pPr>
            <a:r>
              <a:rPr lang="sv-SE" sz="933">
                <a:solidFill>
                  <a:srgbClr val="143275"/>
                </a:solidFill>
                <a:latin typeface="Shape Sans" panose="00000500000000000000" pitchFamily="50" charset="0"/>
                <a:cs typeface="Arial"/>
                <a:sym typeface="Arial"/>
              </a:rPr>
              <a:t>291</a:t>
            </a:r>
            <a:endParaRPr lang="en-US" sz="933">
              <a:solidFill>
                <a:srgbClr val="143275"/>
              </a:solidFill>
              <a:latin typeface="Shape Sans" panose="00000500000000000000" pitchFamily="50" charset="0"/>
              <a:cs typeface="Arial"/>
              <a:sym typeface="Arial"/>
            </a:endParaRPr>
          </a:p>
        </p:txBody>
      </p:sp>
      <p:sp>
        <p:nvSpPr>
          <p:cNvPr id="12" name="TextBox 11">
            <a:extLst>
              <a:ext uri="{FF2B5EF4-FFF2-40B4-BE49-F238E27FC236}">
                <a16:creationId xmlns:a16="http://schemas.microsoft.com/office/drawing/2014/main" id="{3D871F45-5526-5260-1B9E-16C3BDC22355}"/>
              </a:ext>
            </a:extLst>
          </p:cNvPr>
          <p:cNvSpPr txBox="1"/>
          <p:nvPr/>
        </p:nvSpPr>
        <p:spPr>
          <a:xfrm>
            <a:off x="2235941" y="2899937"/>
            <a:ext cx="539791" cy="143565"/>
          </a:xfrm>
          <a:prstGeom prst="rect">
            <a:avLst/>
          </a:prstGeom>
          <a:noFill/>
        </p:spPr>
        <p:txBody>
          <a:bodyPr wrap="square" lIns="0" tIns="0" rIns="0" bIns="0" rtlCol="0">
            <a:spAutoFit/>
          </a:bodyPr>
          <a:lstStyle/>
          <a:p>
            <a:pPr algn="ctr" defTabSz="685783">
              <a:defRPr/>
            </a:pPr>
            <a:r>
              <a:rPr lang="sv-SE" sz="933">
                <a:solidFill>
                  <a:srgbClr val="143275"/>
                </a:solidFill>
                <a:latin typeface="Shape Sans" panose="00000500000000000000" pitchFamily="50" charset="0"/>
                <a:cs typeface="Arial"/>
                <a:sym typeface="Arial"/>
              </a:rPr>
              <a:t>332</a:t>
            </a:r>
            <a:endParaRPr lang="en-US" sz="933">
              <a:solidFill>
                <a:srgbClr val="143275"/>
              </a:solidFill>
              <a:latin typeface="Shape Sans" panose="00000500000000000000" pitchFamily="50" charset="0"/>
              <a:cs typeface="Arial"/>
              <a:sym typeface="Arial"/>
            </a:endParaRPr>
          </a:p>
        </p:txBody>
      </p:sp>
      <p:sp>
        <p:nvSpPr>
          <p:cNvPr id="14" name="TextBox 13">
            <a:extLst>
              <a:ext uri="{FF2B5EF4-FFF2-40B4-BE49-F238E27FC236}">
                <a16:creationId xmlns:a16="http://schemas.microsoft.com/office/drawing/2014/main" id="{355B5805-B22A-95D2-C42D-EF0B1A030E63}"/>
              </a:ext>
            </a:extLst>
          </p:cNvPr>
          <p:cNvSpPr txBox="1"/>
          <p:nvPr/>
        </p:nvSpPr>
        <p:spPr>
          <a:xfrm>
            <a:off x="1844909" y="2815899"/>
            <a:ext cx="539791" cy="143565"/>
          </a:xfrm>
          <a:prstGeom prst="rect">
            <a:avLst/>
          </a:prstGeom>
          <a:noFill/>
        </p:spPr>
        <p:txBody>
          <a:bodyPr wrap="square" lIns="0" tIns="0" rIns="0" bIns="0" rtlCol="0">
            <a:spAutoFit/>
          </a:bodyPr>
          <a:lstStyle/>
          <a:p>
            <a:pPr algn="ctr" defTabSz="685783">
              <a:defRPr/>
            </a:pPr>
            <a:r>
              <a:rPr lang="sv-SE" sz="933">
                <a:solidFill>
                  <a:srgbClr val="143275"/>
                </a:solidFill>
                <a:latin typeface="Shape Sans" panose="00000500000000000000" pitchFamily="50" charset="0"/>
                <a:cs typeface="Arial"/>
                <a:sym typeface="Arial"/>
              </a:rPr>
              <a:t>347</a:t>
            </a:r>
            <a:endParaRPr lang="en-US" sz="933">
              <a:solidFill>
                <a:srgbClr val="143275"/>
              </a:solidFill>
              <a:latin typeface="Shape Sans" panose="00000500000000000000" pitchFamily="50" charset="0"/>
              <a:cs typeface="Arial"/>
              <a:sym typeface="Arial"/>
            </a:endParaRPr>
          </a:p>
        </p:txBody>
      </p:sp>
      <p:sp>
        <p:nvSpPr>
          <p:cNvPr id="16" name="TextBox 15">
            <a:extLst>
              <a:ext uri="{FF2B5EF4-FFF2-40B4-BE49-F238E27FC236}">
                <a16:creationId xmlns:a16="http://schemas.microsoft.com/office/drawing/2014/main" id="{CEF7070C-D910-80FB-3170-39ECF27BEDB2}"/>
              </a:ext>
            </a:extLst>
          </p:cNvPr>
          <p:cNvSpPr txBox="1"/>
          <p:nvPr/>
        </p:nvSpPr>
        <p:spPr>
          <a:xfrm>
            <a:off x="1464122" y="2700931"/>
            <a:ext cx="539791" cy="143565"/>
          </a:xfrm>
          <a:prstGeom prst="rect">
            <a:avLst/>
          </a:prstGeom>
          <a:noFill/>
        </p:spPr>
        <p:txBody>
          <a:bodyPr wrap="square" lIns="0" tIns="0" rIns="0" bIns="0" rtlCol="0">
            <a:spAutoFit/>
          </a:bodyPr>
          <a:lstStyle/>
          <a:p>
            <a:pPr algn="ctr" defTabSz="685783">
              <a:defRPr/>
            </a:pPr>
            <a:r>
              <a:rPr lang="sv-SE" sz="933">
                <a:solidFill>
                  <a:srgbClr val="143275"/>
                </a:solidFill>
                <a:latin typeface="Shape Sans" panose="00000500000000000000" pitchFamily="50" charset="0"/>
                <a:cs typeface="Arial"/>
                <a:sym typeface="Arial"/>
              </a:rPr>
              <a:t>386</a:t>
            </a:r>
            <a:endParaRPr lang="en-US" sz="933">
              <a:solidFill>
                <a:srgbClr val="143275"/>
              </a:solidFill>
              <a:latin typeface="Shape Sans" panose="00000500000000000000" pitchFamily="50" charset="0"/>
              <a:cs typeface="Arial"/>
              <a:sym typeface="Arial"/>
            </a:endParaRPr>
          </a:p>
        </p:txBody>
      </p:sp>
      <p:sp>
        <p:nvSpPr>
          <p:cNvPr id="17" name="TextBox 16">
            <a:extLst>
              <a:ext uri="{FF2B5EF4-FFF2-40B4-BE49-F238E27FC236}">
                <a16:creationId xmlns:a16="http://schemas.microsoft.com/office/drawing/2014/main" id="{279B0519-5FE2-80A9-4254-7D32693F2ADA}"/>
              </a:ext>
            </a:extLst>
          </p:cNvPr>
          <p:cNvSpPr txBox="1"/>
          <p:nvPr/>
        </p:nvSpPr>
        <p:spPr>
          <a:xfrm>
            <a:off x="1076239" y="2612246"/>
            <a:ext cx="539791" cy="143565"/>
          </a:xfrm>
          <a:prstGeom prst="rect">
            <a:avLst/>
          </a:prstGeom>
          <a:noFill/>
        </p:spPr>
        <p:txBody>
          <a:bodyPr wrap="square" lIns="0" tIns="0" rIns="0" bIns="0" rtlCol="0">
            <a:spAutoFit/>
          </a:bodyPr>
          <a:lstStyle/>
          <a:p>
            <a:pPr algn="ctr" defTabSz="685783">
              <a:defRPr/>
            </a:pPr>
            <a:r>
              <a:rPr lang="sv-SE" sz="933">
                <a:solidFill>
                  <a:srgbClr val="143275"/>
                </a:solidFill>
                <a:latin typeface="Shape Sans" panose="00000500000000000000" pitchFamily="50" charset="0"/>
                <a:cs typeface="Arial"/>
                <a:sym typeface="Arial"/>
              </a:rPr>
              <a:t>403</a:t>
            </a:r>
            <a:endParaRPr lang="en-US" sz="933">
              <a:solidFill>
                <a:srgbClr val="143275"/>
              </a:solidFill>
              <a:latin typeface="Shape Sans" panose="00000500000000000000" pitchFamily="50" charset="0"/>
              <a:cs typeface="Arial"/>
              <a:sym typeface="Arial"/>
            </a:endParaRPr>
          </a:p>
        </p:txBody>
      </p:sp>
      <p:sp>
        <p:nvSpPr>
          <p:cNvPr id="21" name="Slide Number Placeholder 20">
            <a:extLst>
              <a:ext uri="{FF2B5EF4-FFF2-40B4-BE49-F238E27FC236}">
                <a16:creationId xmlns:a16="http://schemas.microsoft.com/office/drawing/2014/main" id="{527EF6D4-A6D3-C6BD-D1E5-3D621661C675}"/>
              </a:ext>
            </a:extLst>
          </p:cNvPr>
          <p:cNvSpPr>
            <a:spLocks noGrp="1"/>
          </p:cNvSpPr>
          <p:nvPr>
            <p:ph type="sldNum" sz="quarter" idx="4"/>
          </p:nvPr>
        </p:nvSpPr>
        <p:spPr/>
        <p:txBody>
          <a:bodyPr/>
          <a:lstStyle/>
          <a:p>
            <a:fld id="{EF8DBD5B-30F9-4F9C-AE39-E065C1AC514D}" type="slidenum">
              <a:rPr lang="en-US" smtClean="0"/>
              <a:pPr/>
              <a:t>5</a:t>
            </a:fld>
            <a:endParaRPr lang="en-US"/>
          </a:p>
        </p:txBody>
      </p:sp>
      <p:pic>
        <p:nvPicPr>
          <p:cNvPr id="6" name="Picture 5">
            <a:extLst>
              <a:ext uri="{FF2B5EF4-FFF2-40B4-BE49-F238E27FC236}">
                <a16:creationId xmlns:a16="http://schemas.microsoft.com/office/drawing/2014/main" id="{0C92B7A4-0C53-9584-BE87-CC4980EFB899}"/>
              </a:ext>
            </a:extLst>
          </p:cNvPr>
          <p:cNvPicPr>
            <a:picLocks noChangeAspect="1"/>
          </p:cNvPicPr>
          <p:nvPr/>
        </p:nvPicPr>
        <p:blipFill>
          <a:blip r:embed="rId8"/>
          <a:stretch>
            <a:fillRect/>
          </a:stretch>
        </p:blipFill>
        <p:spPr>
          <a:xfrm>
            <a:off x="8452453" y="4717937"/>
            <a:ext cx="2724150" cy="1538205"/>
          </a:xfrm>
          <a:prstGeom prst="rect">
            <a:avLst/>
          </a:prstGeom>
        </p:spPr>
      </p:pic>
    </p:spTree>
    <p:extLst>
      <p:ext uri="{BB962C8B-B14F-4D97-AF65-F5344CB8AC3E}">
        <p14:creationId xmlns:p14="http://schemas.microsoft.com/office/powerpoint/2010/main" val="193036469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nummer 1">
            <a:extLst>
              <a:ext uri="{FF2B5EF4-FFF2-40B4-BE49-F238E27FC236}">
                <a16:creationId xmlns:a16="http://schemas.microsoft.com/office/drawing/2014/main" id="{4517A81B-14E0-4608-CD7A-49FC1F49F06D}"/>
              </a:ext>
            </a:extLst>
          </p:cNvPr>
          <p:cNvSpPr>
            <a:spLocks noGrp="1"/>
          </p:cNvSpPr>
          <p:nvPr>
            <p:ph type="sldNum" sz="quarter" idx="4"/>
          </p:nvPr>
        </p:nvSpPr>
        <p:spPr/>
        <p:txBody>
          <a:bodyPr/>
          <a:lstStyle/>
          <a:p>
            <a:fld id="{EF8DBD5B-30F9-4F9C-AE39-E065C1AC514D}" type="slidenum">
              <a:rPr lang="en-US" noProof="0" smtClean="0"/>
              <a:pPr/>
              <a:t>6</a:t>
            </a:fld>
            <a:endParaRPr lang="en-US" noProof="0"/>
          </a:p>
        </p:txBody>
      </p:sp>
      <p:grpSp>
        <p:nvGrpSpPr>
          <p:cNvPr id="3" name="object 3">
            <a:extLst>
              <a:ext uri="{FF2B5EF4-FFF2-40B4-BE49-F238E27FC236}">
                <a16:creationId xmlns:a16="http://schemas.microsoft.com/office/drawing/2014/main" id="{BC769323-A3BE-B7B6-7C1E-D26D2442B903}"/>
              </a:ext>
            </a:extLst>
          </p:cNvPr>
          <p:cNvGrpSpPr>
            <a:grpSpLocks noChangeAspect="1"/>
          </p:cNvGrpSpPr>
          <p:nvPr/>
        </p:nvGrpSpPr>
        <p:grpSpPr>
          <a:xfrm>
            <a:off x="4860331" y="2099814"/>
            <a:ext cx="2471335" cy="4824000"/>
            <a:chOff x="8712896" y="5811341"/>
            <a:chExt cx="2654935" cy="5497830"/>
          </a:xfrm>
        </p:grpSpPr>
        <p:pic>
          <p:nvPicPr>
            <p:cNvPr id="4" name="object 4">
              <a:extLst>
                <a:ext uri="{FF2B5EF4-FFF2-40B4-BE49-F238E27FC236}">
                  <a16:creationId xmlns:a16="http://schemas.microsoft.com/office/drawing/2014/main" id="{8F69D050-5144-1DCB-C83F-994C0F85A5D0}"/>
                </a:ext>
              </a:extLst>
            </p:cNvPr>
            <p:cNvPicPr/>
            <p:nvPr/>
          </p:nvPicPr>
          <p:blipFill>
            <a:blip r:embed="rId3" cstate="print"/>
            <a:stretch>
              <a:fillRect/>
            </a:stretch>
          </p:blipFill>
          <p:spPr>
            <a:xfrm>
              <a:off x="9751441" y="6014434"/>
              <a:ext cx="1088972" cy="634577"/>
            </a:xfrm>
            <a:prstGeom prst="rect">
              <a:avLst/>
            </a:prstGeom>
          </p:spPr>
        </p:pic>
        <p:pic>
          <p:nvPicPr>
            <p:cNvPr id="5" name="object 5">
              <a:extLst>
                <a:ext uri="{FF2B5EF4-FFF2-40B4-BE49-F238E27FC236}">
                  <a16:creationId xmlns:a16="http://schemas.microsoft.com/office/drawing/2014/main" id="{45ACE8DC-47D1-E941-7D97-6BD9D9026071}"/>
                </a:ext>
              </a:extLst>
            </p:cNvPr>
            <p:cNvPicPr/>
            <p:nvPr/>
          </p:nvPicPr>
          <p:blipFill>
            <a:blip r:embed="rId4" cstate="print"/>
            <a:stretch>
              <a:fillRect/>
            </a:stretch>
          </p:blipFill>
          <p:spPr>
            <a:xfrm>
              <a:off x="10484406" y="6060506"/>
              <a:ext cx="847091" cy="697402"/>
            </a:xfrm>
            <a:prstGeom prst="rect">
              <a:avLst/>
            </a:prstGeom>
          </p:spPr>
        </p:pic>
        <p:pic>
          <p:nvPicPr>
            <p:cNvPr id="6" name="object 6">
              <a:extLst>
                <a:ext uri="{FF2B5EF4-FFF2-40B4-BE49-F238E27FC236}">
                  <a16:creationId xmlns:a16="http://schemas.microsoft.com/office/drawing/2014/main" id="{F0CCE127-3D2A-1D54-59D9-FD30744ABE18}"/>
                </a:ext>
              </a:extLst>
            </p:cNvPr>
            <p:cNvPicPr/>
            <p:nvPr/>
          </p:nvPicPr>
          <p:blipFill>
            <a:blip r:embed="rId5" cstate="print"/>
            <a:stretch>
              <a:fillRect/>
            </a:stretch>
          </p:blipFill>
          <p:spPr>
            <a:xfrm>
              <a:off x="8712896" y="5811341"/>
              <a:ext cx="1345917" cy="879554"/>
            </a:xfrm>
            <a:prstGeom prst="rect">
              <a:avLst/>
            </a:prstGeom>
          </p:spPr>
        </p:pic>
        <p:sp>
          <p:nvSpPr>
            <p:cNvPr id="7" name="object 7">
              <a:extLst>
                <a:ext uri="{FF2B5EF4-FFF2-40B4-BE49-F238E27FC236}">
                  <a16:creationId xmlns:a16="http://schemas.microsoft.com/office/drawing/2014/main" id="{40563819-3F91-19DB-24F6-4A940367B630}"/>
                </a:ext>
              </a:extLst>
            </p:cNvPr>
            <p:cNvSpPr/>
            <p:nvPr/>
          </p:nvSpPr>
          <p:spPr>
            <a:xfrm>
              <a:off x="8736435" y="11128195"/>
              <a:ext cx="2631440" cy="180975"/>
            </a:xfrm>
            <a:custGeom>
              <a:avLst/>
              <a:gdLst/>
              <a:ahLst/>
              <a:cxnLst/>
              <a:rect l="l" t="t" r="r" b="b"/>
              <a:pathLst>
                <a:path w="2631440" h="180975">
                  <a:moveTo>
                    <a:pt x="2631228" y="0"/>
                  </a:moveTo>
                  <a:lnTo>
                    <a:pt x="0" y="0"/>
                  </a:lnTo>
                  <a:lnTo>
                    <a:pt x="0" y="180361"/>
                  </a:lnTo>
                  <a:lnTo>
                    <a:pt x="2631228" y="180361"/>
                  </a:lnTo>
                  <a:lnTo>
                    <a:pt x="2631228" y="0"/>
                  </a:lnTo>
                  <a:close/>
                </a:path>
              </a:pathLst>
            </a:custGeom>
            <a:solidFill>
              <a:srgbClr val="002E78"/>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000000"/>
                </a:solidFill>
                <a:effectLst/>
                <a:uLnTx/>
                <a:uFillTx/>
                <a:latin typeface="Arial"/>
                <a:ea typeface="+mn-ea"/>
                <a:cs typeface="+mn-cs"/>
              </a:endParaRPr>
            </a:p>
          </p:txBody>
        </p:sp>
        <p:sp>
          <p:nvSpPr>
            <p:cNvPr id="8" name="object 8">
              <a:extLst>
                <a:ext uri="{FF2B5EF4-FFF2-40B4-BE49-F238E27FC236}">
                  <a16:creationId xmlns:a16="http://schemas.microsoft.com/office/drawing/2014/main" id="{DDD6E66B-3FFF-A900-18E2-14DC65576C62}"/>
                </a:ext>
              </a:extLst>
            </p:cNvPr>
            <p:cNvSpPr/>
            <p:nvPr/>
          </p:nvSpPr>
          <p:spPr>
            <a:xfrm>
              <a:off x="8877674" y="6799712"/>
              <a:ext cx="1057910" cy="4350385"/>
            </a:xfrm>
            <a:custGeom>
              <a:avLst/>
              <a:gdLst/>
              <a:ahLst/>
              <a:cxnLst/>
              <a:rect l="l" t="t" r="r" b="b"/>
              <a:pathLst>
                <a:path w="1057909" h="4350384">
                  <a:moveTo>
                    <a:pt x="28516" y="4350024"/>
                  </a:moveTo>
                  <a:lnTo>
                    <a:pt x="0" y="3905015"/>
                  </a:lnTo>
                  <a:lnTo>
                    <a:pt x="39123" y="3613595"/>
                  </a:lnTo>
                  <a:lnTo>
                    <a:pt x="189651" y="3346989"/>
                  </a:lnTo>
                  <a:lnTo>
                    <a:pt x="495350" y="2976422"/>
                  </a:lnTo>
                  <a:lnTo>
                    <a:pt x="564095" y="2895709"/>
                  </a:lnTo>
                  <a:lnTo>
                    <a:pt x="627176" y="2821039"/>
                  </a:lnTo>
                  <a:lnTo>
                    <a:pt x="684824" y="2752117"/>
                  </a:lnTo>
                  <a:lnTo>
                    <a:pt x="737269" y="2688650"/>
                  </a:lnTo>
                  <a:lnTo>
                    <a:pt x="784743" y="2630343"/>
                  </a:lnTo>
                  <a:lnTo>
                    <a:pt x="827477" y="2576903"/>
                  </a:lnTo>
                  <a:lnTo>
                    <a:pt x="865704" y="2528035"/>
                  </a:lnTo>
                  <a:lnTo>
                    <a:pt x="899653" y="2483445"/>
                  </a:lnTo>
                  <a:lnTo>
                    <a:pt x="929557" y="2442839"/>
                  </a:lnTo>
                  <a:lnTo>
                    <a:pt x="955647" y="2405924"/>
                  </a:lnTo>
                  <a:lnTo>
                    <a:pt x="978154" y="2372404"/>
                  </a:lnTo>
                  <a:lnTo>
                    <a:pt x="1013346" y="2314375"/>
                  </a:lnTo>
                  <a:lnTo>
                    <a:pt x="1036982" y="2266401"/>
                  </a:lnTo>
                  <a:lnTo>
                    <a:pt x="1050915" y="2226128"/>
                  </a:lnTo>
                  <a:lnTo>
                    <a:pt x="1057668" y="2175012"/>
                  </a:lnTo>
                  <a:lnTo>
                    <a:pt x="1056994" y="2158822"/>
                  </a:lnTo>
                  <a:lnTo>
                    <a:pt x="1045046" y="2104579"/>
                  </a:lnTo>
                  <a:lnTo>
                    <a:pt x="1026493" y="2060750"/>
                  </a:lnTo>
                  <a:lnTo>
                    <a:pt x="997310" y="2008043"/>
                  </a:lnTo>
                  <a:lnTo>
                    <a:pt x="955647" y="1944104"/>
                  </a:lnTo>
                  <a:lnTo>
                    <a:pt x="929557" y="1907188"/>
                  </a:lnTo>
                  <a:lnTo>
                    <a:pt x="899653" y="1866581"/>
                  </a:lnTo>
                  <a:lnTo>
                    <a:pt x="865704" y="1821991"/>
                  </a:lnTo>
                  <a:lnTo>
                    <a:pt x="827477" y="1773123"/>
                  </a:lnTo>
                  <a:lnTo>
                    <a:pt x="784743" y="1719682"/>
                  </a:lnTo>
                  <a:lnTo>
                    <a:pt x="737269" y="1661375"/>
                  </a:lnTo>
                  <a:lnTo>
                    <a:pt x="684824" y="1597907"/>
                  </a:lnTo>
                  <a:lnTo>
                    <a:pt x="627176" y="1528985"/>
                  </a:lnTo>
                  <a:lnTo>
                    <a:pt x="564095" y="1454315"/>
                  </a:lnTo>
                  <a:lnTo>
                    <a:pt x="495350" y="1373602"/>
                  </a:lnTo>
                  <a:lnTo>
                    <a:pt x="198603" y="897148"/>
                  </a:lnTo>
                  <a:lnTo>
                    <a:pt x="62996" y="454064"/>
                  </a:lnTo>
                  <a:lnTo>
                    <a:pt x="26857" y="127349"/>
                  </a:lnTo>
                  <a:lnTo>
                    <a:pt x="28516" y="0"/>
                  </a:lnTo>
                </a:path>
              </a:pathLst>
            </a:custGeom>
            <a:ln w="10607">
              <a:solidFill>
                <a:srgbClr val="002E7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000000"/>
                </a:solidFill>
                <a:effectLst/>
                <a:uLnTx/>
                <a:uFillTx/>
                <a:latin typeface="Arial"/>
                <a:ea typeface="+mn-ea"/>
                <a:cs typeface="+mn-cs"/>
              </a:endParaRPr>
            </a:p>
          </p:txBody>
        </p:sp>
        <p:sp>
          <p:nvSpPr>
            <p:cNvPr id="9" name="object 9">
              <a:extLst>
                <a:ext uri="{FF2B5EF4-FFF2-40B4-BE49-F238E27FC236}">
                  <a16:creationId xmlns:a16="http://schemas.microsoft.com/office/drawing/2014/main" id="{EF9370FD-CFD8-BB6F-35DB-253E4944907D}"/>
                </a:ext>
              </a:extLst>
            </p:cNvPr>
            <p:cNvSpPr/>
            <p:nvPr/>
          </p:nvSpPr>
          <p:spPr>
            <a:xfrm>
              <a:off x="10212129" y="6799712"/>
              <a:ext cx="1057910" cy="4350385"/>
            </a:xfrm>
            <a:custGeom>
              <a:avLst/>
              <a:gdLst/>
              <a:ahLst/>
              <a:cxnLst/>
              <a:rect l="l" t="t" r="r" b="b"/>
              <a:pathLst>
                <a:path w="1057909" h="4350384">
                  <a:moveTo>
                    <a:pt x="1029151" y="4350024"/>
                  </a:moveTo>
                  <a:lnTo>
                    <a:pt x="1057668" y="3905015"/>
                  </a:lnTo>
                  <a:lnTo>
                    <a:pt x="1018544" y="3613595"/>
                  </a:lnTo>
                  <a:lnTo>
                    <a:pt x="868016" y="3346989"/>
                  </a:lnTo>
                  <a:lnTo>
                    <a:pt x="562317" y="2976422"/>
                  </a:lnTo>
                  <a:lnTo>
                    <a:pt x="493572" y="2895709"/>
                  </a:lnTo>
                  <a:lnTo>
                    <a:pt x="430491" y="2821039"/>
                  </a:lnTo>
                  <a:lnTo>
                    <a:pt x="372844" y="2752117"/>
                  </a:lnTo>
                  <a:lnTo>
                    <a:pt x="320399" y="2688650"/>
                  </a:lnTo>
                  <a:lnTo>
                    <a:pt x="272924" y="2630343"/>
                  </a:lnTo>
                  <a:lnTo>
                    <a:pt x="230190" y="2576903"/>
                  </a:lnTo>
                  <a:lnTo>
                    <a:pt x="191963" y="2528035"/>
                  </a:lnTo>
                  <a:lnTo>
                    <a:pt x="158014" y="2483445"/>
                  </a:lnTo>
                  <a:lnTo>
                    <a:pt x="128110" y="2442839"/>
                  </a:lnTo>
                  <a:lnTo>
                    <a:pt x="102020" y="2405924"/>
                  </a:lnTo>
                  <a:lnTo>
                    <a:pt x="79513" y="2372404"/>
                  </a:lnTo>
                  <a:lnTo>
                    <a:pt x="44321" y="2314375"/>
                  </a:lnTo>
                  <a:lnTo>
                    <a:pt x="20685" y="2266401"/>
                  </a:lnTo>
                  <a:lnTo>
                    <a:pt x="6752" y="2226128"/>
                  </a:lnTo>
                  <a:lnTo>
                    <a:pt x="0" y="2175012"/>
                  </a:lnTo>
                  <a:lnTo>
                    <a:pt x="673" y="2158822"/>
                  </a:lnTo>
                  <a:lnTo>
                    <a:pt x="12621" y="2104579"/>
                  </a:lnTo>
                  <a:lnTo>
                    <a:pt x="31174" y="2060750"/>
                  </a:lnTo>
                  <a:lnTo>
                    <a:pt x="60357" y="2008043"/>
                  </a:lnTo>
                  <a:lnTo>
                    <a:pt x="102020" y="1944104"/>
                  </a:lnTo>
                  <a:lnTo>
                    <a:pt x="128110" y="1907188"/>
                  </a:lnTo>
                  <a:lnTo>
                    <a:pt x="158014" y="1866581"/>
                  </a:lnTo>
                  <a:lnTo>
                    <a:pt x="191963" y="1821991"/>
                  </a:lnTo>
                  <a:lnTo>
                    <a:pt x="230190" y="1773123"/>
                  </a:lnTo>
                  <a:lnTo>
                    <a:pt x="272924" y="1719682"/>
                  </a:lnTo>
                  <a:lnTo>
                    <a:pt x="320399" y="1661375"/>
                  </a:lnTo>
                  <a:lnTo>
                    <a:pt x="372844" y="1597907"/>
                  </a:lnTo>
                  <a:lnTo>
                    <a:pt x="430491" y="1528985"/>
                  </a:lnTo>
                  <a:lnTo>
                    <a:pt x="493572" y="1454315"/>
                  </a:lnTo>
                  <a:lnTo>
                    <a:pt x="562317" y="1373602"/>
                  </a:lnTo>
                  <a:lnTo>
                    <a:pt x="859064" y="897148"/>
                  </a:lnTo>
                  <a:lnTo>
                    <a:pt x="994671" y="454064"/>
                  </a:lnTo>
                  <a:lnTo>
                    <a:pt x="1030810" y="127349"/>
                  </a:lnTo>
                  <a:lnTo>
                    <a:pt x="1029151" y="0"/>
                  </a:lnTo>
                </a:path>
              </a:pathLst>
            </a:custGeom>
            <a:ln w="10607">
              <a:solidFill>
                <a:srgbClr val="002E7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000000"/>
                </a:solidFill>
                <a:effectLst/>
                <a:uLnTx/>
                <a:uFillTx/>
                <a:latin typeface="Arial"/>
                <a:ea typeface="+mn-ea"/>
                <a:cs typeface="+mn-cs"/>
              </a:endParaRPr>
            </a:p>
          </p:txBody>
        </p:sp>
        <p:sp>
          <p:nvSpPr>
            <p:cNvPr id="10" name="object 10">
              <a:extLst>
                <a:ext uri="{FF2B5EF4-FFF2-40B4-BE49-F238E27FC236}">
                  <a16:creationId xmlns:a16="http://schemas.microsoft.com/office/drawing/2014/main" id="{290F738F-1946-AA6C-5B79-64173857B929}"/>
                </a:ext>
              </a:extLst>
            </p:cNvPr>
            <p:cNvSpPr/>
            <p:nvPr/>
          </p:nvSpPr>
          <p:spPr>
            <a:xfrm>
              <a:off x="8736435" y="6640248"/>
              <a:ext cx="2631440" cy="191135"/>
            </a:xfrm>
            <a:custGeom>
              <a:avLst/>
              <a:gdLst/>
              <a:ahLst/>
              <a:cxnLst/>
              <a:rect l="l" t="t" r="r" b="b"/>
              <a:pathLst>
                <a:path w="2631440" h="191134">
                  <a:moveTo>
                    <a:pt x="2631228" y="0"/>
                  </a:moveTo>
                  <a:lnTo>
                    <a:pt x="0" y="0"/>
                  </a:lnTo>
                  <a:lnTo>
                    <a:pt x="0" y="190968"/>
                  </a:lnTo>
                  <a:lnTo>
                    <a:pt x="2631228" y="190968"/>
                  </a:lnTo>
                  <a:lnTo>
                    <a:pt x="2631228" y="0"/>
                  </a:lnTo>
                  <a:close/>
                </a:path>
              </a:pathLst>
            </a:custGeom>
            <a:solidFill>
              <a:srgbClr val="002E78"/>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000000"/>
                </a:solidFill>
                <a:effectLst/>
                <a:uLnTx/>
                <a:uFillTx/>
                <a:latin typeface="Arial"/>
                <a:ea typeface="+mn-ea"/>
                <a:cs typeface="+mn-cs"/>
              </a:endParaRPr>
            </a:p>
          </p:txBody>
        </p:sp>
        <p:sp>
          <p:nvSpPr>
            <p:cNvPr id="11" name="object 11">
              <a:extLst>
                <a:ext uri="{FF2B5EF4-FFF2-40B4-BE49-F238E27FC236}">
                  <a16:creationId xmlns:a16="http://schemas.microsoft.com/office/drawing/2014/main" id="{31F52F21-C45D-D7BB-385C-A57D8979D3D3}"/>
                </a:ext>
              </a:extLst>
            </p:cNvPr>
            <p:cNvSpPr/>
            <p:nvPr/>
          </p:nvSpPr>
          <p:spPr>
            <a:xfrm>
              <a:off x="9018730" y="7507362"/>
              <a:ext cx="2157730" cy="3619500"/>
            </a:xfrm>
            <a:custGeom>
              <a:avLst/>
              <a:gdLst/>
              <a:ahLst/>
              <a:cxnLst/>
              <a:rect l="l" t="t" r="r" b="b"/>
              <a:pathLst>
                <a:path w="2157729" h="3619500">
                  <a:moveTo>
                    <a:pt x="1018484" y="0"/>
                  </a:moveTo>
                  <a:lnTo>
                    <a:pt x="964890" y="426"/>
                  </a:lnTo>
                  <a:lnTo>
                    <a:pt x="911537" y="1699"/>
                  </a:lnTo>
                  <a:lnTo>
                    <a:pt x="858431" y="3810"/>
                  </a:lnTo>
                  <a:lnTo>
                    <a:pt x="805581" y="6752"/>
                  </a:lnTo>
                  <a:lnTo>
                    <a:pt x="752995" y="10514"/>
                  </a:lnTo>
                  <a:lnTo>
                    <a:pt x="700681" y="15090"/>
                  </a:lnTo>
                  <a:lnTo>
                    <a:pt x="648645" y="20471"/>
                  </a:lnTo>
                  <a:lnTo>
                    <a:pt x="596896" y="26648"/>
                  </a:lnTo>
                  <a:lnTo>
                    <a:pt x="545442" y="33612"/>
                  </a:lnTo>
                  <a:lnTo>
                    <a:pt x="494291" y="41356"/>
                  </a:lnTo>
                  <a:lnTo>
                    <a:pt x="443449" y="49871"/>
                  </a:lnTo>
                  <a:lnTo>
                    <a:pt x="392925" y="59149"/>
                  </a:lnTo>
                  <a:lnTo>
                    <a:pt x="342727" y="69180"/>
                  </a:lnTo>
                  <a:lnTo>
                    <a:pt x="292862" y="79957"/>
                  </a:lnTo>
                  <a:lnTo>
                    <a:pt x="243339" y="91471"/>
                  </a:lnTo>
                  <a:lnTo>
                    <a:pt x="194164" y="103714"/>
                  </a:lnTo>
                  <a:lnTo>
                    <a:pt x="152485" y="137909"/>
                  </a:lnTo>
                  <a:lnTo>
                    <a:pt x="146103" y="164197"/>
                  </a:lnTo>
                  <a:lnTo>
                    <a:pt x="151642" y="191847"/>
                  </a:lnTo>
                  <a:lnTo>
                    <a:pt x="170190" y="232180"/>
                  </a:lnTo>
                  <a:lnTo>
                    <a:pt x="189906" y="272365"/>
                  </a:lnTo>
                  <a:lnTo>
                    <a:pt x="210820" y="312448"/>
                  </a:lnTo>
                  <a:lnTo>
                    <a:pt x="232964" y="352478"/>
                  </a:lnTo>
                  <a:lnTo>
                    <a:pt x="256368" y="392504"/>
                  </a:lnTo>
                  <a:lnTo>
                    <a:pt x="281063" y="432573"/>
                  </a:lnTo>
                  <a:lnTo>
                    <a:pt x="307079" y="472733"/>
                  </a:lnTo>
                  <a:lnTo>
                    <a:pt x="334447" y="513033"/>
                  </a:lnTo>
                  <a:lnTo>
                    <a:pt x="363198" y="553520"/>
                  </a:lnTo>
                  <a:lnTo>
                    <a:pt x="393362" y="594243"/>
                  </a:lnTo>
                  <a:lnTo>
                    <a:pt x="424970" y="635250"/>
                  </a:lnTo>
                  <a:lnTo>
                    <a:pt x="458053" y="676588"/>
                  </a:lnTo>
                  <a:lnTo>
                    <a:pt x="492641" y="718306"/>
                  </a:lnTo>
                  <a:lnTo>
                    <a:pt x="528765" y="760452"/>
                  </a:lnTo>
                  <a:lnTo>
                    <a:pt x="616323" y="859454"/>
                  </a:lnTo>
                  <a:lnTo>
                    <a:pt x="663391" y="914328"/>
                  </a:lnTo>
                  <a:lnTo>
                    <a:pt x="707600" y="967572"/>
                  </a:lnTo>
                  <a:lnTo>
                    <a:pt x="748895" y="1019059"/>
                  </a:lnTo>
                  <a:lnTo>
                    <a:pt x="787217" y="1068665"/>
                  </a:lnTo>
                  <a:lnTo>
                    <a:pt x="822509" y="1116264"/>
                  </a:lnTo>
                  <a:lnTo>
                    <a:pt x="854714" y="1161731"/>
                  </a:lnTo>
                  <a:lnTo>
                    <a:pt x="883772" y="1204939"/>
                  </a:lnTo>
                  <a:lnTo>
                    <a:pt x="909628" y="1245765"/>
                  </a:lnTo>
                  <a:lnTo>
                    <a:pt x="932224" y="1284082"/>
                  </a:lnTo>
                  <a:lnTo>
                    <a:pt x="951501" y="1319765"/>
                  </a:lnTo>
                  <a:lnTo>
                    <a:pt x="979870" y="1382727"/>
                  </a:lnTo>
                  <a:lnTo>
                    <a:pt x="994275" y="1433648"/>
                  </a:lnTo>
                  <a:lnTo>
                    <a:pt x="1008998" y="2978212"/>
                  </a:lnTo>
                  <a:lnTo>
                    <a:pt x="1005075" y="3003580"/>
                  </a:lnTo>
                  <a:lnTo>
                    <a:pt x="974537" y="3058491"/>
                  </a:lnTo>
                  <a:lnTo>
                    <a:pt x="948486" y="3087061"/>
                  </a:lnTo>
                  <a:lnTo>
                    <a:pt x="915622" y="3115727"/>
                  </a:lnTo>
                  <a:lnTo>
                    <a:pt x="876228" y="3144001"/>
                  </a:lnTo>
                  <a:lnTo>
                    <a:pt x="830585" y="3171397"/>
                  </a:lnTo>
                  <a:lnTo>
                    <a:pt x="778976" y="3197428"/>
                  </a:lnTo>
                  <a:lnTo>
                    <a:pt x="721682" y="3221607"/>
                  </a:lnTo>
                  <a:lnTo>
                    <a:pt x="658985" y="3243449"/>
                  </a:lnTo>
                  <a:lnTo>
                    <a:pt x="591168" y="3262466"/>
                  </a:lnTo>
                  <a:lnTo>
                    <a:pt x="212082" y="3389519"/>
                  </a:lnTo>
                  <a:lnTo>
                    <a:pt x="42186" y="3504241"/>
                  </a:lnTo>
                  <a:lnTo>
                    <a:pt x="0" y="3587271"/>
                  </a:lnTo>
                  <a:lnTo>
                    <a:pt x="4044" y="3619251"/>
                  </a:lnTo>
                  <a:lnTo>
                    <a:pt x="2113980" y="3619251"/>
                  </a:lnTo>
                  <a:lnTo>
                    <a:pt x="2157679" y="3508059"/>
                  </a:lnTo>
                  <a:lnTo>
                    <a:pt x="2111087" y="3433830"/>
                  </a:lnTo>
                  <a:lnTo>
                    <a:pt x="1919160" y="3363115"/>
                  </a:lnTo>
                  <a:lnTo>
                    <a:pt x="1526856" y="3262466"/>
                  </a:lnTo>
                  <a:lnTo>
                    <a:pt x="1460101" y="3243763"/>
                  </a:lnTo>
                  <a:lnTo>
                    <a:pt x="1398175" y="3222244"/>
                  </a:lnTo>
                  <a:lnTo>
                    <a:pt x="1341400" y="3198378"/>
                  </a:lnTo>
                  <a:lnTo>
                    <a:pt x="1290098" y="3172636"/>
                  </a:lnTo>
                  <a:lnTo>
                    <a:pt x="1244591" y="3145487"/>
                  </a:lnTo>
                  <a:lnTo>
                    <a:pt x="1205202" y="3117402"/>
                  </a:lnTo>
                  <a:lnTo>
                    <a:pt x="1172252" y="3088852"/>
                  </a:lnTo>
                  <a:lnTo>
                    <a:pt x="1146063" y="3060306"/>
                  </a:lnTo>
                  <a:lnTo>
                    <a:pt x="1115259" y="3005107"/>
                  </a:lnTo>
                  <a:lnTo>
                    <a:pt x="1098388" y="1456856"/>
                  </a:lnTo>
                  <a:lnTo>
                    <a:pt x="1100245" y="1435701"/>
                  </a:lnTo>
                  <a:lnTo>
                    <a:pt x="1114875" y="1383566"/>
                  </a:lnTo>
                  <a:lnTo>
                    <a:pt x="1143559" y="1319328"/>
                  </a:lnTo>
                  <a:lnTo>
                    <a:pt x="1162982" y="1283043"/>
                  </a:lnTo>
                  <a:lnTo>
                    <a:pt x="1185692" y="1244180"/>
                  </a:lnTo>
                  <a:lnTo>
                    <a:pt x="1211613" y="1202890"/>
                  </a:lnTo>
                  <a:lnTo>
                    <a:pt x="1240671" y="1159320"/>
                  </a:lnTo>
                  <a:lnTo>
                    <a:pt x="1272790" y="1113621"/>
                  </a:lnTo>
                  <a:lnTo>
                    <a:pt x="1307894" y="1065941"/>
                  </a:lnTo>
                  <a:lnTo>
                    <a:pt x="1345908" y="1016432"/>
                  </a:lnTo>
                  <a:lnTo>
                    <a:pt x="1386757" y="965241"/>
                  </a:lnTo>
                  <a:lnTo>
                    <a:pt x="1430365" y="912518"/>
                  </a:lnTo>
                  <a:lnTo>
                    <a:pt x="1476657" y="858413"/>
                  </a:lnTo>
                  <a:lnTo>
                    <a:pt x="1564684" y="758957"/>
                  </a:lnTo>
                  <a:lnTo>
                    <a:pt x="1602405" y="715309"/>
                  </a:lnTo>
                  <a:lnTo>
                    <a:pt x="1638717" y="672077"/>
                  </a:lnTo>
                  <a:lnTo>
                    <a:pt x="1673616" y="629210"/>
                  </a:lnTo>
                  <a:lnTo>
                    <a:pt x="1707098" y="586653"/>
                  </a:lnTo>
                  <a:lnTo>
                    <a:pt x="1739160" y="544354"/>
                  </a:lnTo>
                  <a:lnTo>
                    <a:pt x="1769797" y="502260"/>
                  </a:lnTo>
                  <a:lnTo>
                    <a:pt x="1799004" y="460318"/>
                  </a:lnTo>
                  <a:lnTo>
                    <a:pt x="1826779" y="418475"/>
                  </a:lnTo>
                  <a:lnTo>
                    <a:pt x="1853117" y="376677"/>
                  </a:lnTo>
                  <a:lnTo>
                    <a:pt x="1878013" y="334872"/>
                  </a:lnTo>
                  <a:lnTo>
                    <a:pt x="1901465" y="293006"/>
                  </a:lnTo>
                  <a:lnTo>
                    <a:pt x="1923467" y="251028"/>
                  </a:lnTo>
                  <a:lnTo>
                    <a:pt x="1944016" y="208883"/>
                  </a:lnTo>
                  <a:lnTo>
                    <a:pt x="1950100" y="181359"/>
                  </a:lnTo>
                  <a:lnTo>
                    <a:pt x="1944238" y="154956"/>
                  </a:lnTo>
                  <a:lnTo>
                    <a:pt x="1903253" y="119954"/>
                  </a:lnTo>
                  <a:lnTo>
                    <a:pt x="1856590" y="107350"/>
                  </a:lnTo>
                  <a:lnTo>
                    <a:pt x="1809598" y="95405"/>
                  </a:lnTo>
                  <a:lnTo>
                    <a:pt x="1762284" y="84128"/>
                  </a:lnTo>
                  <a:lnTo>
                    <a:pt x="1714653" y="73525"/>
                  </a:lnTo>
                  <a:lnTo>
                    <a:pt x="1666714" y="63603"/>
                  </a:lnTo>
                  <a:lnTo>
                    <a:pt x="1618473" y="54371"/>
                  </a:lnTo>
                  <a:lnTo>
                    <a:pt x="1569937" y="45834"/>
                  </a:lnTo>
                  <a:lnTo>
                    <a:pt x="1521111" y="38002"/>
                  </a:lnTo>
                  <a:lnTo>
                    <a:pt x="1472005" y="30881"/>
                  </a:lnTo>
                  <a:lnTo>
                    <a:pt x="1422623" y="24478"/>
                  </a:lnTo>
                  <a:lnTo>
                    <a:pt x="1372973" y="18801"/>
                  </a:lnTo>
                  <a:lnTo>
                    <a:pt x="1323061" y="13857"/>
                  </a:lnTo>
                  <a:lnTo>
                    <a:pt x="1272896" y="9653"/>
                  </a:lnTo>
                  <a:lnTo>
                    <a:pt x="1222482" y="6197"/>
                  </a:lnTo>
                  <a:lnTo>
                    <a:pt x="1171827" y="3497"/>
                  </a:lnTo>
                  <a:lnTo>
                    <a:pt x="1120938" y="1559"/>
                  </a:lnTo>
                  <a:lnTo>
                    <a:pt x="1069821" y="391"/>
                  </a:lnTo>
                  <a:lnTo>
                    <a:pt x="1018484" y="0"/>
                  </a:lnTo>
                  <a:close/>
                </a:path>
              </a:pathLst>
            </a:custGeom>
            <a:solidFill>
              <a:srgbClr val="97DEBC"/>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000000"/>
                </a:solidFill>
                <a:effectLst/>
                <a:uLnTx/>
                <a:uFillTx/>
                <a:latin typeface="Arial"/>
                <a:ea typeface="+mn-ea"/>
                <a:cs typeface="+mn-cs"/>
              </a:endParaRPr>
            </a:p>
          </p:txBody>
        </p:sp>
      </p:grpSp>
      <p:sp>
        <p:nvSpPr>
          <p:cNvPr id="39" name="Plassholder for tekst 2">
            <a:extLst>
              <a:ext uri="{FF2B5EF4-FFF2-40B4-BE49-F238E27FC236}">
                <a16:creationId xmlns:a16="http://schemas.microsoft.com/office/drawing/2014/main" id="{56109280-17A0-910D-294B-8E5CF3D3F826}"/>
              </a:ext>
            </a:extLst>
          </p:cNvPr>
          <p:cNvSpPr txBox="1">
            <a:spLocks/>
          </p:cNvSpPr>
          <p:nvPr/>
        </p:nvSpPr>
        <p:spPr>
          <a:xfrm>
            <a:off x="549267" y="328507"/>
            <a:ext cx="11093465" cy="630332"/>
          </a:xfrm>
          <a:prstGeom prst="rect">
            <a:avLst/>
          </a:prstGeom>
        </p:spPr>
        <p:txBody>
          <a:bodyPr/>
          <a:lstStyle>
            <a:lvl1pPr marL="182563" indent="-176213" algn="l" defTabSz="914400" rtl="0" eaLnBrk="1" latinLnBrk="0" hangingPunct="1">
              <a:lnSpc>
                <a:spcPct val="100000"/>
              </a:lnSpc>
              <a:spcBef>
                <a:spcPts val="1000"/>
              </a:spcBef>
              <a:spcAft>
                <a:spcPts val="0"/>
              </a:spcAft>
              <a:buFont typeface="Arial" panose="020B0604020202020204" pitchFamily="34" charset="0"/>
              <a:buChar char="•"/>
              <a:tabLst/>
              <a:defRPr sz="1800" b="0" kern="1200" spc="40" baseline="0">
                <a:solidFill>
                  <a:schemeClr val="tx2"/>
                </a:solidFill>
                <a:latin typeface="+mn-lt"/>
                <a:ea typeface="+mn-ea"/>
                <a:cs typeface="+mn-cs"/>
              </a:defRPr>
            </a:lvl1pPr>
            <a:lvl2pPr marL="357188" indent="-176213" algn="l" defTabSz="914400" rtl="0" eaLnBrk="1" latinLnBrk="0" hangingPunct="1">
              <a:lnSpc>
                <a:spcPct val="100000"/>
              </a:lnSpc>
              <a:spcBef>
                <a:spcPts val="500"/>
              </a:spcBef>
              <a:spcAft>
                <a:spcPts val="0"/>
              </a:spcAft>
              <a:buFont typeface="Arial" panose="020B0604020202020204" pitchFamily="34" charset="0"/>
              <a:buChar char="•"/>
              <a:tabLst/>
              <a:defRPr sz="1800" kern="1200" spc="40" baseline="0">
                <a:solidFill>
                  <a:schemeClr val="tx2"/>
                </a:solidFill>
                <a:latin typeface="+mn-lt"/>
                <a:ea typeface="+mn-ea"/>
                <a:cs typeface="+mn-cs"/>
              </a:defRPr>
            </a:lvl2pPr>
            <a:lvl3pPr marL="534988" indent="-177800" algn="l" defTabSz="914400" rtl="0" eaLnBrk="1" latinLnBrk="0" hangingPunct="1">
              <a:lnSpc>
                <a:spcPct val="100000"/>
              </a:lnSpc>
              <a:spcBef>
                <a:spcPts val="500"/>
              </a:spcBef>
              <a:spcAft>
                <a:spcPts val="0"/>
              </a:spcAft>
              <a:buFont typeface="Arial" panose="020B0604020202020204" pitchFamily="34" charset="0"/>
              <a:buChar char="•"/>
              <a:tabLst/>
              <a:defRPr sz="1600" kern="1200" spc="40" baseline="0">
                <a:solidFill>
                  <a:schemeClr val="tx2"/>
                </a:solidFill>
                <a:latin typeface="+mn-lt"/>
                <a:ea typeface="+mn-ea"/>
                <a:cs typeface="+mn-cs"/>
              </a:defRPr>
            </a:lvl3pPr>
            <a:lvl4pPr marL="715963" indent="-176400" algn="l" defTabSz="914400" rtl="0" eaLnBrk="1" latinLnBrk="0" hangingPunct="1">
              <a:lnSpc>
                <a:spcPct val="100000"/>
              </a:lnSpc>
              <a:spcBef>
                <a:spcPts val="500"/>
              </a:spcBef>
              <a:spcAft>
                <a:spcPts val="0"/>
              </a:spcAft>
              <a:buFont typeface="Arial" panose="020B0604020202020204" pitchFamily="34" charset="0"/>
              <a:buChar char="•"/>
              <a:tabLst/>
              <a:defRPr sz="1400" kern="1200" spc="40" baseline="0">
                <a:solidFill>
                  <a:schemeClr val="tx2"/>
                </a:solidFill>
                <a:latin typeface="+mn-lt"/>
                <a:ea typeface="+mn-ea"/>
                <a:cs typeface="+mn-cs"/>
              </a:defRPr>
            </a:lvl4pPr>
            <a:lvl5pPr marL="892175" indent="-176213" algn="l" defTabSz="914400" rtl="0" eaLnBrk="1" latinLnBrk="0" hangingPunct="1">
              <a:lnSpc>
                <a:spcPct val="100000"/>
              </a:lnSpc>
              <a:spcBef>
                <a:spcPts val="500"/>
              </a:spcBef>
              <a:spcAft>
                <a:spcPts val="0"/>
              </a:spcAft>
              <a:buFont typeface="Arial" panose="020B0604020202020204" pitchFamily="34" charset="0"/>
              <a:buChar char="•"/>
              <a:tabLst/>
              <a:defRPr sz="1200" kern="1200" spc="4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350" indent="0">
              <a:buNone/>
            </a:pPr>
            <a:r>
              <a:rPr lang="nb-NO" sz="3200" b="1"/>
              <a:t>Klimaveikartet viser hva vi skal satse på og hvordan vi skal jobbe for å nå utslippsmålene våre</a:t>
            </a:r>
            <a:endParaRPr lang="nb-NO" sz="3200"/>
          </a:p>
        </p:txBody>
      </p:sp>
      <p:pic>
        <p:nvPicPr>
          <p:cNvPr id="27" name="Bilde 26">
            <a:extLst>
              <a:ext uri="{FF2B5EF4-FFF2-40B4-BE49-F238E27FC236}">
                <a16:creationId xmlns:a16="http://schemas.microsoft.com/office/drawing/2014/main" id="{D1F05541-4542-F5E1-2CFB-9BA6B8F185F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54083" y="2979135"/>
            <a:ext cx="799788" cy="798895"/>
          </a:xfrm>
          <a:prstGeom prst="rect">
            <a:avLst/>
          </a:prstGeom>
        </p:spPr>
      </p:pic>
      <p:pic>
        <p:nvPicPr>
          <p:cNvPr id="28" name="Bilde 27">
            <a:extLst>
              <a:ext uri="{FF2B5EF4-FFF2-40B4-BE49-F238E27FC236}">
                <a16:creationId xmlns:a16="http://schemas.microsoft.com/office/drawing/2014/main" id="{1744CF53-044E-9391-CE19-079713FECDC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554430" y="2922518"/>
            <a:ext cx="799787" cy="799787"/>
          </a:xfrm>
          <a:prstGeom prst="rect">
            <a:avLst/>
          </a:prstGeom>
        </p:spPr>
      </p:pic>
      <p:pic>
        <p:nvPicPr>
          <p:cNvPr id="29" name="Bilde 28">
            <a:extLst>
              <a:ext uri="{FF2B5EF4-FFF2-40B4-BE49-F238E27FC236}">
                <a16:creationId xmlns:a16="http://schemas.microsoft.com/office/drawing/2014/main" id="{A3DE19CD-1B8B-8006-4EF8-4A6394160D17}"/>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434590" y="5162838"/>
            <a:ext cx="799787" cy="799787"/>
          </a:xfrm>
          <a:prstGeom prst="rect">
            <a:avLst/>
          </a:prstGeom>
        </p:spPr>
      </p:pic>
      <p:pic>
        <p:nvPicPr>
          <p:cNvPr id="30" name="Bilde 29">
            <a:extLst>
              <a:ext uri="{FF2B5EF4-FFF2-40B4-BE49-F238E27FC236}">
                <a16:creationId xmlns:a16="http://schemas.microsoft.com/office/drawing/2014/main" id="{A9D7D448-EBED-1690-CB40-B93B34DEDFC2}"/>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230128" y="2975359"/>
            <a:ext cx="681739" cy="999734"/>
          </a:xfrm>
          <a:prstGeom prst="rect">
            <a:avLst/>
          </a:prstGeom>
        </p:spPr>
      </p:pic>
      <p:pic>
        <p:nvPicPr>
          <p:cNvPr id="31" name="Bilde 30">
            <a:extLst>
              <a:ext uri="{FF2B5EF4-FFF2-40B4-BE49-F238E27FC236}">
                <a16:creationId xmlns:a16="http://schemas.microsoft.com/office/drawing/2014/main" id="{B2D4C211-FC47-3A3E-D70B-88A4B2052ED6}"/>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0591656" y="2967047"/>
            <a:ext cx="799787" cy="796217"/>
          </a:xfrm>
          <a:prstGeom prst="rect">
            <a:avLst/>
          </a:prstGeom>
        </p:spPr>
      </p:pic>
      <p:pic>
        <p:nvPicPr>
          <p:cNvPr id="32" name="Bilde 31">
            <a:extLst>
              <a:ext uri="{FF2B5EF4-FFF2-40B4-BE49-F238E27FC236}">
                <a16:creationId xmlns:a16="http://schemas.microsoft.com/office/drawing/2014/main" id="{556D3420-02BA-8093-F051-6DB59289F724}"/>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54083" y="5177338"/>
            <a:ext cx="799787" cy="799787"/>
          </a:xfrm>
          <a:prstGeom prst="rect">
            <a:avLst/>
          </a:prstGeom>
        </p:spPr>
      </p:pic>
      <p:pic>
        <p:nvPicPr>
          <p:cNvPr id="33" name="Bilde 32">
            <a:extLst>
              <a:ext uri="{FF2B5EF4-FFF2-40B4-BE49-F238E27FC236}">
                <a16:creationId xmlns:a16="http://schemas.microsoft.com/office/drawing/2014/main" id="{8202F506-209F-7E08-CB0F-C0AEAA1BD2D2}"/>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551613" y="5198304"/>
            <a:ext cx="799788" cy="738128"/>
          </a:xfrm>
          <a:prstGeom prst="rect">
            <a:avLst/>
          </a:prstGeom>
        </p:spPr>
      </p:pic>
      <p:pic>
        <p:nvPicPr>
          <p:cNvPr id="34" name="Bilde 33">
            <a:extLst>
              <a:ext uri="{FF2B5EF4-FFF2-40B4-BE49-F238E27FC236}">
                <a16:creationId xmlns:a16="http://schemas.microsoft.com/office/drawing/2014/main" id="{C8EBFAC2-E6E7-B535-B496-43C2DBE3CD85}"/>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962169" y="3987439"/>
            <a:ext cx="945469" cy="799787"/>
          </a:xfrm>
          <a:prstGeom prst="rect">
            <a:avLst/>
          </a:prstGeom>
        </p:spPr>
      </p:pic>
      <p:pic>
        <p:nvPicPr>
          <p:cNvPr id="35" name="Bilde 34">
            <a:extLst>
              <a:ext uri="{FF2B5EF4-FFF2-40B4-BE49-F238E27FC236}">
                <a16:creationId xmlns:a16="http://schemas.microsoft.com/office/drawing/2014/main" id="{BABE1322-7FF6-6BE5-43FF-A88A88E396DE}"/>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8180748" y="5162839"/>
            <a:ext cx="910418" cy="799787"/>
          </a:xfrm>
          <a:prstGeom prst="rect">
            <a:avLst/>
          </a:prstGeom>
        </p:spPr>
      </p:pic>
      <p:sp>
        <p:nvSpPr>
          <p:cNvPr id="36" name="TekstSylinder 35">
            <a:extLst>
              <a:ext uri="{FF2B5EF4-FFF2-40B4-BE49-F238E27FC236}">
                <a16:creationId xmlns:a16="http://schemas.microsoft.com/office/drawing/2014/main" id="{BA7C4D1D-E2D8-1B48-7340-95EEDCA12CCE}"/>
              </a:ext>
            </a:extLst>
          </p:cNvPr>
          <p:cNvSpPr txBox="1"/>
          <p:nvPr/>
        </p:nvSpPr>
        <p:spPr>
          <a:xfrm>
            <a:off x="-561922" y="3799294"/>
            <a:ext cx="3216084"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143275"/>
                </a:solidFill>
                <a:effectLst/>
                <a:uLnTx/>
                <a:uFillTx/>
                <a:cs typeface="Arial" panose="020B0604020202020204" pitchFamily="34" charset="0"/>
              </a:rPr>
              <a:t>Arealbruksendringer</a:t>
            </a:r>
          </a:p>
        </p:txBody>
      </p:sp>
      <p:sp>
        <p:nvSpPr>
          <p:cNvPr id="37" name="TekstSylinder 36">
            <a:extLst>
              <a:ext uri="{FF2B5EF4-FFF2-40B4-BE49-F238E27FC236}">
                <a16:creationId xmlns:a16="http://schemas.microsoft.com/office/drawing/2014/main" id="{B35925A3-FFF9-FB51-A097-3CD94F51626B}"/>
              </a:ext>
            </a:extLst>
          </p:cNvPr>
          <p:cNvSpPr txBox="1"/>
          <p:nvPr/>
        </p:nvSpPr>
        <p:spPr>
          <a:xfrm>
            <a:off x="2343465" y="3785383"/>
            <a:ext cx="3216084"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143275"/>
                </a:solidFill>
                <a:effectLst/>
                <a:uLnTx/>
                <a:uFillTx/>
                <a:cs typeface="Arial" panose="020B0604020202020204" pitchFamily="34" charset="0"/>
              </a:rPr>
              <a:t>Energieffektivitet</a:t>
            </a:r>
          </a:p>
        </p:txBody>
      </p:sp>
      <p:sp>
        <p:nvSpPr>
          <p:cNvPr id="38" name="TekstSylinder 37">
            <a:extLst>
              <a:ext uri="{FF2B5EF4-FFF2-40B4-BE49-F238E27FC236}">
                <a16:creationId xmlns:a16="http://schemas.microsoft.com/office/drawing/2014/main" id="{D5577C81-4627-E97C-73FF-7293B61F52E8}"/>
              </a:ext>
            </a:extLst>
          </p:cNvPr>
          <p:cNvSpPr txBox="1"/>
          <p:nvPr/>
        </p:nvSpPr>
        <p:spPr>
          <a:xfrm>
            <a:off x="826861" y="4806921"/>
            <a:ext cx="3216084"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143275"/>
                </a:solidFill>
                <a:effectLst/>
                <a:uLnTx/>
                <a:uFillTx/>
                <a:cs typeface="Arial" panose="020B0604020202020204" pitchFamily="34" charset="0"/>
              </a:rPr>
              <a:t>Sirkulær økonomi</a:t>
            </a:r>
          </a:p>
        </p:txBody>
      </p:sp>
      <p:sp>
        <p:nvSpPr>
          <p:cNvPr id="54" name="TekstSylinder 53">
            <a:extLst>
              <a:ext uri="{FF2B5EF4-FFF2-40B4-BE49-F238E27FC236}">
                <a16:creationId xmlns:a16="http://schemas.microsoft.com/office/drawing/2014/main" id="{3211D8DC-77DB-ABD8-51F8-115B6D318D70}"/>
              </a:ext>
            </a:extLst>
          </p:cNvPr>
          <p:cNvSpPr txBox="1"/>
          <p:nvPr/>
        </p:nvSpPr>
        <p:spPr>
          <a:xfrm>
            <a:off x="-573967" y="6024376"/>
            <a:ext cx="3216084"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143275"/>
                </a:solidFill>
                <a:effectLst/>
                <a:uLnTx/>
                <a:uFillTx/>
                <a:cs typeface="Arial" panose="020B0604020202020204" pitchFamily="34" charset="0"/>
              </a:rPr>
              <a:t>Maskiner og transport</a:t>
            </a:r>
          </a:p>
        </p:txBody>
      </p:sp>
      <p:sp>
        <p:nvSpPr>
          <p:cNvPr id="55" name="TekstSylinder 54">
            <a:extLst>
              <a:ext uri="{FF2B5EF4-FFF2-40B4-BE49-F238E27FC236}">
                <a16:creationId xmlns:a16="http://schemas.microsoft.com/office/drawing/2014/main" id="{7F633029-1CC0-EEB6-2437-E0B7C1A19000}"/>
              </a:ext>
            </a:extLst>
          </p:cNvPr>
          <p:cNvSpPr txBox="1"/>
          <p:nvPr/>
        </p:nvSpPr>
        <p:spPr>
          <a:xfrm>
            <a:off x="2343465" y="6021298"/>
            <a:ext cx="3216084"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143275"/>
                </a:solidFill>
                <a:effectLst/>
                <a:uLnTx/>
                <a:uFillTx/>
                <a:cs typeface="Arial" panose="020B0604020202020204" pitchFamily="34" charset="0"/>
              </a:rPr>
              <a:t>Materialressurser</a:t>
            </a:r>
          </a:p>
        </p:txBody>
      </p:sp>
      <p:sp>
        <p:nvSpPr>
          <p:cNvPr id="56" name="TekstSylinder 55">
            <a:extLst>
              <a:ext uri="{FF2B5EF4-FFF2-40B4-BE49-F238E27FC236}">
                <a16:creationId xmlns:a16="http://schemas.microsoft.com/office/drawing/2014/main" id="{B70457AF-947F-8AC1-FFCE-539A129774A0}"/>
              </a:ext>
            </a:extLst>
          </p:cNvPr>
          <p:cNvSpPr txBox="1"/>
          <p:nvPr/>
        </p:nvSpPr>
        <p:spPr>
          <a:xfrm>
            <a:off x="7013747" y="4011773"/>
            <a:ext cx="3216084"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143275"/>
                </a:solidFill>
                <a:effectLst/>
                <a:uLnTx/>
                <a:uFillTx/>
                <a:cs typeface="Arial" panose="020B0604020202020204" pitchFamily="34" charset="0"/>
              </a:rPr>
              <a:t>Kompetanse og FoU</a:t>
            </a:r>
          </a:p>
        </p:txBody>
      </p:sp>
      <p:sp>
        <p:nvSpPr>
          <p:cNvPr id="57" name="TekstSylinder 56">
            <a:extLst>
              <a:ext uri="{FF2B5EF4-FFF2-40B4-BE49-F238E27FC236}">
                <a16:creationId xmlns:a16="http://schemas.microsoft.com/office/drawing/2014/main" id="{DF7ACE7E-1DD9-7F99-9977-10D61E76D185}"/>
              </a:ext>
            </a:extLst>
          </p:cNvPr>
          <p:cNvSpPr txBox="1"/>
          <p:nvPr/>
        </p:nvSpPr>
        <p:spPr>
          <a:xfrm>
            <a:off x="9320109" y="3796330"/>
            <a:ext cx="3216084"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143275"/>
                </a:solidFill>
                <a:effectLst/>
                <a:uLnTx/>
                <a:uFillTx/>
                <a:cs typeface="Arial" panose="020B0604020202020204" pitchFamily="34" charset="0"/>
              </a:rPr>
              <a:t>Måling, styring og </a:t>
            </a:r>
            <a:br>
              <a:rPr kumimoji="0" lang="nb-NO" sz="1400" b="0" i="0" u="none" strike="noStrike" kern="1200" cap="none" spc="0" normalizeH="0" baseline="0" noProof="0">
                <a:ln>
                  <a:noFill/>
                </a:ln>
                <a:solidFill>
                  <a:srgbClr val="143275"/>
                </a:solidFill>
                <a:effectLst/>
                <a:uLnTx/>
                <a:uFillTx/>
                <a:cs typeface="Arial" panose="020B0604020202020204" pitchFamily="34" charset="0"/>
              </a:rPr>
            </a:br>
            <a:r>
              <a:rPr kumimoji="0" lang="nb-NO" sz="1400" b="0" i="0" u="none" strike="noStrike" kern="1200" cap="none" spc="0" normalizeH="0" baseline="0" noProof="0">
                <a:ln>
                  <a:noFill/>
                </a:ln>
                <a:solidFill>
                  <a:srgbClr val="143275"/>
                </a:solidFill>
                <a:effectLst/>
                <a:uLnTx/>
                <a:uFillTx/>
                <a:cs typeface="Arial" panose="020B0604020202020204" pitchFamily="34" charset="0"/>
              </a:rPr>
              <a:t>dokumentasjon</a:t>
            </a:r>
          </a:p>
        </p:txBody>
      </p:sp>
      <p:sp>
        <p:nvSpPr>
          <p:cNvPr id="58" name="TekstSylinder 57">
            <a:extLst>
              <a:ext uri="{FF2B5EF4-FFF2-40B4-BE49-F238E27FC236}">
                <a16:creationId xmlns:a16="http://schemas.microsoft.com/office/drawing/2014/main" id="{DD3347F8-7683-D2DA-939E-315A91D2217B}"/>
              </a:ext>
            </a:extLst>
          </p:cNvPr>
          <p:cNvSpPr txBox="1"/>
          <p:nvPr/>
        </p:nvSpPr>
        <p:spPr>
          <a:xfrm>
            <a:off x="7060672" y="6021298"/>
            <a:ext cx="3216084"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143275"/>
                </a:solidFill>
                <a:effectLst/>
                <a:uLnTx/>
                <a:uFillTx/>
                <a:cs typeface="Arial" panose="020B0604020202020204" pitchFamily="34" charset="0"/>
              </a:rPr>
              <a:t>Strategiske partnerskap</a:t>
            </a:r>
          </a:p>
        </p:txBody>
      </p:sp>
      <p:sp>
        <p:nvSpPr>
          <p:cNvPr id="59" name="TekstSylinder 58">
            <a:extLst>
              <a:ext uri="{FF2B5EF4-FFF2-40B4-BE49-F238E27FC236}">
                <a16:creationId xmlns:a16="http://schemas.microsoft.com/office/drawing/2014/main" id="{0A02735F-20C7-80FD-00DA-33EFCA9FB944}"/>
              </a:ext>
            </a:extLst>
          </p:cNvPr>
          <p:cNvSpPr txBox="1"/>
          <p:nvPr/>
        </p:nvSpPr>
        <p:spPr>
          <a:xfrm>
            <a:off x="9226441" y="5993258"/>
            <a:ext cx="3216084"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143275"/>
                </a:solidFill>
                <a:effectLst/>
                <a:uLnTx/>
                <a:uFillTx/>
                <a:cs typeface="Arial" panose="020B0604020202020204" pitchFamily="34" charset="0"/>
              </a:rPr>
              <a:t>Kommunikasjon</a:t>
            </a:r>
          </a:p>
        </p:txBody>
      </p:sp>
      <p:sp>
        <p:nvSpPr>
          <p:cNvPr id="60" name="TekstSylinder 59">
            <a:extLst>
              <a:ext uri="{FF2B5EF4-FFF2-40B4-BE49-F238E27FC236}">
                <a16:creationId xmlns:a16="http://schemas.microsoft.com/office/drawing/2014/main" id="{20AA7B44-9D0D-59F5-C2FC-826B644581E5}"/>
              </a:ext>
            </a:extLst>
          </p:cNvPr>
          <p:cNvSpPr txBox="1"/>
          <p:nvPr/>
        </p:nvSpPr>
        <p:spPr>
          <a:xfrm>
            <a:off x="916698" y="2391062"/>
            <a:ext cx="3216084" cy="33855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2200" b="1" i="0" u="none" strike="noStrike" kern="1200" cap="none" spc="0" normalizeH="0" baseline="0" noProof="0">
                <a:ln>
                  <a:noFill/>
                </a:ln>
                <a:solidFill>
                  <a:schemeClr val="accent3"/>
                </a:solidFill>
                <a:effectLst/>
                <a:uLnTx/>
                <a:uFillTx/>
                <a:cs typeface="Arial" panose="020B0604020202020204" pitchFamily="34" charset="0"/>
              </a:rPr>
              <a:t>Våre fokusområder</a:t>
            </a:r>
          </a:p>
        </p:txBody>
      </p:sp>
      <p:sp>
        <p:nvSpPr>
          <p:cNvPr id="61" name="TekstSylinder 60">
            <a:extLst>
              <a:ext uri="{FF2B5EF4-FFF2-40B4-BE49-F238E27FC236}">
                <a16:creationId xmlns:a16="http://schemas.microsoft.com/office/drawing/2014/main" id="{1729D088-076C-92A4-868B-BAFF4ABBD0C8}"/>
              </a:ext>
            </a:extLst>
          </p:cNvPr>
          <p:cNvSpPr txBox="1"/>
          <p:nvPr/>
        </p:nvSpPr>
        <p:spPr>
          <a:xfrm>
            <a:off x="8180748" y="2387138"/>
            <a:ext cx="3216084" cy="33855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2200" b="1" i="0" u="none" strike="noStrike" kern="1200" cap="none" spc="0" normalizeH="0" baseline="0" noProof="0">
                <a:ln>
                  <a:noFill/>
                </a:ln>
                <a:solidFill>
                  <a:schemeClr val="accent3"/>
                </a:solidFill>
                <a:effectLst/>
                <a:uLnTx/>
                <a:uFillTx/>
                <a:cs typeface="Arial" panose="020B0604020202020204" pitchFamily="34" charset="0"/>
              </a:rPr>
              <a:t>Våre muliggjørere</a:t>
            </a:r>
          </a:p>
        </p:txBody>
      </p:sp>
    </p:spTree>
    <p:extLst>
      <p:ext uri="{BB962C8B-B14F-4D97-AF65-F5344CB8AC3E}">
        <p14:creationId xmlns:p14="http://schemas.microsoft.com/office/powerpoint/2010/main" val="14440466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ssholder for tekst 2">
            <a:extLst>
              <a:ext uri="{FF2B5EF4-FFF2-40B4-BE49-F238E27FC236}">
                <a16:creationId xmlns:a16="http://schemas.microsoft.com/office/drawing/2014/main" id="{2A9B0AAF-7B18-AD91-DA4E-3C3905E6BC7B}"/>
              </a:ext>
            </a:extLst>
          </p:cNvPr>
          <p:cNvSpPr>
            <a:spLocks noGrp="1"/>
          </p:cNvSpPr>
          <p:nvPr>
            <p:ph type="body" sz="quarter" idx="14"/>
          </p:nvPr>
        </p:nvSpPr>
        <p:spPr>
          <a:xfrm>
            <a:off x="575999" y="731027"/>
            <a:ext cx="4339843" cy="1365942"/>
          </a:xfrm>
        </p:spPr>
        <p:txBody>
          <a:bodyPr/>
          <a:lstStyle/>
          <a:p>
            <a:r>
              <a:rPr lang="nb-NO"/>
              <a:t>Utslippsfrie maskiner er et viktig klima- og miljøtiltak for bransjen</a:t>
            </a:r>
          </a:p>
        </p:txBody>
      </p:sp>
      <p:sp>
        <p:nvSpPr>
          <p:cNvPr id="5" name="Plassholder for lysbildenummer 4">
            <a:extLst>
              <a:ext uri="{FF2B5EF4-FFF2-40B4-BE49-F238E27FC236}">
                <a16:creationId xmlns:a16="http://schemas.microsoft.com/office/drawing/2014/main" id="{DA1A7EBF-B848-3F6F-670A-2AD2C6CD8429}"/>
              </a:ext>
            </a:extLst>
          </p:cNvPr>
          <p:cNvSpPr>
            <a:spLocks noGrp="1"/>
          </p:cNvSpPr>
          <p:nvPr>
            <p:ph type="sldNum" sz="quarter" idx="4"/>
          </p:nvPr>
        </p:nvSpPr>
        <p:spPr/>
        <p:txBody>
          <a:bodyPr/>
          <a:lstStyle/>
          <a:p>
            <a:fld id="{EF8DBD5B-30F9-4F9C-AE39-E065C1AC514D}" type="slidenum">
              <a:rPr lang="en-US" noProof="0" smtClean="0"/>
              <a:pPr/>
              <a:t>7</a:t>
            </a:fld>
            <a:endParaRPr lang="en-US" noProof="0"/>
          </a:p>
        </p:txBody>
      </p:sp>
      <p:sp>
        <p:nvSpPr>
          <p:cNvPr id="6" name="Plassholder for tekst 5">
            <a:extLst>
              <a:ext uri="{FF2B5EF4-FFF2-40B4-BE49-F238E27FC236}">
                <a16:creationId xmlns:a16="http://schemas.microsoft.com/office/drawing/2014/main" id="{0D8F9E65-B164-44DD-BCEB-D790A005F186}"/>
              </a:ext>
            </a:extLst>
          </p:cNvPr>
          <p:cNvSpPr>
            <a:spLocks noGrp="1"/>
          </p:cNvSpPr>
          <p:nvPr>
            <p:ph type="body" sz="quarter" idx="21"/>
          </p:nvPr>
        </p:nvSpPr>
        <p:spPr/>
        <p:txBody>
          <a:bodyPr/>
          <a:lstStyle/>
          <a:p>
            <a:endParaRPr lang="nb-NO"/>
          </a:p>
        </p:txBody>
      </p:sp>
      <p:pic>
        <p:nvPicPr>
          <p:cNvPr id="7" name="Plassholder for bilde 4">
            <a:extLst>
              <a:ext uri="{FF2B5EF4-FFF2-40B4-BE49-F238E27FC236}">
                <a16:creationId xmlns:a16="http://schemas.microsoft.com/office/drawing/2014/main" id="{CDAFE210-5CFE-4099-4663-703681B373E4}"/>
              </a:ext>
            </a:extLst>
          </p:cNvPr>
          <p:cNvPicPr>
            <a:picLocks noGrp="1" noChangeAspect="1"/>
          </p:cNvPicPr>
          <p:nvPr>
            <p:ph type="pic" sz="quarter" idx="18"/>
          </p:nvPr>
        </p:nvPicPr>
        <p:blipFill rotWithShape="1">
          <a:blip r:embed="rId4">
            <a:extLst>
              <a:ext uri="{28A0092B-C50C-407E-A947-70E740481C1C}">
                <a14:useLocalDpi xmlns:a14="http://schemas.microsoft.com/office/drawing/2010/main" val="0"/>
              </a:ext>
            </a:extLst>
          </a:blip>
          <a:srcRect l="19955" t="2030" r="22069" b="-2030"/>
          <a:stretch/>
        </p:blipFill>
        <p:spPr>
          <a:xfrm>
            <a:off x="5123662" y="0"/>
            <a:ext cx="7068337" cy="6858000"/>
          </a:xfrm>
          <a:solidFill>
            <a:schemeClr val="tx1"/>
          </a:solidFill>
        </p:spPr>
      </p:pic>
      <p:pic>
        <p:nvPicPr>
          <p:cNvPr id="9" name="Bilde 8">
            <a:extLst>
              <a:ext uri="{FF2B5EF4-FFF2-40B4-BE49-F238E27FC236}">
                <a16:creationId xmlns:a16="http://schemas.microsoft.com/office/drawing/2014/main" id="{1F555582-E3D5-C518-F167-2E93225B58F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60242" y="3289781"/>
            <a:ext cx="2731014" cy="2731014"/>
          </a:xfrm>
          <a:prstGeom prst="rect">
            <a:avLst/>
          </a:prstGeom>
        </p:spPr>
      </p:pic>
    </p:spTree>
    <p:extLst>
      <p:ext uri="{BB962C8B-B14F-4D97-AF65-F5344CB8AC3E}">
        <p14:creationId xmlns:p14="http://schemas.microsoft.com/office/powerpoint/2010/main" val="1609919405"/>
      </p:ext>
    </p:extLst>
  </p:cSld>
  <p:clrMapOvr>
    <a:masterClrMapping/>
  </p:clrMapOvr>
  <p:extLst>
    <p:ext uri="{6950BFC3-D8DA-4A85-94F7-54DA5524770B}">
      <p188:commentRel xmlns:p188="http://schemas.microsoft.com/office/powerpoint/2018/8/main" r:id="rId3"/>
    </p:ext>
  </p:extLs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lassholder for lysbildenummer 4">
            <a:extLst>
              <a:ext uri="{FF2B5EF4-FFF2-40B4-BE49-F238E27FC236}">
                <a16:creationId xmlns:a16="http://schemas.microsoft.com/office/drawing/2014/main" id="{DA1A7EBF-B848-3F6F-670A-2AD2C6CD8429}"/>
              </a:ext>
            </a:extLst>
          </p:cNvPr>
          <p:cNvSpPr>
            <a:spLocks noGrp="1"/>
          </p:cNvSpPr>
          <p:nvPr>
            <p:ph type="sldNum" sz="quarter" idx="4"/>
          </p:nvPr>
        </p:nvSpPr>
        <p:spPr/>
        <p:txBody>
          <a:bodyPr/>
          <a:lstStyle/>
          <a:p>
            <a:fld id="{EF8DBD5B-30F9-4F9C-AE39-E065C1AC514D}" type="slidenum">
              <a:rPr lang="en-US" noProof="0" smtClean="0"/>
              <a:pPr/>
              <a:t>8</a:t>
            </a:fld>
            <a:endParaRPr lang="en-US" noProof="0"/>
          </a:p>
        </p:txBody>
      </p:sp>
      <p:sp>
        <p:nvSpPr>
          <p:cNvPr id="6" name="Plassholder for tekst 5">
            <a:extLst>
              <a:ext uri="{FF2B5EF4-FFF2-40B4-BE49-F238E27FC236}">
                <a16:creationId xmlns:a16="http://schemas.microsoft.com/office/drawing/2014/main" id="{0D8F9E65-B164-44DD-BCEB-D790A005F186}"/>
              </a:ext>
            </a:extLst>
          </p:cNvPr>
          <p:cNvSpPr>
            <a:spLocks noGrp="1"/>
          </p:cNvSpPr>
          <p:nvPr>
            <p:ph type="body" sz="quarter" idx="21"/>
          </p:nvPr>
        </p:nvSpPr>
        <p:spPr/>
        <p:txBody>
          <a:bodyPr/>
          <a:lstStyle/>
          <a:p>
            <a:endParaRPr lang="nb-NO"/>
          </a:p>
        </p:txBody>
      </p:sp>
      <p:pic>
        <p:nvPicPr>
          <p:cNvPr id="11" name="Plassholder for bilde 12">
            <a:extLst>
              <a:ext uri="{FF2B5EF4-FFF2-40B4-BE49-F238E27FC236}">
                <a16:creationId xmlns:a16="http://schemas.microsoft.com/office/drawing/2014/main" id="{D8E5199C-EC86-EB4D-1FCE-E1B15406D381}"/>
              </a:ext>
            </a:extLst>
          </p:cNvPr>
          <p:cNvPicPr>
            <a:picLocks noChangeAspect="1"/>
          </p:cNvPicPr>
          <p:nvPr/>
        </p:nvPicPr>
        <p:blipFill rotWithShape="1">
          <a:blip r:embed="rId3">
            <a:extLst>
              <a:ext uri="{28A0092B-C50C-407E-A947-70E740481C1C}">
                <a14:useLocalDpi xmlns:a14="http://schemas.microsoft.com/office/drawing/2010/main" val="0"/>
              </a:ext>
            </a:extLst>
          </a:blip>
          <a:srcRect l="35266" r="7514"/>
          <a:stretch/>
        </p:blipFill>
        <p:spPr>
          <a:xfrm>
            <a:off x="6303145" y="0"/>
            <a:ext cx="5887265" cy="6857997"/>
          </a:xfrm>
          <a:custGeom>
            <a:avLst/>
            <a:gdLst>
              <a:gd name="connsiteX0" fmla="*/ 0 w 6095997"/>
              <a:gd name="connsiteY0" fmla="*/ 0 h 6857997"/>
              <a:gd name="connsiteX1" fmla="*/ 6095997 w 6095997"/>
              <a:gd name="connsiteY1" fmla="*/ 0 h 6857997"/>
              <a:gd name="connsiteX2" fmla="*/ 6095997 w 6095997"/>
              <a:gd name="connsiteY2" fmla="*/ 3157535 h 6857997"/>
              <a:gd name="connsiteX3" fmla="*/ 6095997 w 6095997"/>
              <a:gd name="connsiteY3" fmla="*/ 3428998 h 6857997"/>
              <a:gd name="connsiteX4" fmla="*/ 6095997 w 6095997"/>
              <a:gd name="connsiteY4" fmla="*/ 6857997 h 6857997"/>
              <a:gd name="connsiteX5" fmla="*/ 0 w 6095997"/>
              <a:gd name="connsiteY5" fmla="*/ 6857997 h 6857997"/>
              <a:gd name="connsiteX6" fmla="*/ 0 w 6095997"/>
              <a:gd name="connsiteY6" fmla="*/ 3428998 h 6857997"/>
              <a:gd name="connsiteX7" fmla="*/ 0 w 6095997"/>
              <a:gd name="connsiteY7" fmla="*/ 3157535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5997" h="6857997">
                <a:moveTo>
                  <a:pt x="0" y="0"/>
                </a:moveTo>
                <a:lnTo>
                  <a:pt x="6095997" y="0"/>
                </a:lnTo>
                <a:lnTo>
                  <a:pt x="6095997" y="3157535"/>
                </a:lnTo>
                <a:lnTo>
                  <a:pt x="6095997" y="3428998"/>
                </a:lnTo>
                <a:lnTo>
                  <a:pt x="6095997" y="6857997"/>
                </a:lnTo>
                <a:lnTo>
                  <a:pt x="0" y="6857997"/>
                </a:lnTo>
                <a:lnTo>
                  <a:pt x="0" y="3428998"/>
                </a:lnTo>
                <a:lnTo>
                  <a:pt x="0" y="3157535"/>
                </a:lnTo>
                <a:close/>
              </a:path>
            </a:pathLst>
          </a:custGeom>
          <a:solidFill>
            <a:schemeClr val="accent6">
              <a:lumMod val="90000"/>
            </a:schemeClr>
          </a:solidFill>
        </p:spPr>
      </p:pic>
      <p:sp>
        <p:nvSpPr>
          <p:cNvPr id="15" name="Plassholder for tekst 2">
            <a:extLst>
              <a:ext uri="{FF2B5EF4-FFF2-40B4-BE49-F238E27FC236}">
                <a16:creationId xmlns:a16="http://schemas.microsoft.com/office/drawing/2014/main" id="{2AE202C7-4950-55B1-89E7-2362256CF75F}"/>
              </a:ext>
            </a:extLst>
          </p:cNvPr>
          <p:cNvSpPr txBox="1">
            <a:spLocks/>
          </p:cNvSpPr>
          <p:nvPr/>
        </p:nvSpPr>
        <p:spPr>
          <a:xfrm>
            <a:off x="293502" y="727972"/>
            <a:ext cx="5592393" cy="1365942"/>
          </a:xfrm>
          <a:prstGeom prst="rect">
            <a:avLst/>
          </a:prstGeom>
        </p:spPr>
        <p:txBody>
          <a:bodyPr vert="horz" lIns="0" tIns="0" rIns="0" bIns="0" rtlCol="0" anchor="t">
            <a:noAutofit/>
          </a:bodyPr>
          <a:lstStyle>
            <a:lvl1pPr marL="0" indent="0" algn="l" defTabSz="914400" rtl="0" eaLnBrk="1" latinLnBrk="0" hangingPunct="1">
              <a:lnSpc>
                <a:spcPct val="85000"/>
              </a:lnSpc>
              <a:spcBef>
                <a:spcPts val="0"/>
              </a:spcBef>
              <a:buFont typeface="Arial" panose="020B0604020202020204" pitchFamily="34" charset="0"/>
              <a:buNone/>
              <a:tabLst/>
              <a:defRPr sz="3600" kern="1200" spc="40" baseline="0">
                <a:solidFill>
                  <a:schemeClr val="tx2"/>
                </a:solidFill>
                <a:latin typeface="+mj-lt"/>
                <a:ea typeface="+mn-ea"/>
                <a:cs typeface="+mn-cs"/>
              </a:defRPr>
            </a:lvl1pPr>
            <a:lvl2pPr marL="361950" indent="-180975" algn="l" defTabSz="914400" rtl="0" eaLnBrk="1" latinLnBrk="0" hangingPunct="1">
              <a:lnSpc>
                <a:spcPct val="100000"/>
              </a:lnSpc>
              <a:spcBef>
                <a:spcPts val="500"/>
              </a:spcBef>
              <a:buFont typeface="Arial" panose="020B0604020202020204" pitchFamily="34" charset="0"/>
              <a:buChar char="•"/>
              <a:tabLst/>
              <a:defRPr sz="1600" kern="1200" spc="40" baseline="0">
                <a:solidFill>
                  <a:schemeClr val="bg2"/>
                </a:solidFill>
                <a:latin typeface="+mn-lt"/>
                <a:ea typeface="+mn-ea"/>
                <a:cs typeface="+mn-cs"/>
              </a:defRPr>
            </a:lvl2pPr>
            <a:lvl3pPr marL="534988" indent="-168275" algn="l" defTabSz="914400" rtl="0" eaLnBrk="1" latinLnBrk="0" hangingPunct="1">
              <a:lnSpc>
                <a:spcPct val="100000"/>
              </a:lnSpc>
              <a:spcBef>
                <a:spcPts val="500"/>
              </a:spcBef>
              <a:buFont typeface="Arial" panose="020B0604020202020204" pitchFamily="34" charset="0"/>
              <a:buChar char="•"/>
              <a:tabLst/>
              <a:defRPr sz="1400" kern="1200" spc="40" baseline="0">
                <a:solidFill>
                  <a:schemeClr val="bg2"/>
                </a:solidFill>
                <a:latin typeface="+mn-lt"/>
                <a:ea typeface="+mn-ea"/>
                <a:cs typeface="+mn-cs"/>
              </a:defRPr>
            </a:lvl3pPr>
            <a:lvl4pPr marL="717550" indent="-182563" algn="l" defTabSz="914400" rtl="0" eaLnBrk="1" latinLnBrk="0" hangingPunct="1">
              <a:lnSpc>
                <a:spcPct val="100000"/>
              </a:lnSpc>
              <a:spcBef>
                <a:spcPts val="500"/>
              </a:spcBef>
              <a:buFont typeface="Arial" panose="020B0604020202020204" pitchFamily="34" charset="0"/>
              <a:buChar char="•"/>
              <a:tabLst/>
              <a:defRPr sz="1400" kern="1200" spc="40" baseline="0">
                <a:solidFill>
                  <a:schemeClr val="bg2"/>
                </a:solidFill>
                <a:latin typeface="+mn-lt"/>
                <a:ea typeface="+mn-ea"/>
                <a:cs typeface="+mn-cs"/>
              </a:defRPr>
            </a:lvl4pPr>
            <a:lvl5pPr marL="890588" indent="-173038" algn="l" defTabSz="914400" rtl="0" eaLnBrk="1" latinLnBrk="0" hangingPunct="1">
              <a:lnSpc>
                <a:spcPct val="100000"/>
              </a:lnSpc>
              <a:spcBef>
                <a:spcPts val="500"/>
              </a:spcBef>
              <a:buFont typeface="Arial" panose="020B0604020202020204" pitchFamily="34" charset="0"/>
              <a:buChar char="•"/>
              <a:tabLst/>
              <a:defRPr sz="1200" kern="1200" spc="40" baseline="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0"/>
              </a:spcBef>
              <a:spcAft>
                <a:spcPts val="0"/>
              </a:spcAft>
              <a:buClrTx/>
              <a:buSzTx/>
              <a:buFont typeface="Arial" panose="020B0604020202020204" pitchFamily="34" charset="0"/>
              <a:buNone/>
              <a:tabLst/>
              <a:defRPr/>
            </a:pPr>
            <a:r>
              <a:rPr kumimoji="0" lang="nb-NO" sz="3600" b="0" i="0" u="none" strike="noStrike" kern="1200" cap="none" spc="40" normalizeH="0" baseline="0" noProof="0">
                <a:ln>
                  <a:noFill/>
                </a:ln>
                <a:solidFill>
                  <a:srgbClr val="143275"/>
                </a:solidFill>
                <a:effectLst/>
                <a:uLnTx/>
                <a:uFillTx/>
                <a:latin typeface="Shape Sans Display"/>
                <a:ea typeface="+mn-ea"/>
                <a:cs typeface="+mn-cs"/>
              </a:rPr>
              <a:t>Vi kan forvandle byggene </a:t>
            </a:r>
            <a:br>
              <a:rPr kumimoji="0" lang="nb-NO" sz="3600" b="0" i="0" u="none" strike="noStrike" kern="1200" cap="none" spc="40" normalizeH="0" baseline="0" noProof="0">
                <a:ln>
                  <a:noFill/>
                </a:ln>
                <a:solidFill>
                  <a:srgbClr val="143275"/>
                </a:solidFill>
                <a:effectLst/>
                <a:uLnTx/>
                <a:uFillTx/>
                <a:latin typeface="Shape Sans Display"/>
                <a:ea typeface="+mn-ea"/>
                <a:cs typeface="+mn-cs"/>
              </a:rPr>
            </a:br>
            <a:r>
              <a:rPr kumimoji="0" lang="nb-NO" sz="3600" b="0" i="0" u="none" strike="noStrike" kern="1200" cap="none" spc="40" normalizeH="0" baseline="0" noProof="0">
                <a:ln>
                  <a:noFill/>
                </a:ln>
                <a:solidFill>
                  <a:srgbClr val="143275"/>
                </a:solidFill>
                <a:effectLst/>
                <a:uLnTx/>
                <a:uFillTx/>
                <a:latin typeface="Shape Sans Display"/>
                <a:ea typeface="+mn-ea"/>
                <a:cs typeface="+mn-cs"/>
              </a:rPr>
              <a:t>våre fra kraftsluk til kraftverk</a:t>
            </a:r>
          </a:p>
        </p:txBody>
      </p:sp>
      <p:pic>
        <p:nvPicPr>
          <p:cNvPr id="16" name="Bilde 15">
            <a:extLst>
              <a:ext uri="{FF2B5EF4-FFF2-40B4-BE49-F238E27FC236}">
                <a16:creationId xmlns:a16="http://schemas.microsoft.com/office/drawing/2014/main" id="{C043DC3A-6D85-8D15-7C2C-808190E7091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80730" y="2371938"/>
            <a:ext cx="3225275" cy="3225275"/>
          </a:xfrm>
          <a:prstGeom prst="rect">
            <a:avLst/>
          </a:prstGeom>
        </p:spPr>
      </p:pic>
    </p:spTree>
    <p:extLst>
      <p:ext uri="{BB962C8B-B14F-4D97-AF65-F5344CB8AC3E}">
        <p14:creationId xmlns:p14="http://schemas.microsoft.com/office/powerpoint/2010/main" val="30743732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lassholder for lysbildenummer 4">
            <a:extLst>
              <a:ext uri="{FF2B5EF4-FFF2-40B4-BE49-F238E27FC236}">
                <a16:creationId xmlns:a16="http://schemas.microsoft.com/office/drawing/2014/main" id="{DA1A7EBF-B848-3F6F-670A-2AD2C6CD8429}"/>
              </a:ext>
            </a:extLst>
          </p:cNvPr>
          <p:cNvSpPr>
            <a:spLocks noGrp="1"/>
          </p:cNvSpPr>
          <p:nvPr>
            <p:ph type="sldNum" sz="quarter" idx="4"/>
          </p:nvPr>
        </p:nvSpPr>
        <p:spPr/>
        <p:txBody>
          <a:bodyPr/>
          <a:lstStyle/>
          <a:p>
            <a:fld id="{EF8DBD5B-30F9-4F9C-AE39-E065C1AC514D}" type="slidenum">
              <a:rPr lang="en-US" noProof="0" smtClean="0"/>
              <a:pPr/>
              <a:t>9</a:t>
            </a:fld>
            <a:endParaRPr lang="en-US" noProof="0"/>
          </a:p>
        </p:txBody>
      </p:sp>
      <p:sp>
        <p:nvSpPr>
          <p:cNvPr id="6" name="Plassholder for tekst 5">
            <a:extLst>
              <a:ext uri="{FF2B5EF4-FFF2-40B4-BE49-F238E27FC236}">
                <a16:creationId xmlns:a16="http://schemas.microsoft.com/office/drawing/2014/main" id="{0D8F9E65-B164-44DD-BCEB-D790A005F186}"/>
              </a:ext>
            </a:extLst>
          </p:cNvPr>
          <p:cNvSpPr>
            <a:spLocks noGrp="1"/>
          </p:cNvSpPr>
          <p:nvPr>
            <p:ph type="body" sz="quarter" idx="21"/>
          </p:nvPr>
        </p:nvSpPr>
        <p:spPr/>
        <p:txBody>
          <a:bodyPr/>
          <a:lstStyle/>
          <a:p>
            <a:endParaRPr lang="nb-NO"/>
          </a:p>
        </p:txBody>
      </p:sp>
      <p:sp>
        <p:nvSpPr>
          <p:cNvPr id="15" name="Plassholder for tekst 2">
            <a:extLst>
              <a:ext uri="{FF2B5EF4-FFF2-40B4-BE49-F238E27FC236}">
                <a16:creationId xmlns:a16="http://schemas.microsoft.com/office/drawing/2014/main" id="{2AE202C7-4950-55B1-89E7-2362256CF75F}"/>
              </a:ext>
            </a:extLst>
          </p:cNvPr>
          <p:cNvSpPr txBox="1">
            <a:spLocks/>
          </p:cNvSpPr>
          <p:nvPr/>
        </p:nvSpPr>
        <p:spPr>
          <a:xfrm>
            <a:off x="293502" y="727972"/>
            <a:ext cx="5592393" cy="1365942"/>
          </a:xfrm>
          <a:prstGeom prst="rect">
            <a:avLst/>
          </a:prstGeom>
        </p:spPr>
        <p:txBody>
          <a:bodyPr vert="horz" lIns="0" tIns="0" rIns="0" bIns="0" rtlCol="0" anchor="t">
            <a:noAutofit/>
          </a:bodyPr>
          <a:lstStyle>
            <a:lvl1pPr marL="0" indent="0" algn="l" defTabSz="914400" rtl="0" eaLnBrk="1" latinLnBrk="0" hangingPunct="1">
              <a:lnSpc>
                <a:spcPct val="85000"/>
              </a:lnSpc>
              <a:spcBef>
                <a:spcPts val="0"/>
              </a:spcBef>
              <a:buFont typeface="Arial" panose="020B0604020202020204" pitchFamily="34" charset="0"/>
              <a:buNone/>
              <a:tabLst/>
              <a:defRPr sz="3600" kern="1200" spc="40" baseline="0">
                <a:solidFill>
                  <a:schemeClr val="tx2"/>
                </a:solidFill>
                <a:latin typeface="+mj-lt"/>
                <a:ea typeface="+mn-ea"/>
                <a:cs typeface="+mn-cs"/>
              </a:defRPr>
            </a:lvl1pPr>
            <a:lvl2pPr marL="361950" indent="-180975" algn="l" defTabSz="914400" rtl="0" eaLnBrk="1" latinLnBrk="0" hangingPunct="1">
              <a:lnSpc>
                <a:spcPct val="100000"/>
              </a:lnSpc>
              <a:spcBef>
                <a:spcPts val="500"/>
              </a:spcBef>
              <a:buFont typeface="Arial" panose="020B0604020202020204" pitchFamily="34" charset="0"/>
              <a:buChar char="•"/>
              <a:tabLst/>
              <a:defRPr sz="1600" kern="1200" spc="40" baseline="0">
                <a:solidFill>
                  <a:schemeClr val="bg2"/>
                </a:solidFill>
                <a:latin typeface="+mn-lt"/>
                <a:ea typeface="+mn-ea"/>
                <a:cs typeface="+mn-cs"/>
              </a:defRPr>
            </a:lvl2pPr>
            <a:lvl3pPr marL="534988" indent="-168275" algn="l" defTabSz="914400" rtl="0" eaLnBrk="1" latinLnBrk="0" hangingPunct="1">
              <a:lnSpc>
                <a:spcPct val="100000"/>
              </a:lnSpc>
              <a:spcBef>
                <a:spcPts val="500"/>
              </a:spcBef>
              <a:buFont typeface="Arial" panose="020B0604020202020204" pitchFamily="34" charset="0"/>
              <a:buChar char="•"/>
              <a:tabLst/>
              <a:defRPr sz="1400" kern="1200" spc="40" baseline="0">
                <a:solidFill>
                  <a:schemeClr val="bg2"/>
                </a:solidFill>
                <a:latin typeface="+mn-lt"/>
                <a:ea typeface="+mn-ea"/>
                <a:cs typeface="+mn-cs"/>
              </a:defRPr>
            </a:lvl3pPr>
            <a:lvl4pPr marL="717550" indent="-182563" algn="l" defTabSz="914400" rtl="0" eaLnBrk="1" latinLnBrk="0" hangingPunct="1">
              <a:lnSpc>
                <a:spcPct val="100000"/>
              </a:lnSpc>
              <a:spcBef>
                <a:spcPts val="500"/>
              </a:spcBef>
              <a:buFont typeface="Arial" panose="020B0604020202020204" pitchFamily="34" charset="0"/>
              <a:buChar char="•"/>
              <a:tabLst/>
              <a:defRPr sz="1400" kern="1200" spc="40" baseline="0">
                <a:solidFill>
                  <a:schemeClr val="bg2"/>
                </a:solidFill>
                <a:latin typeface="+mn-lt"/>
                <a:ea typeface="+mn-ea"/>
                <a:cs typeface="+mn-cs"/>
              </a:defRPr>
            </a:lvl4pPr>
            <a:lvl5pPr marL="890588" indent="-173038" algn="l" defTabSz="914400" rtl="0" eaLnBrk="1" latinLnBrk="0" hangingPunct="1">
              <a:lnSpc>
                <a:spcPct val="100000"/>
              </a:lnSpc>
              <a:spcBef>
                <a:spcPts val="500"/>
              </a:spcBef>
              <a:buFont typeface="Arial" panose="020B0604020202020204" pitchFamily="34" charset="0"/>
              <a:buChar char="•"/>
              <a:tabLst/>
              <a:defRPr sz="1200" kern="1200" spc="40" baseline="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0"/>
              </a:spcBef>
              <a:spcAft>
                <a:spcPts val="0"/>
              </a:spcAft>
              <a:buClrTx/>
              <a:buSzTx/>
              <a:buFont typeface="Arial" panose="020B0604020202020204" pitchFamily="34" charset="0"/>
              <a:buNone/>
              <a:tabLst/>
              <a:defRPr/>
            </a:pPr>
            <a:r>
              <a:rPr kumimoji="0" lang="nb-NO" sz="3600" b="0" i="0" u="none" strike="noStrike" kern="1200" cap="none" spc="40" normalizeH="0" baseline="0" noProof="0">
                <a:ln>
                  <a:noFill/>
                </a:ln>
                <a:solidFill>
                  <a:srgbClr val="143275"/>
                </a:solidFill>
                <a:effectLst/>
                <a:uLnTx/>
                <a:uFillTx/>
                <a:latin typeface="Shape Sans Display"/>
                <a:ea typeface="+mn-ea"/>
                <a:cs typeface="+mn-cs"/>
              </a:rPr>
              <a:t>Vi må bli mer sirkulære for </a:t>
            </a:r>
            <a:br>
              <a:rPr kumimoji="0" lang="nb-NO" sz="3600" b="0" i="0" u="none" strike="noStrike" kern="1200" cap="none" spc="40" normalizeH="0" baseline="0" noProof="0">
                <a:ln>
                  <a:noFill/>
                </a:ln>
                <a:solidFill>
                  <a:srgbClr val="143275"/>
                </a:solidFill>
                <a:effectLst/>
                <a:uLnTx/>
                <a:uFillTx/>
                <a:latin typeface="Shape Sans Display"/>
                <a:ea typeface="+mn-ea"/>
                <a:cs typeface="+mn-cs"/>
              </a:rPr>
            </a:br>
            <a:r>
              <a:rPr kumimoji="0" lang="nb-NO" sz="3600" b="0" i="0" u="none" strike="noStrike" kern="1200" cap="none" spc="40" normalizeH="0" baseline="0" noProof="0">
                <a:ln>
                  <a:noFill/>
                </a:ln>
                <a:solidFill>
                  <a:srgbClr val="143275"/>
                </a:solidFill>
                <a:effectLst/>
                <a:uLnTx/>
                <a:uFillTx/>
                <a:latin typeface="Shape Sans Display"/>
                <a:ea typeface="+mn-ea"/>
                <a:cs typeface="+mn-cs"/>
              </a:rPr>
              <a:t>å kutte utslipp og bruke mindre ressurser</a:t>
            </a:r>
          </a:p>
        </p:txBody>
      </p:sp>
      <p:pic>
        <p:nvPicPr>
          <p:cNvPr id="7" name="Bilde 6">
            <a:extLst>
              <a:ext uri="{FF2B5EF4-FFF2-40B4-BE49-F238E27FC236}">
                <a16:creationId xmlns:a16="http://schemas.microsoft.com/office/drawing/2014/main" id="{B0189BBF-5AA6-26B1-950A-FDF2D400A33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5810" y="2680501"/>
            <a:ext cx="3734050" cy="3158689"/>
          </a:xfrm>
          <a:prstGeom prst="rect">
            <a:avLst/>
          </a:prstGeom>
        </p:spPr>
      </p:pic>
      <p:pic>
        <p:nvPicPr>
          <p:cNvPr id="8" name="Plassholder for bilde 8">
            <a:extLst>
              <a:ext uri="{FF2B5EF4-FFF2-40B4-BE49-F238E27FC236}">
                <a16:creationId xmlns:a16="http://schemas.microsoft.com/office/drawing/2014/main" id="{D2CE85E6-D9C3-FF21-03D3-AF9BDA3BCED7}"/>
              </a:ext>
            </a:extLst>
          </p:cNvPr>
          <p:cNvPicPr>
            <a:picLocks noGrp="1" noChangeAspect="1"/>
          </p:cNvPicPr>
          <p:nvPr>
            <p:ph type="pic" sz="quarter" idx="18"/>
          </p:nvPr>
        </p:nvPicPr>
        <p:blipFill rotWithShape="1">
          <a:blip r:embed="rId4">
            <a:extLst>
              <a:ext uri="{28A0092B-C50C-407E-A947-70E740481C1C}">
                <a14:useLocalDpi xmlns:a14="http://schemas.microsoft.com/office/drawing/2010/main" val="0"/>
              </a:ext>
            </a:extLst>
          </a:blip>
          <a:srcRect l="33073" r="16935"/>
          <a:stretch/>
        </p:blipFill>
        <p:spPr>
          <a:xfrm>
            <a:off x="6095999" y="0"/>
            <a:ext cx="6094411" cy="6857997"/>
          </a:xfrm>
        </p:spPr>
      </p:pic>
    </p:spTree>
    <p:extLst>
      <p:ext uri="{BB962C8B-B14F-4D97-AF65-F5344CB8AC3E}">
        <p14:creationId xmlns:p14="http://schemas.microsoft.com/office/powerpoint/2010/main" val="21087048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kanska Gray (Presentation)">
  <a:themeElements>
    <a:clrScheme name="Skanska 4">
      <a:dk1>
        <a:srgbClr val="000000"/>
      </a:dk1>
      <a:lt1>
        <a:srgbClr val="FFFFFF"/>
      </a:lt1>
      <a:dk2>
        <a:srgbClr val="143275"/>
      </a:dk2>
      <a:lt2>
        <a:srgbClr val="ECECEC"/>
      </a:lt2>
      <a:accent1>
        <a:srgbClr val="143275"/>
      </a:accent1>
      <a:accent2>
        <a:srgbClr val="596891"/>
      </a:accent2>
      <a:accent3>
        <a:srgbClr val="3ECE7B"/>
      </a:accent3>
      <a:accent4>
        <a:srgbClr val="9199B6"/>
      </a:accent4>
      <a:accent5>
        <a:srgbClr val="C7CCDA"/>
      </a:accent5>
      <a:accent6>
        <a:srgbClr val="FFFFFF"/>
      </a:accent6>
      <a:hlink>
        <a:srgbClr val="143275"/>
      </a:hlink>
      <a:folHlink>
        <a:srgbClr val="143275"/>
      </a:folHlink>
    </a:clrScheme>
    <a:fontScheme name="Skanska Shape Sans">
      <a:majorFont>
        <a:latin typeface="Shape Sans Display"/>
        <a:ea typeface=""/>
        <a:cs typeface=""/>
      </a:majorFont>
      <a:minorFont>
        <a:latin typeface="Shape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dirty="0" smtClean="0">
            <a:solidFill>
              <a:schemeClr val="accent1"/>
            </a:solidFill>
          </a:defRPr>
        </a:defPPr>
      </a:lstStyle>
    </a:txDef>
  </a:objectDefaults>
  <a:extraClrSchemeLst/>
  <a:custClrLst>
    <a:custClr name="Active Blue">
      <a:srgbClr val="2356E5"/>
    </a:custClr>
    <a:custClr name="Skanska Green">
      <a:srgbClr val="AEDDBC"/>
    </a:custClr>
    <a:custClr name="Active Yellow">
      <a:srgbClr val="FBED54"/>
    </a:custClr>
    <a:custClr name="Active Orange">
      <a:srgbClr val="F58713"/>
    </a:custClr>
    <a:custClr name="Active Red">
      <a:srgbClr val="EE2F53"/>
    </a:custClr>
    <a:custClr name="Purple">
      <a:srgbClr val="824A8E"/>
    </a:custClr>
    <a:custClr name="Pale Blue">
      <a:srgbClr val="3C589E"/>
    </a:custClr>
    <a:custClr name="Teal">
      <a:srgbClr val="4B9FA3"/>
    </a:custClr>
    <a:custClr name="Beige">
      <a:srgbClr val="DDD6C0"/>
    </a:custClr>
    <a:custClr name="Yellow">
      <a:srgbClr val="F4DD7D"/>
    </a:custClr>
    <a:custClr name="Orange">
      <a:srgbClr val="EDA977"/>
    </a:custClr>
    <a:custClr name="Red">
      <a:srgbClr val="AF3149"/>
    </a:custClr>
  </a:custClrLst>
  <a:extLst>
    <a:ext uri="{05A4C25C-085E-4340-85A3-A5531E510DB2}">
      <thm15:themeFamily xmlns:thm15="http://schemas.microsoft.com/office/thememl/2012/main" name="Presentation6" id="{2FA8DA72-2304-B545-A7F7-FF56C2A5722A}" vid="{FF0A0E44-1157-1A49-959B-A2F3DEB9DA8F}"/>
    </a:ext>
  </a:extLst>
</a:theme>
</file>

<file path=ppt/theme/theme2.xml><?xml version="1.0" encoding="utf-8"?>
<a:theme xmlns:a="http://schemas.openxmlformats.org/drawingml/2006/main" name="Skanska White (Documentation)">
  <a:themeElements>
    <a:clrScheme name="Skanska 5">
      <a:dk1>
        <a:srgbClr val="000000"/>
      </a:dk1>
      <a:lt1>
        <a:srgbClr val="FFFFFF"/>
      </a:lt1>
      <a:dk2>
        <a:srgbClr val="143275"/>
      </a:dk2>
      <a:lt2>
        <a:srgbClr val="ECECEC"/>
      </a:lt2>
      <a:accent1>
        <a:srgbClr val="143275"/>
      </a:accent1>
      <a:accent2>
        <a:srgbClr val="596891"/>
      </a:accent2>
      <a:accent3>
        <a:srgbClr val="3ECE7B"/>
      </a:accent3>
      <a:accent4>
        <a:srgbClr val="9199B6"/>
      </a:accent4>
      <a:accent5>
        <a:srgbClr val="C7CCDA"/>
      </a:accent5>
      <a:accent6>
        <a:srgbClr val="ECECEC"/>
      </a:accent6>
      <a:hlink>
        <a:srgbClr val="143275"/>
      </a:hlink>
      <a:folHlink>
        <a:srgbClr val="143275"/>
      </a:folHlink>
    </a:clrScheme>
    <a:fontScheme name="Skanska Shape Sans">
      <a:majorFont>
        <a:latin typeface="Shape Sans Display"/>
        <a:ea typeface=""/>
        <a:cs typeface=""/>
      </a:majorFont>
      <a:minorFont>
        <a:latin typeface="Shape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600" spc="40" dirty="0" smtClean="0">
            <a:solidFill>
              <a:schemeClr val="tx2"/>
            </a:solidFill>
          </a:defRPr>
        </a:defPPr>
      </a:lstStyle>
    </a:txDef>
  </a:objectDefaults>
  <a:extraClrSchemeLst/>
  <a:custClrLst>
    <a:custClr name="Active Blue">
      <a:srgbClr val="2356E5"/>
    </a:custClr>
    <a:custClr name="Skanska Green">
      <a:srgbClr val="AEDDBC"/>
    </a:custClr>
    <a:custClr name="Active Yellow">
      <a:srgbClr val="FBED54"/>
    </a:custClr>
    <a:custClr name="Active Orange">
      <a:srgbClr val="F58713"/>
    </a:custClr>
    <a:custClr name="Active Red">
      <a:srgbClr val="EE2F53"/>
    </a:custClr>
    <a:custClr name="Purple">
      <a:srgbClr val="824A8E"/>
    </a:custClr>
    <a:custClr name="Pale Blue">
      <a:srgbClr val="3C589E"/>
    </a:custClr>
    <a:custClr name="Teal">
      <a:srgbClr val="4B9FA3"/>
    </a:custClr>
    <a:custClr name="Beige">
      <a:srgbClr val="DDD6C0"/>
    </a:custClr>
    <a:custClr name="Yellow">
      <a:srgbClr val="F4DD7D"/>
    </a:custClr>
    <a:custClr name="Orange">
      <a:srgbClr val="EDA977"/>
    </a:custClr>
    <a:custClr name="Red">
      <a:srgbClr val="AF3149"/>
    </a:custClr>
  </a:custClrLst>
  <a:extLst>
    <a:ext uri="{05A4C25C-085E-4340-85A3-A5531E510DB2}">
      <thm15:themeFamily xmlns:thm15="http://schemas.microsoft.com/office/thememl/2012/main" name="Presentation6" id="{2FA8DA72-2304-B545-A7F7-FF56C2A5722A}" vid="{3CAF08F0-69F9-F94C-8F7D-819272A63BC5}"/>
    </a:ext>
  </a:extLst>
</a:theme>
</file>

<file path=ppt/theme/theme3.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BDAAC2577AF8344B8F819AD7EFC58F07" ma:contentTypeVersion="17" ma:contentTypeDescription="Create a new document." ma:contentTypeScope="" ma:versionID="0d6d722ad6addc4047da9e62c4d9a5b9">
  <xsd:schema xmlns:xsd="http://www.w3.org/2001/XMLSchema" xmlns:xs="http://www.w3.org/2001/XMLSchema" xmlns:p="http://schemas.microsoft.com/office/2006/metadata/properties" xmlns:ns2="1267dbed-dea9-4161-8ec7-c066ff1e1d3b" xmlns:ns3="6a60e943-f51f-4cb4-93c5-6ac36b6b773a" targetNamespace="http://schemas.microsoft.com/office/2006/metadata/properties" ma:root="true" ma:fieldsID="b30c4f7018661a841e8c2b5cb2e44ec9" ns2:_="" ns3:_="">
    <xsd:import namespace="1267dbed-dea9-4161-8ec7-c066ff1e1d3b"/>
    <xsd:import namespace="6a60e943-f51f-4cb4-93c5-6ac36b6b773a"/>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Location" minOccurs="0"/>
                <xsd:element ref="ns2:lcf76f155ced4ddcb4097134ff3c332f" minOccurs="0"/>
                <xsd:element ref="ns3:TaxCatchAll" minOccurs="0"/>
                <xsd:element ref="ns2:MediaLengthInSecond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267dbed-dea9-4161-8ec7-c066ff1e1d3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d533c6e3-e9ba-409f-9000-32e1bbf302fd" ma:termSetId="09814cd3-568e-fe90-9814-8d621ff8fb84" ma:anchorId="fba54fb3-c3e1-fe81-a776-ca4b69148c4d" ma:open="true" ma:isKeyword="false">
      <xsd:complexType>
        <xsd:sequence>
          <xsd:element ref="pc:Terms" minOccurs="0" maxOccurs="1"/>
        </xsd:sequence>
      </xsd:complexType>
    </xsd:element>
    <xsd:element name="MediaLengthInSeconds" ma:index="23" nillable="true" ma:displayName="MediaLengthInSeconds" ma:hidden="true" ma:internalName="MediaLengthInSeconds" ma:readOnly="true">
      <xsd:simpleType>
        <xsd:restriction base="dms:Unknown"/>
      </xsd:simple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a60e943-f51f-4cb4-93c5-6ac36b6b773a"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9e63ac61-2d25-4368-b73e-c1641e9806e2}" ma:internalName="TaxCatchAll" ma:showField="CatchAllData" ma:web="6a60e943-f51f-4cb4-93c5-6ac36b6b773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1267dbed-dea9-4161-8ec7-c066ff1e1d3b">
      <Terms xmlns="http://schemas.microsoft.com/office/infopath/2007/PartnerControls"/>
    </lcf76f155ced4ddcb4097134ff3c332f>
    <TaxCatchAll xmlns="6a60e943-f51f-4cb4-93c5-6ac36b6b773a" xsi:nil="true"/>
  </documentManagement>
</p:properties>
</file>

<file path=customXml/itemProps1.xml><?xml version="1.0" encoding="utf-8"?>
<ds:datastoreItem xmlns:ds="http://schemas.openxmlformats.org/officeDocument/2006/customXml" ds:itemID="{C1FCA854-E955-4DF3-823F-7F43F9EBF740}">
  <ds:schemaRefs>
    <ds:schemaRef ds:uri="http://schemas.microsoft.com/sharepoint/v3/contenttype/forms"/>
  </ds:schemaRefs>
</ds:datastoreItem>
</file>

<file path=customXml/itemProps2.xml><?xml version="1.0" encoding="utf-8"?>
<ds:datastoreItem xmlns:ds="http://schemas.openxmlformats.org/officeDocument/2006/customXml" ds:itemID="{F1F71745-027F-4771-8202-AE5E8EC9436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267dbed-dea9-4161-8ec7-c066ff1e1d3b"/>
    <ds:schemaRef ds:uri="6a60e943-f51f-4cb4-93c5-6ac36b6b773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A645E4BD-EB26-4A19-8B39-1E804887ED62}">
  <ds:schemaRefs>
    <ds:schemaRef ds:uri="http://purl.org/dc/terms/"/>
    <ds:schemaRef ds:uri="http://schemas.microsoft.com/office/2006/metadata/properties"/>
    <ds:schemaRef ds:uri="http://schemas.microsoft.com/office/infopath/2007/PartnerControls"/>
    <ds:schemaRef ds:uri="http://www.w3.org/XML/1998/namespace"/>
    <ds:schemaRef ds:uri="http://purl.org/dc/dcmitype/"/>
    <ds:schemaRef ds:uri="http://schemas.openxmlformats.org/package/2006/metadata/core-properties"/>
    <ds:schemaRef ds:uri="http://schemas.microsoft.com/office/2006/documentManagement/types"/>
    <ds:schemaRef ds:uri="6a60e943-f51f-4cb4-93c5-6ac36b6b773a"/>
    <ds:schemaRef ds:uri="1267dbed-dea9-4161-8ec7-c066ff1e1d3b"/>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Global template (EN) Shape Sans</Template>
  <TotalTime>0</TotalTime>
  <Words>1809</Words>
  <Application>Microsoft Office PowerPoint</Application>
  <PresentationFormat>Widescreen</PresentationFormat>
  <Paragraphs>166</Paragraphs>
  <Slides>13</Slides>
  <Notes>13</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13</vt:i4>
      </vt:variant>
    </vt:vector>
  </HeadingPairs>
  <TitlesOfParts>
    <vt:vector size="23" baseType="lpstr">
      <vt:lpstr>Arial</vt:lpstr>
      <vt:lpstr>Calibri</vt:lpstr>
      <vt:lpstr>Cambria Math</vt:lpstr>
      <vt:lpstr>Shape Sans</vt:lpstr>
      <vt:lpstr>Shape Sans Display</vt:lpstr>
      <vt:lpstr>Skanska Sans Pro</vt:lpstr>
      <vt:lpstr>System Font Regular</vt:lpstr>
      <vt:lpstr>Skanska Gray (Presentation)</vt:lpstr>
      <vt:lpstr>Skanska White (Documentation)</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sjon</dc:title>
  <dc:creator>Lekanger, Randi Andersen</dc:creator>
  <cp:lastModifiedBy>Gonzalez, Pablo</cp:lastModifiedBy>
  <cp:revision>1</cp:revision>
  <dcterms:created xsi:type="dcterms:W3CDTF">2022-08-26T10:22:49Z</dcterms:created>
  <dcterms:modified xsi:type="dcterms:W3CDTF">2023-10-17T08:33: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6379ec1e-7734-4071-a4b9-9f091c05fa90_Enabled">
    <vt:lpwstr>true</vt:lpwstr>
  </property>
  <property fmtid="{D5CDD505-2E9C-101B-9397-08002B2CF9AE}" pid="3" name="MSIP_Label_6379ec1e-7734-4071-a4b9-9f091c05fa90_SetDate">
    <vt:lpwstr>2021-12-06T07:54:12Z</vt:lpwstr>
  </property>
  <property fmtid="{D5CDD505-2E9C-101B-9397-08002B2CF9AE}" pid="4" name="MSIP_Label_6379ec1e-7734-4071-a4b9-9f091c05fa90_Method">
    <vt:lpwstr>Standard</vt:lpwstr>
  </property>
  <property fmtid="{D5CDD505-2E9C-101B-9397-08002B2CF9AE}" pid="5" name="MSIP_Label_6379ec1e-7734-4071-a4b9-9f091c05fa90_Name">
    <vt:lpwstr>General-No-Marking</vt:lpwstr>
  </property>
  <property fmtid="{D5CDD505-2E9C-101B-9397-08002B2CF9AE}" pid="6" name="MSIP_Label_6379ec1e-7734-4071-a4b9-9f091c05fa90_SiteId">
    <vt:lpwstr>33dab507-5210-4075-805b-f2717d8cfa74</vt:lpwstr>
  </property>
  <property fmtid="{D5CDD505-2E9C-101B-9397-08002B2CF9AE}" pid="7" name="MSIP_Label_6379ec1e-7734-4071-a4b9-9f091c05fa90_ActionId">
    <vt:lpwstr>ffeea1b0-5e4e-4655-9792-f5f4cd19fb97</vt:lpwstr>
  </property>
  <property fmtid="{D5CDD505-2E9C-101B-9397-08002B2CF9AE}" pid="8" name="MSIP_Label_6379ec1e-7734-4071-a4b9-9f091c05fa90_ContentBits">
    <vt:lpwstr>0</vt:lpwstr>
  </property>
  <property fmtid="{D5CDD505-2E9C-101B-9397-08002B2CF9AE}" pid="9" name="ContentTypeId">
    <vt:lpwstr>0x010100BDAAC2577AF8344B8F819AD7EFC58F07</vt:lpwstr>
  </property>
  <property fmtid="{D5CDD505-2E9C-101B-9397-08002B2CF9AE}" pid="10" name="MediaServiceImageTags">
    <vt:lpwstr/>
  </property>
</Properties>
</file>